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3"/>
  </p:notesMasterIdLst>
  <p:handoutMasterIdLst>
    <p:handoutMasterId r:id="rId74"/>
  </p:handoutMasterIdLst>
  <p:sldIdLst>
    <p:sldId id="2076137181" r:id="rId5"/>
    <p:sldId id="292" r:id="rId6"/>
    <p:sldId id="390" r:id="rId7"/>
    <p:sldId id="429" r:id="rId8"/>
    <p:sldId id="430" r:id="rId9"/>
    <p:sldId id="431" r:id="rId10"/>
    <p:sldId id="432" r:id="rId11"/>
    <p:sldId id="433" r:id="rId12"/>
    <p:sldId id="434" r:id="rId13"/>
    <p:sldId id="435" r:id="rId14"/>
    <p:sldId id="436" r:id="rId15"/>
    <p:sldId id="437" r:id="rId16"/>
    <p:sldId id="391" r:id="rId17"/>
    <p:sldId id="459" r:id="rId18"/>
    <p:sldId id="460" r:id="rId19"/>
    <p:sldId id="455" r:id="rId20"/>
    <p:sldId id="458" r:id="rId21"/>
    <p:sldId id="424" r:id="rId22"/>
    <p:sldId id="425" r:id="rId23"/>
    <p:sldId id="392" r:id="rId24"/>
    <p:sldId id="428" r:id="rId25"/>
    <p:sldId id="404" r:id="rId26"/>
    <p:sldId id="405" r:id="rId27"/>
    <p:sldId id="456" r:id="rId28"/>
    <p:sldId id="2076137352" r:id="rId29"/>
    <p:sldId id="393" r:id="rId30"/>
    <p:sldId id="394" r:id="rId31"/>
    <p:sldId id="420" r:id="rId32"/>
    <p:sldId id="395" r:id="rId33"/>
    <p:sldId id="364" r:id="rId34"/>
    <p:sldId id="386" r:id="rId35"/>
    <p:sldId id="406" r:id="rId36"/>
    <p:sldId id="443" r:id="rId37"/>
    <p:sldId id="298" r:id="rId38"/>
    <p:sldId id="299" r:id="rId39"/>
    <p:sldId id="426" r:id="rId40"/>
    <p:sldId id="427" r:id="rId41"/>
    <p:sldId id="442" r:id="rId42"/>
    <p:sldId id="300" r:id="rId43"/>
    <p:sldId id="450" r:id="rId44"/>
    <p:sldId id="418" r:id="rId45"/>
    <p:sldId id="419" r:id="rId46"/>
    <p:sldId id="301" r:id="rId47"/>
    <p:sldId id="449" r:id="rId48"/>
    <p:sldId id="302" r:id="rId49"/>
    <p:sldId id="2076137360" r:id="rId50"/>
    <p:sldId id="441" r:id="rId51"/>
    <p:sldId id="408" r:id="rId52"/>
    <p:sldId id="303" r:id="rId53"/>
    <p:sldId id="421" r:id="rId54"/>
    <p:sldId id="423" r:id="rId55"/>
    <p:sldId id="454" r:id="rId56"/>
    <p:sldId id="444" r:id="rId57"/>
    <p:sldId id="451" r:id="rId58"/>
    <p:sldId id="452" r:id="rId59"/>
    <p:sldId id="463" r:id="rId60"/>
    <p:sldId id="453" r:id="rId61"/>
    <p:sldId id="445" r:id="rId62"/>
    <p:sldId id="446" r:id="rId63"/>
    <p:sldId id="447" r:id="rId64"/>
    <p:sldId id="462" r:id="rId65"/>
    <p:sldId id="448" r:id="rId66"/>
    <p:sldId id="399" r:id="rId67"/>
    <p:sldId id="400" r:id="rId68"/>
    <p:sldId id="396" r:id="rId69"/>
    <p:sldId id="361" r:id="rId70"/>
    <p:sldId id="362" r:id="rId71"/>
    <p:sldId id="281" r:id="rId7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9276C0-BCB4-47ED-9B74-FF3A77389C35}" v="1" dt="2021-01-26T16:00:29.1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6" autoAdjust="0"/>
    <p:restoredTop sz="94595" autoAdjust="0"/>
  </p:normalViewPr>
  <p:slideViewPr>
    <p:cSldViewPr snapToGrid="0" snapToObjects="1">
      <p:cViewPr varScale="1">
        <p:scale>
          <a:sx n="86" d="100"/>
          <a:sy n="86" d="100"/>
        </p:scale>
        <p:origin x="528" y="5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4" d="100"/>
        <a:sy n="114" d="100"/>
      </p:scale>
      <p:origin x="0" y="0"/>
    </p:cViewPr>
  </p:sorterViewPr>
  <p:notesViewPr>
    <p:cSldViewPr snapToGrid="0" snapToObjects="1">
      <p:cViewPr varScale="1">
        <p:scale>
          <a:sx n="65" d="100"/>
          <a:sy n="65" d="100"/>
        </p:scale>
        <p:origin x="3154"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en Bronis" userId="789379ec-e270-4ca9-80d7-80c7aacec7f8" providerId="ADAL" clId="{E84D6FBD-DCDC-475A-8901-163C5CBCEF29}"/>
    <pc:docChg chg="undo custSel delSld modSld">
      <pc:chgData name="Karen Bronis" userId="789379ec-e270-4ca9-80d7-80c7aacec7f8" providerId="ADAL" clId="{E84D6FBD-DCDC-475A-8901-163C5CBCEF29}" dt="2020-10-02T23:14:52.202" v="332" actId="478"/>
      <pc:docMkLst>
        <pc:docMk/>
      </pc:docMkLst>
      <pc:sldChg chg="del">
        <pc:chgData name="Karen Bronis" userId="789379ec-e270-4ca9-80d7-80c7aacec7f8" providerId="ADAL" clId="{E84D6FBD-DCDC-475A-8901-163C5CBCEF29}" dt="2020-10-02T23:13:08.543" v="270" actId="2696"/>
        <pc:sldMkLst>
          <pc:docMk/>
          <pc:sldMk cId="2342996471" sldId="256"/>
        </pc:sldMkLst>
      </pc:sldChg>
      <pc:sldChg chg="modSp">
        <pc:chgData name="Karen Bronis" userId="789379ec-e270-4ca9-80d7-80c7aacec7f8" providerId="ADAL" clId="{E84D6FBD-DCDC-475A-8901-163C5CBCEF29}" dt="2020-10-02T23:13:44.987" v="322" actId="20577"/>
        <pc:sldMkLst>
          <pc:docMk/>
          <pc:sldMk cId="727992431" sldId="292"/>
        </pc:sldMkLst>
        <pc:spChg chg="mod">
          <ac:chgData name="Karen Bronis" userId="789379ec-e270-4ca9-80d7-80c7aacec7f8" providerId="ADAL" clId="{E84D6FBD-DCDC-475A-8901-163C5CBCEF29}" dt="2020-10-02T23:13:44.987" v="322" actId="20577"/>
          <ac:spMkLst>
            <pc:docMk/>
            <pc:sldMk cId="727992431" sldId="292"/>
            <ac:spMk id="4" creationId="{9D10588D-A52D-4E61-911A-5480750463FC}"/>
          </ac:spMkLst>
        </pc:spChg>
      </pc:sldChg>
      <pc:sldChg chg="delSp modSp">
        <pc:chgData name="Karen Bronis" userId="789379ec-e270-4ca9-80d7-80c7aacec7f8" providerId="ADAL" clId="{E84D6FBD-DCDC-475A-8901-163C5CBCEF29}" dt="2020-10-02T23:14:35.493" v="329" actId="478"/>
        <pc:sldMkLst>
          <pc:docMk/>
          <pc:sldMk cId="3307544040" sldId="298"/>
        </pc:sldMkLst>
        <pc:spChg chg="del">
          <ac:chgData name="Karen Bronis" userId="789379ec-e270-4ca9-80d7-80c7aacec7f8" providerId="ADAL" clId="{E84D6FBD-DCDC-475A-8901-163C5CBCEF29}" dt="2020-10-02T23:14:35.493" v="329" actId="478"/>
          <ac:spMkLst>
            <pc:docMk/>
            <pc:sldMk cId="3307544040" sldId="298"/>
            <ac:spMk id="6" creationId="{00000000-0000-0000-0000-000000000000}"/>
          </ac:spMkLst>
        </pc:spChg>
        <pc:spChg chg="mod">
          <ac:chgData name="Karen Bronis" userId="789379ec-e270-4ca9-80d7-80c7aacec7f8" providerId="ADAL" clId="{E84D6FBD-DCDC-475A-8901-163C5CBCEF29}" dt="2020-10-02T23:07:51.035" v="157" actId="14100"/>
          <ac:spMkLst>
            <pc:docMk/>
            <pc:sldMk cId="3307544040" sldId="298"/>
            <ac:spMk id="9" creationId="{00000000-0000-0000-0000-000000000000}"/>
          </ac:spMkLst>
        </pc:spChg>
      </pc:sldChg>
      <pc:sldChg chg="delSp">
        <pc:chgData name="Karen Bronis" userId="789379ec-e270-4ca9-80d7-80c7aacec7f8" providerId="ADAL" clId="{E84D6FBD-DCDC-475A-8901-163C5CBCEF29}" dt="2020-10-02T23:14:52.202" v="332" actId="478"/>
        <pc:sldMkLst>
          <pc:docMk/>
          <pc:sldMk cId="2280819972" sldId="299"/>
        </pc:sldMkLst>
        <pc:spChg chg="del">
          <ac:chgData name="Karen Bronis" userId="789379ec-e270-4ca9-80d7-80c7aacec7f8" providerId="ADAL" clId="{E84D6FBD-DCDC-475A-8901-163C5CBCEF29}" dt="2020-10-02T23:14:52.202" v="332" actId="478"/>
          <ac:spMkLst>
            <pc:docMk/>
            <pc:sldMk cId="2280819972" sldId="299"/>
            <ac:spMk id="6" creationId="{00000000-0000-0000-0000-000000000000}"/>
          </ac:spMkLst>
        </pc:spChg>
      </pc:sldChg>
      <pc:sldChg chg="delSp modSp">
        <pc:chgData name="Karen Bronis" userId="789379ec-e270-4ca9-80d7-80c7aacec7f8" providerId="ADAL" clId="{E84D6FBD-DCDC-475A-8901-163C5CBCEF29}" dt="2020-10-02T23:14:22.434" v="327" actId="478"/>
        <pc:sldMkLst>
          <pc:docMk/>
          <pc:sldMk cId="1318683026" sldId="300"/>
        </pc:sldMkLst>
        <pc:spChg chg="del mod">
          <ac:chgData name="Karen Bronis" userId="789379ec-e270-4ca9-80d7-80c7aacec7f8" providerId="ADAL" clId="{E84D6FBD-DCDC-475A-8901-163C5CBCEF29}" dt="2020-10-02T23:14:22.434" v="327" actId="478"/>
          <ac:spMkLst>
            <pc:docMk/>
            <pc:sldMk cId="1318683026" sldId="300"/>
            <ac:spMk id="6" creationId="{00000000-0000-0000-0000-000000000000}"/>
          </ac:spMkLst>
        </pc:spChg>
        <pc:spChg chg="mod">
          <ac:chgData name="Karen Bronis" userId="789379ec-e270-4ca9-80d7-80c7aacec7f8" providerId="ADAL" clId="{E84D6FBD-DCDC-475A-8901-163C5CBCEF29}" dt="2020-10-02T23:08:51.566" v="166" actId="113"/>
          <ac:spMkLst>
            <pc:docMk/>
            <pc:sldMk cId="1318683026" sldId="300"/>
            <ac:spMk id="9" creationId="{00000000-0000-0000-0000-000000000000}"/>
          </ac:spMkLst>
        </pc:spChg>
        <pc:spChg chg="mod">
          <ac:chgData name="Karen Bronis" userId="789379ec-e270-4ca9-80d7-80c7aacec7f8" providerId="ADAL" clId="{E84D6FBD-DCDC-475A-8901-163C5CBCEF29}" dt="2020-10-02T23:09:04.735" v="167" actId="113"/>
          <ac:spMkLst>
            <pc:docMk/>
            <pc:sldMk cId="1318683026" sldId="300"/>
            <ac:spMk id="19" creationId="{00000000-0000-0000-0000-000000000000}"/>
          </ac:spMkLst>
        </pc:spChg>
      </pc:sldChg>
      <pc:sldChg chg="delSp">
        <pc:chgData name="Karen Bronis" userId="789379ec-e270-4ca9-80d7-80c7aacec7f8" providerId="ADAL" clId="{E84D6FBD-DCDC-475A-8901-163C5CBCEF29}" dt="2020-10-02T23:10:41.124" v="246" actId="478"/>
        <pc:sldMkLst>
          <pc:docMk/>
          <pc:sldMk cId="2665215111" sldId="301"/>
        </pc:sldMkLst>
        <pc:spChg chg="del">
          <ac:chgData name="Karen Bronis" userId="789379ec-e270-4ca9-80d7-80c7aacec7f8" providerId="ADAL" clId="{E84D6FBD-DCDC-475A-8901-163C5CBCEF29}" dt="2020-10-02T23:10:41.124" v="246" actId="478"/>
          <ac:spMkLst>
            <pc:docMk/>
            <pc:sldMk cId="2665215111" sldId="301"/>
            <ac:spMk id="6" creationId="{00000000-0000-0000-0000-000000000000}"/>
          </ac:spMkLst>
        </pc:spChg>
      </pc:sldChg>
      <pc:sldChg chg="delSp modSp">
        <pc:chgData name="Karen Bronis" userId="789379ec-e270-4ca9-80d7-80c7aacec7f8" providerId="ADAL" clId="{E84D6FBD-DCDC-475A-8901-163C5CBCEF29}" dt="2020-10-02T23:10:47.308" v="250" actId="478"/>
        <pc:sldMkLst>
          <pc:docMk/>
          <pc:sldMk cId="196345359" sldId="302"/>
        </pc:sldMkLst>
        <pc:spChg chg="mod">
          <ac:chgData name="Karen Bronis" userId="789379ec-e270-4ca9-80d7-80c7aacec7f8" providerId="ADAL" clId="{E84D6FBD-DCDC-475A-8901-163C5CBCEF29}" dt="2020-10-02T23:09:45.003" v="208" actId="14100"/>
          <ac:spMkLst>
            <pc:docMk/>
            <pc:sldMk cId="196345359" sldId="302"/>
            <ac:spMk id="2" creationId="{00000000-0000-0000-0000-000000000000}"/>
          </ac:spMkLst>
        </pc:spChg>
        <pc:spChg chg="del mod">
          <ac:chgData name="Karen Bronis" userId="789379ec-e270-4ca9-80d7-80c7aacec7f8" providerId="ADAL" clId="{E84D6FBD-DCDC-475A-8901-163C5CBCEF29}" dt="2020-10-02T23:10:47.308" v="250" actId="478"/>
          <ac:spMkLst>
            <pc:docMk/>
            <pc:sldMk cId="196345359" sldId="302"/>
            <ac:spMk id="6" creationId="{00000000-0000-0000-0000-000000000000}"/>
          </ac:spMkLst>
        </pc:spChg>
        <pc:spChg chg="mod">
          <ac:chgData name="Karen Bronis" userId="789379ec-e270-4ca9-80d7-80c7aacec7f8" providerId="ADAL" clId="{E84D6FBD-DCDC-475A-8901-163C5CBCEF29}" dt="2020-10-02T22:03:45.329" v="74" actId="255"/>
          <ac:spMkLst>
            <pc:docMk/>
            <pc:sldMk cId="196345359" sldId="302"/>
            <ac:spMk id="9" creationId="{00000000-0000-0000-0000-000000000000}"/>
          </ac:spMkLst>
        </pc:spChg>
      </pc:sldChg>
      <pc:sldChg chg="delSp modSp modAnim">
        <pc:chgData name="Karen Bronis" userId="789379ec-e270-4ca9-80d7-80c7aacec7f8" providerId="ADAL" clId="{E84D6FBD-DCDC-475A-8901-163C5CBCEF29}" dt="2020-10-02T23:11:05.263" v="253" actId="478"/>
        <pc:sldMkLst>
          <pc:docMk/>
          <pc:sldMk cId="1368784358" sldId="303"/>
        </pc:sldMkLst>
        <pc:spChg chg="del">
          <ac:chgData name="Karen Bronis" userId="789379ec-e270-4ca9-80d7-80c7aacec7f8" providerId="ADAL" clId="{E84D6FBD-DCDC-475A-8901-163C5CBCEF29}" dt="2020-10-02T23:11:05.263" v="253" actId="478"/>
          <ac:spMkLst>
            <pc:docMk/>
            <pc:sldMk cId="1368784358" sldId="303"/>
            <ac:spMk id="6" creationId="{00000000-0000-0000-0000-000000000000}"/>
          </ac:spMkLst>
        </pc:spChg>
        <pc:spChg chg="mod">
          <ac:chgData name="Karen Bronis" userId="789379ec-e270-4ca9-80d7-80c7aacec7f8" providerId="ADAL" clId="{E84D6FBD-DCDC-475A-8901-163C5CBCEF29}" dt="2020-10-02T22:01:48.410" v="31" actId="20577"/>
          <ac:spMkLst>
            <pc:docMk/>
            <pc:sldMk cId="1368784358" sldId="303"/>
            <ac:spMk id="9" creationId="{00000000-0000-0000-0000-000000000000}"/>
          </ac:spMkLst>
        </pc:spChg>
      </pc:sldChg>
      <pc:sldChg chg="delSp">
        <pc:chgData name="Karen Bronis" userId="789379ec-e270-4ca9-80d7-80c7aacec7f8" providerId="ADAL" clId="{E84D6FBD-DCDC-475A-8901-163C5CBCEF29}" dt="2020-10-02T23:12:25.070" v="268" actId="478"/>
        <pc:sldMkLst>
          <pc:docMk/>
          <pc:sldMk cId="1260191592" sldId="361"/>
        </pc:sldMkLst>
        <pc:spChg chg="del">
          <ac:chgData name="Karen Bronis" userId="789379ec-e270-4ca9-80d7-80c7aacec7f8" providerId="ADAL" clId="{E84D6FBD-DCDC-475A-8901-163C5CBCEF29}" dt="2020-10-02T23:12:25.070" v="268" actId="478"/>
          <ac:spMkLst>
            <pc:docMk/>
            <pc:sldMk cId="1260191592" sldId="361"/>
            <ac:spMk id="6" creationId="{00000000-0000-0000-0000-000000000000}"/>
          </ac:spMkLst>
        </pc:spChg>
      </pc:sldChg>
      <pc:sldChg chg="delSp">
        <pc:chgData name="Karen Bronis" userId="789379ec-e270-4ca9-80d7-80c7aacec7f8" providerId="ADAL" clId="{E84D6FBD-DCDC-475A-8901-163C5CBCEF29}" dt="2020-10-02T23:12:28.875" v="269" actId="478"/>
        <pc:sldMkLst>
          <pc:docMk/>
          <pc:sldMk cId="2957942156" sldId="362"/>
        </pc:sldMkLst>
        <pc:spChg chg="del">
          <ac:chgData name="Karen Bronis" userId="789379ec-e270-4ca9-80d7-80c7aacec7f8" providerId="ADAL" clId="{E84D6FBD-DCDC-475A-8901-163C5CBCEF29}" dt="2020-10-02T23:12:28.875" v="269" actId="478"/>
          <ac:spMkLst>
            <pc:docMk/>
            <pc:sldMk cId="2957942156" sldId="362"/>
            <ac:spMk id="6" creationId="{00000000-0000-0000-0000-000000000000}"/>
          </ac:spMkLst>
        </pc:spChg>
      </pc:sldChg>
      <pc:sldChg chg="delSp">
        <pc:chgData name="Karen Bronis" userId="789379ec-e270-4ca9-80d7-80c7aacec7f8" providerId="ADAL" clId="{E84D6FBD-DCDC-475A-8901-163C5CBCEF29}" dt="2020-10-02T23:14:41.395" v="330" actId="478"/>
        <pc:sldMkLst>
          <pc:docMk/>
          <pc:sldMk cId="2494052902" sldId="386"/>
        </pc:sldMkLst>
        <pc:spChg chg="del">
          <ac:chgData name="Karen Bronis" userId="789379ec-e270-4ca9-80d7-80c7aacec7f8" providerId="ADAL" clId="{E84D6FBD-DCDC-475A-8901-163C5CBCEF29}" dt="2020-10-02T23:14:41.395" v="330" actId="478"/>
          <ac:spMkLst>
            <pc:docMk/>
            <pc:sldMk cId="2494052902" sldId="386"/>
            <ac:spMk id="6" creationId="{00000000-0000-0000-0000-000000000000}"/>
          </ac:spMkLst>
        </pc:spChg>
      </pc:sldChg>
      <pc:sldChg chg="modSp">
        <pc:chgData name="Karen Bronis" userId="789379ec-e270-4ca9-80d7-80c7aacec7f8" providerId="ADAL" clId="{E84D6FBD-DCDC-475A-8901-163C5CBCEF29}" dt="2020-10-02T23:07:08.713" v="150" actId="14100"/>
        <pc:sldMkLst>
          <pc:docMk/>
          <pc:sldMk cId="661041852" sldId="394"/>
        </pc:sldMkLst>
        <pc:spChg chg="mod">
          <ac:chgData name="Karen Bronis" userId="789379ec-e270-4ca9-80d7-80c7aacec7f8" providerId="ADAL" clId="{E84D6FBD-DCDC-475A-8901-163C5CBCEF29}" dt="2020-10-02T23:06:54.549" v="148" actId="1076"/>
          <ac:spMkLst>
            <pc:docMk/>
            <pc:sldMk cId="661041852" sldId="394"/>
            <ac:spMk id="2" creationId="{00000000-0000-0000-0000-000000000000}"/>
          </ac:spMkLst>
        </pc:spChg>
        <pc:spChg chg="mod">
          <ac:chgData name="Karen Bronis" userId="789379ec-e270-4ca9-80d7-80c7aacec7f8" providerId="ADAL" clId="{E84D6FBD-DCDC-475A-8901-163C5CBCEF29}" dt="2020-10-02T23:07:08.713" v="150" actId="14100"/>
          <ac:spMkLst>
            <pc:docMk/>
            <pc:sldMk cId="661041852" sldId="394"/>
            <ac:spMk id="4" creationId="{00000000-0000-0000-0000-000000000000}"/>
          </ac:spMkLst>
        </pc:spChg>
        <pc:spChg chg="mod">
          <ac:chgData name="Karen Bronis" userId="789379ec-e270-4ca9-80d7-80c7aacec7f8" providerId="ADAL" clId="{E84D6FBD-DCDC-475A-8901-163C5CBCEF29}" dt="2020-10-02T23:06:59.002" v="149" actId="113"/>
          <ac:spMkLst>
            <pc:docMk/>
            <pc:sldMk cId="661041852" sldId="394"/>
            <ac:spMk id="9" creationId="{00000000-0000-0000-0000-000000000000}"/>
          </ac:spMkLst>
        </pc:spChg>
      </pc:sldChg>
      <pc:sldChg chg="modSp">
        <pc:chgData name="Karen Bronis" userId="789379ec-e270-4ca9-80d7-80c7aacec7f8" providerId="ADAL" clId="{E84D6FBD-DCDC-475A-8901-163C5CBCEF29}" dt="2020-10-02T23:07:18.169" v="151" actId="113"/>
        <pc:sldMkLst>
          <pc:docMk/>
          <pc:sldMk cId="237012946" sldId="395"/>
        </pc:sldMkLst>
        <pc:spChg chg="mod">
          <ac:chgData name="Karen Bronis" userId="789379ec-e270-4ca9-80d7-80c7aacec7f8" providerId="ADAL" clId="{E84D6FBD-DCDC-475A-8901-163C5CBCEF29}" dt="2020-10-02T23:07:18.169" v="151" actId="113"/>
          <ac:spMkLst>
            <pc:docMk/>
            <pc:sldMk cId="237012946" sldId="395"/>
            <ac:spMk id="9" creationId="{00000000-0000-0000-0000-000000000000}"/>
          </ac:spMkLst>
        </pc:spChg>
      </pc:sldChg>
      <pc:sldChg chg="delSp">
        <pc:chgData name="Karen Bronis" userId="789379ec-e270-4ca9-80d7-80c7aacec7f8" providerId="ADAL" clId="{E84D6FBD-DCDC-475A-8901-163C5CBCEF29}" dt="2020-10-02T23:12:18.750" v="267" actId="478"/>
        <pc:sldMkLst>
          <pc:docMk/>
          <pc:sldMk cId="71361510" sldId="396"/>
        </pc:sldMkLst>
        <pc:spChg chg="del">
          <ac:chgData name="Karen Bronis" userId="789379ec-e270-4ca9-80d7-80c7aacec7f8" providerId="ADAL" clId="{E84D6FBD-DCDC-475A-8901-163C5CBCEF29}" dt="2020-10-02T23:12:18.750" v="267" actId="478"/>
          <ac:spMkLst>
            <pc:docMk/>
            <pc:sldMk cId="71361510" sldId="396"/>
            <ac:spMk id="6" creationId="{00000000-0000-0000-0000-000000000000}"/>
          </ac:spMkLst>
        </pc:spChg>
      </pc:sldChg>
      <pc:sldChg chg="delSp">
        <pc:chgData name="Karen Bronis" userId="789379ec-e270-4ca9-80d7-80c7aacec7f8" providerId="ADAL" clId="{E84D6FBD-DCDC-475A-8901-163C5CBCEF29}" dt="2020-10-02T23:12:05.918" v="265" actId="478"/>
        <pc:sldMkLst>
          <pc:docMk/>
          <pc:sldMk cId="3406065170" sldId="399"/>
        </pc:sldMkLst>
        <pc:spChg chg="del">
          <ac:chgData name="Karen Bronis" userId="789379ec-e270-4ca9-80d7-80c7aacec7f8" providerId="ADAL" clId="{E84D6FBD-DCDC-475A-8901-163C5CBCEF29}" dt="2020-10-02T23:12:05.918" v="265" actId="478"/>
          <ac:spMkLst>
            <pc:docMk/>
            <pc:sldMk cId="3406065170" sldId="399"/>
            <ac:spMk id="6" creationId="{00000000-0000-0000-0000-000000000000}"/>
          </ac:spMkLst>
        </pc:spChg>
      </pc:sldChg>
      <pc:sldChg chg="delSp">
        <pc:chgData name="Karen Bronis" userId="789379ec-e270-4ca9-80d7-80c7aacec7f8" providerId="ADAL" clId="{E84D6FBD-DCDC-475A-8901-163C5CBCEF29}" dt="2020-10-02T23:12:10.147" v="266" actId="478"/>
        <pc:sldMkLst>
          <pc:docMk/>
          <pc:sldMk cId="2322655307" sldId="400"/>
        </pc:sldMkLst>
        <pc:spChg chg="del">
          <ac:chgData name="Karen Bronis" userId="789379ec-e270-4ca9-80d7-80c7aacec7f8" providerId="ADAL" clId="{E84D6FBD-DCDC-475A-8901-163C5CBCEF29}" dt="2020-10-02T23:12:10.147" v="266" actId="478"/>
          <ac:spMkLst>
            <pc:docMk/>
            <pc:sldMk cId="2322655307" sldId="400"/>
            <ac:spMk id="6" creationId="{00000000-0000-0000-0000-000000000000}"/>
          </ac:spMkLst>
        </pc:spChg>
      </pc:sldChg>
      <pc:sldChg chg="modSp">
        <pc:chgData name="Karen Bronis" userId="789379ec-e270-4ca9-80d7-80c7aacec7f8" providerId="ADAL" clId="{E84D6FBD-DCDC-475A-8901-163C5CBCEF29}" dt="2020-10-02T23:03:33.961" v="113" actId="14100"/>
        <pc:sldMkLst>
          <pc:docMk/>
          <pc:sldMk cId="1944756657" sldId="404"/>
        </pc:sldMkLst>
        <pc:spChg chg="mod">
          <ac:chgData name="Karen Bronis" userId="789379ec-e270-4ca9-80d7-80c7aacec7f8" providerId="ADAL" clId="{E84D6FBD-DCDC-475A-8901-163C5CBCEF29}" dt="2020-10-02T23:02:08.475" v="95" actId="255"/>
          <ac:spMkLst>
            <pc:docMk/>
            <pc:sldMk cId="1944756657" sldId="404"/>
            <ac:spMk id="7" creationId="{00000000-0000-0000-0000-000000000000}"/>
          </ac:spMkLst>
        </pc:spChg>
        <pc:spChg chg="mod">
          <ac:chgData name="Karen Bronis" userId="789379ec-e270-4ca9-80d7-80c7aacec7f8" providerId="ADAL" clId="{E84D6FBD-DCDC-475A-8901-163C5CBCEF29}" dt="2020-10-02T23:03:30.294" v="112" actId="14100"/>
          <ac:spMkLst>
            <pc:docMk/>
            <pc:sldMk cId="1944756657" sldId="404"/>
            <ac:spMk id="8" creationId="{00000000-0000-0000-0000-000000000000}"/>
          </ac:spMkLst>
        </pc:spChg>
        <pc:spChg chg="mod">
          <ac:chgData name="Karen Bronis" userId="789379ec-e270-4ca9-80d7-80c7aacec7f8" providerId="ADAL" clId="{E84D6FBD-DCDC-475A-8901-163C5CBCEF29}" dt="2020-10-02T23:03:26.846" v="111" actId="14100"/>
          <ac:spMkLst>
            <pc:docMk/>
            <pc:sldMk cId="1944756657" sldId="404"/>
            <ac:spMk id="9" creationId="{00000000-0000-0000-0000-000000000000}"/>
          </ac:spMkLst>
        </pc:spChg>
        <pc:spChg chg="mod">
          <ac:chgData name="Karen Bronis" userId="789379ec-e270-4ca9-80d7-80c7aacec7f8" providerId="ADAL" clId="{E84D6FBD-DCDC-475A-8901-163C5CBCEF29}" dt="2020-10-02T23:03:33.961" v="113" actId="14100"/>
          <ac:spMkLst>
            <pc:docMk/>
            <pc:sldMk cId="1944756657" sldId="404"/>
            <ac:spMk id="10" creationId="{00000000-0000-0000-0000-000000000000}"/>
          </ac:spMkLst>
        </pc:spChg>
        <pc:spChg chg="mod">
          <ac:chgData name="Karen Bronis" userId="789379ec-e270-4ca9-80d7-80c7aacec7f8" providerId="ADAL" clId="{E84D6FBD-DCDC-475A-8901-163C5CBCEF29}" dt="2020-10-02T23:02:04.282" v="94" actId="1076"/>
          <ac:spMkLst>
            <pc:docMk/>
            <pc:sldMk cId="1944756657" sldId="404"/>
            <ac:spMk id="11" creationId="{00000000-0000-0000-0000-000000000000}"/>
          </ac:spMkLst>
        </pc:spChg>
      </pc:sldChg>
      <pc:sldChg chg="modSp modAnim">
        <pc:chgData name="Karen Bronis" userId="789379ec-e270-4ca9-80d7-80c7aacec7f8" providerId="ADAL" clId="{E84D6FBD-DCDC-475A-8901-163C5CBCEF29}" dt="2020-10-02T23:05:43.533" v="138"/>
        <pc:sldMkLst>
          <pc:docMk/>
          <pc:sldMk cId="2570142934" sldId="405"/>
        </pc:sldMkLst>
        <pc:spChg chg="mod">
          <ac:chgData name="Karen Bronis" userId="789379ec-e270-4ca9-80d7-80c7aacec7f8" providerId="ADAL" clId="{E84D6FBD-DCDC-475A-8901-163C5CBCEF29}" dt="2020-10-02T23:04:41.411" v="122" actId="14100"/>
          <ac:spMkLst>
            <pc:docMk/>
            <pc:sldMk cId="2570142934" sldId="405"/>
            <ac:spMk id="7" creationId="{00000000-0000-0000-0000-000000000000}"/>
          </ac:spMkLst>
        </pc:spChg>
        <pc:spChg chg="mod">
          <ac:chgData name="Karen Bronis" userId="789379ec-e270-4ca9-80d7-80c7aacec7f8" providerId="ADAL" clId="{E84D6FBD-DCDC-475A-8901-163C5CBCEF29}" dt="2020-10-02T23:04:33.857" v="121" actId="113"/>
          <ac:spMkLst>
            <pc:docMk/>
            <pc:sldMk cId="2570142934" sldId="405"/>
            <ac:spMk id="8" creationId="{00000000-0000-0000-0000-000000000000}"/>
          </ac:spMkLst>
        </pc:spChg>
        <pc:spChg chg="mod">
          <ac:chgData name="Karen Bronis" userId="789379ec-e270-4ca9-80d7-80c7aacec7f8" providerId="ADAL" clId="{E84D6FBD-DCDC-475A-8901-163C5CBCEF29}" dt="2020-10-02T23:04:47.439" v="123" actId="14100"/>
          <ac:spMkLst>
            <pc:docMk/>
            <pc:sldMk cId="2570142934" sldId="405"/>
            <ac:spMk id="9" creationId="{00000000-0000-0000-0000-000000000000}"/>
          </ac:spMkLst>
        </pc:spChg>
        <pc:spChg chg="mod">
          <ac:chgData name="Karen Bronis" userId="789379ec-e270-4ca9-80d7-80c7aacec7f8" providerId="ADAL" clId="{E84D6FBD-DCDC-475A-8901-163C5CBCEF29}" dt="2020-10-02T23:05:43.533" v="138"/>
          <ac:spMkLst>
            <pc:docMk/>
            <pc:sldMk cId="2570142934" sldId="405"/>
            <ac:spMk id="10" creationId="{00000000-0000-0000-0000-000000000000}"/>
          </ac:spMkLst>
        </pc:spChg>
      </pc:sldChg>
      <pc:sldChg chg="delSp">
        <pc:chgData name="Karen Bronis" userId="789379ec-e270-4ca9-80d7-80c7aacec7f8" providerId="ADAL" clId="{E84D6FBD-DCDC-475A-8901-163C5CBCEF29}" dt="2020-10-02T23:14:45.435" v="331" actId="478"/>
        <pc:sldMkLst>
          <pc:docMk/>
          <pc:sldMk cId="848020243" sldId="406"/>
        </pc:sldMkLst>
        <pc:spChg chg="del">
          <ac:chgData name="Karen Bronis" userId="789379ec-e270-4ca9-80d7-80c7aacec7f8" providerId="ADAL" clId="{E84D6FBD-DCDC-475A-8901-163C5CBCEF29}" dt="2020-10-02T23:14:45.435" v="331" actId="478"/>
          <ac:spMkLst>
            <pc:docMk/>
            <pc:sldMk cId="848020243" sldId="406"/>
            <ac:spMk id="5" creationId="{00000000-0000-0000-0000-000000000000}"/>
          </ac:spMkLst>
        </pc:spChg>
      </pc:sldChg>
      <pc:sldChg chg="delSp modSp">
        <pc:chgData name="Karen Bronis" userId="789379ec-e270-4ca9-80d7-80c7aacec7f8" providerId="ADAL" clId="{E84D6FBD-DCDC-475A-8901-163C5CBCEF29}" dt="2020-10-02T23:10:34.237" v="245" actId="478"/>
        <pc:sldMkLst>
          <pc:docMk/>
          <pc:sldMk cId="1527680765" sldId="408"/>
        </pc:sldMkLst>
        <pc:spChg chg="del">
          <ac:chgData name="Karen Bronis" userId="789379ec-e270-4ca9-80d7-80c7aacec7f8" providerId="ADAL" clId="{E84D6FBD-DCDC-475A-8901-163C5CBCEF29}" dt="2020-10-02T23:10:34.237" v="245" actId="478"/>
          <ac:spMkLst>
            <pc:docMk/>
            <pc:sldMk cId="1527680765" sldId="408"/>
            <ac:spMk id="6" creationId="{00000000-0000-0000-0000-000000000000}"/>
          </ac:spMkLst>
        </pc:spChg>
        <pc:spChg chg="mod">
          <ac:chgData name="Karen Bronis" userId="789379ec-e270-4ca9-80d7-80c7aacec7f8" providerId="ADAL" clId="{E84D6FBD-DCDC-475A-8901-163C5CBCEF29}" dt="2020-10-02T22:00:25.048" v="24" actId="33524"/>
          <ac:spMkLst>
            <pc:docMk/>
            <pc:sldMk cId="1527680765" sldId="408"/>
            <ac:spMk id="9" creationId="{00000000-0000-0000-0000-000000000000}"/>
          </ac:spMkLst>
        </pc:spChg>
      </pc:sldChg>
      <pc:sldChg chg="delSp">
        <pc:chgData name="Karen Bronis" userId="789379ec-e270-4ca9-80d7-80c7aacec7f8" providerId="ADAL" clId="{E84D6FBD-DCDC-475A-8901-163C5CBCEF29}" dt="2020-10-02T23:14:13.369" v="325" actId="478"/>
        <pc:sldMkLst>
          <pc:docMk/>
          <pc:sldMk cId="1924092729" sldId="418"/>
        </pc:sldMkLst>
        <pc:spChg chg="del">
          <ac:chgData name="Karen Bronis" userId="789379ec-e270-4ca9-80d7-80c7aacec7f8" providerId="ADAL" clId="{E84D6FBD-DCDC-475A-8901-163C5CBCEF29}" dt="2020-10-02T23:14:13.369" v="325" actId="478"/>
          <ac:spMkLst>
            <pc:docMk/>
            <pc:sldMk cId="1924092729" sldId="418"/>
            <ac:spMk id="6" creationId="{00000000-0000-0000-0000-000000000000}"/>
          </ac:spMkLst>
        </pc:spChg>
      </pc:sldChg>
      <pc:sldChg chg="delSp modSp">
        <pc:chgData name="Karen Bronis" userId="789379ec-e270-4ca9-80d7-80c7aacec7f8" providerId="ADAL" clId="{E84D6FBD-DCDC-475A-8901-163C5CBCEF29}" dt="2020-10-02T23:14:09.667" v="324" actId="478"/>
        <pc:sldMkLst>
          <pc:docMk/>
          <pc:sldMk cId="76221602" sldId="419"/>
        </pc:sldMkLst>
        <pc:spChg chg="del mod">
          <ac:chgData name="Karen Bronis" userId="789379ec-e270-4ca9-80d7-80c7aacec7f8" providerId="ADAL" clId="{E84D6FBD-DCDC-475A-8901-163C5CBCEF29}" dt="2020-10-02T23:14:09.667" v="324" actId="478"/>
          <ac:spMkLst>
            <pc:docMk/>
            <pc:sldMk cId="76221602" sldId="419"/>
            <ac:spMk id="7" creationId="{00000000-0000-0000-0000-000000000000}"/>
          </ac:spMkLst>
        </pc:spChg>
      </pc:sldChg>
      <pc:sldChg chg="delSp">
        <pc:chgData name="Karen Bronis" userId="789379ec-e270-4ca9-80d7-80c7aacec7f8" providerId="ADAL" clId="{E84D6FBD-DCDC-475A-8901-163C5CBCEF29}" dt="2020-10-02T23:11:09.751" v="254" actId="478"/>
        <pc:sldMkLst>
          <pc:docMk/>
          <pc:sldMk cId="2184165978" sldId="421"/>
        </pc:sldMkLst>
        <pc:spChg chg="del">
          <ac:chgData name="Karen Bronis" userId="789379ec-e270-4ca9-80d7-80c7aacec7f8" providerId="ADAL" clId="{E84D6FBD-DCDC-475A-8901-163C5CBCEF29}" dt="2020-10-02T23:11:09.751" v="254" actId="478"/>
          <ac:spMkLst>
            <pc:docMk/>
            <pc:sldMk cId="2184165978" sldId="421"/>
            <ac:spMk id="6" creationId="{00000000-0000-0000-0000-000000000000}"/>
          </ac:spMkLst>
        </pc:spChg>
      </pc:sldChg>
      <pc:sldChg chg="delSp">
        <pc:chgData name="Karen Bronis" userId="789379ec-e270-4ca9-80d7-80c7aacec7f8" providerId="ADAL" clId="{E84D6FBD-DCDC-475A-8901-163C5CBCEF29}" dt="2020-10-02T23:11:14.924" v="255" actId="478"/>
        <pc:sldMkLst>
          <pc:docMk/>
          <pc:sldMk cId="3801471485" sldId="423"/>
        </pc:sldMkLst>
        <pc:spChg chg="del">
          <ac:chgData name="Karen Bronis" userId="789379ec-e270-4ca9-80d7-80c7aacec7f8" providerId="ADAL" clId="{E84D6FBD-DCDC-475A-8901-163C5CBCEF29}" dt="2020-10-02T23:11:14.924" v="255" actId="478"/>
          <ac:spMkLst>
            <pc:docMk/>
            <pc:sldMk cId="3801471485" sldId="423"/>
            <ac:spMk id="5" creationId="{00000000-0000-0000-0000-000000000000}"/>
          </ac:spMkLst>
        </pc:spChg>
      </pc:sldChg>
      <pc:sldChg chg="modSp">
        <pc:chgData name="Karen Bronis" userId="789379ec-e270-4ca9-80d7-80c7aacec7f8" providerId="ADAL" clId="{E84D6FBD-DCDC-475A-8901-163C5CBCEF29}" dt="2020-10-02T23:08:28.701" v="163" actId="14100"/>
        <pc:sldMkLst>
          <pc:docMk/>
          <pc:sldMk cId="2646967287" sldId="426"/>
        </pc:sldMkLst>
        <pc:spChg chg="mod">
          <ac:chgData name="Karen Bronis" userId="789379ec-e270-4ca9-80d7-80c7aacec7f8" providerId="ADAL" clId="{E84D6FBD-DCDC-475A-8901-163C5CBCEF29}" dt="2020-10-02T23:08:28.701" v="163" actId="14100"/>
          <ac:spMkLst>
            <pc:docMk/>
            <pc:sldMk cId="2646967287" sldId="426"/>
            <ac:spMk id="62467" creationId="{00000000-0000-0000-0000-000000000000}"/>
          </ac:spMkLst>
        </pc:spChg>
      </pc:sldChg>
      <pc:sldChg chg="modSp del">
        <pc:chgData name="Karen Bronis" userId="789379ec-e270-4ca9-80d7-80c7aacec7f8" providerId="ADAL" clId="{E84D6FBD-DCDC-475A-8901-163C5CBCEF29}" dt="2020-10-02T21:59:11.981" v="15" actId="2696"/>
        <pc:sldMkLst>
          <pc:docMk/>
          <pc:sldMk cId="4043181840" sldId="440"/>
        </pc:sldMkLst>
        <pc:spChg chg="mod">
          <ac:chgData name="Karen Bronis" userId="789379ec-e270-4ca9-80d7-80c7aacec7f8" providerId="ADAL" clId="{E84D6FBD-DCDC-475A-8901-163C5CBCEF29}" dt="2020-10-02T21:56:38.106" v="9" actId="1076"/>
          <ac:spMkLst>
            <pc:docMk/>
            <pc:sldMk cId="4043181840" sldId="440"/>
            <ac:spMk id="8" creationId="{00000000-0000-0000-0000-000000000000}"/>
          </ac:spMkLst>
        </pc:spChg>
        <pc:spChg chg="mod">
          <ac:chgData name="Karen Bronis" userId="789379ec-e270-4ca9-80d7-80c7aacec7f8" providerId="ADAL" clId="{E84D6FBD-DCDC-475A-8901-163C5CBCEF29}" dt="2020-10-02T21:59:03.015" v="14" actId="2710"/>
          <ac:spMkLst>
            <pc:docMk/>
            <pc:sldMk cId="4043181840" sldId="440"/>
            <ac:spMk id="67587" creationId="{00000000-0000-0000-0000-000000000000}"/>
          </ac:spMkLst>
        </pc:spChg>
      </pc:sldChg>
      <pc:sldChg chg="modSp">
        <pc:chgData name="Karen Bronis" userId="789379ec-e270-4ca9-80d7-80c7aacec7f8" providerId="ADAL" clId="{E84D6FBD-DCDC-475A-8901-163C5CBCEF29}" dt="2020-10-02T21:59:35.798" v="17" actId="14100"/>
        <pc:sldMkLst>
          <pc:docMk/>
          <pc:sldMk cId="1727284866" sldId="441"/>
        </pc:sldMkLst>
        <pc:spChg chg="mod">
          <ac:chgData name="Karen Bronis" userId="789379ec-e270-4ca9-80d7-80c7aacec7f8" providerId="ADAL" clId="{E84D6FBD-DCDC-475A-8901-163C5CBCEF29}" dt="2020-10-02T21:59:35.798" v="17" actId="14100"/>
          <ac:spMkLst>
            <pc:docMk/>
            <pc:sldMk cId="1727284866" sldId="441"/>
            <ac:spMk id="63491" creationId="{00000000-0000-0000-0000-000000000000}"/>
          </ac:spMkLst>
        </pc:spChg>
      </pc:sldChg>
      <pc:sldChg chg="delSp modSp">
        <pc:chgData name="Karen Bronis" userId="789379ec-e270-4ca9-80d7-80c7aacec7f8" providerId="ADAL" clId="{E84D6FBD-DCDC-475A-8901-163C5CBCEF29}" dt="2020-10-02T23:14:32.199" v="328" actId="478"/>
        <pc:sldMkLst>
          <pc:docMk/>
          <pc:sldMk cId="1590862745" sldId="443"/>
        </pc:sldMkLst>
        <pc:spChg chg="mod">
          <ac:chgData name="Karen Bronis" userId="789379ec-e270-4ca9-80d7-80c7aacec7f8" providerId="ADAL" clId="{E84D6FBD-DCDC-475A-8901-163C5CBCEF29}" dt="2020-10-02T23:07:41.790" v="156" actId="20577"/>
          <ac:spMkLst>
            <pc:docMk/>
            <pc:sldMk cId="1590862745" sldId="443"/>
            <ac:spMk id="9" creationId="{00000000-0000-0000-0000-000000000000}"/>
          </ac:spMkLst>
        </pc:spChg>
        <pc:spChg chg="del">
          <ac:chgData name="Karen Bronis" userId="789379ec-e270-4ca9-80d7-80c7aacec7f8" providerId="ADAL" clId="{E84D6FBD-DCDC-475A-8901-163C5CBCEF29}" dt="2020-10-02T23:14:32.199" v="328" actId="478"/>
          <ac:spMkLst>
            <pc:docMk/>
            <pc:sldMk cId="1590862745" sldId="443"/>
            <ac:spMk id="11" creationId="{00000000-0000-0000-0000-000000000000}"/>
          </ac:spMkLst>
        </pc:spChg>
      </pc:sldChg>
      <pc:sldChg chg="delSp modSp">
        <pc:chgData name="Karen Bronis" userId="789379ec-e270-4ca9-80d7-80c7aacec7f8" providerId="ADAL" clId="{E84D6FBD-DCDC-475A-8901-163C5CBCEF29}" dt="2020-10-02T23:10:59.243" v="252" actId="478"/>
        <pc:sldMkLst>
          <pc:docMk/>
          <pc:sldMk cId="1847025325" sldId="444"/>
        </pc:sldMkLst>
        <pc:spChg chg="del mod">
          <ac:chgData name="Karen Bronis" userId="789379ec-e270-4ca9-80d7-80c7aacec7f8" providerId="ADAL" clId="{E84D6FBD-DCDC-475A-8901-163C5CBCEF29}" dt="2020-10-02T23:10:59.243" v="252" actId="478"/>
          <ac:spMkLst>
            <pc:docMk/>
            <pc:sldMk cId="1847025325" sldId="444"/>
            <ac:spMk id="6" creationId="{00000000-0000-0000-0000-000000000000}"/>
          </ac:spMkLst>
        </pc:spChg>
        <pc:spChg chg="mod">
          <ac:chgData name="Karen Bronis" userId="789379ec-e270-4ca9-80d7-80c7aacec7f8" providerId="ADAL" clId="{E84D6FBD-DCDC-475A-8901-163C5CBCEF29}" dt="2020-10-02T21:59:50.870" v="19" actId="14100"/>
          <ac:spMkLst>
            <pc:docMk/>
            <pc:sldMk cId="1847025325" sldId="444"/>
            <ac:spMk id="9" creationId="{00000000-0000-0000-0000-000000000000}"/>
          </ac:spMkLst>
        </pc:spChg>
      </pc:sldChg>
      <pc:sldChg chg="delSp modSp">
        <pc:chgData name="Karen Bronis" userId="789379ec-e270-4ca9-80d7-80c7aacec7f8" providerId="ADAL" clId="{E84D6FBD-DCDC-475A-8901-163C5CBCEF29}" dt="2020-10-02T23:11:35.066" v="259" actId="478"/>
        <pc:sldMkLst>
          <pc:docMk/>
          <pc:sldMk cId="174257405" sldId="446"/>
        </pc:sldMkLst>
        <pc:spChg chg="del">
          <ac:chgData name="Karen Bronis" userId="789379ec-e270-4ca9-80d7-80c7aacec7f8" providerId="ADAL" clId="{E84D6FBD-DCDC-475A-8901-163C5CBCEF29}" dt="2020-10-02T23:11:35.066" v="259" actId="478"/>
          <ac:spMkLst>
            <pc:docMk/>
            <pc:sldMk cId="174257405" sldId="446"/>
            <ac:spMk id="6" creationId="{00000000-0000-0000-0000-000000000000}"/>
          </ac:spMkLst>
        </pc:spChg>
        <pc:spChg chg="mod">
          <ac:chgData name="Karen Bronis" userId="789379ec-e270-4ca9-80d7-80c7aacec7f8" providerId="ADAL" clId="{E84D6FBD-DCDC-475A-8901-163C5CBCEF29}" dt="2020-10-02T22:02:47.271" v="68" actId="20577"/>
          <ac:spMkLst>
            <pc:docMk/>
            <pc:sldMk cId="174257405" sldId="446"/>
            <ac:spMk id="9" creationId="{00000000-0000-0000-0000-000000000000}"/>
          </ac:spMkLst>
        </pc:spChg>
      </pc:sldChg>
      <pc:sldChg chg="delSp modSp">
        <pc:chgData name="Karen Bronis" userId="789379ec-e270-4ca9-80d7-80c7aacec7f8" providerId="ADAL" clId="{E84D6FBD-DCDC-475A-8901-163C5CBCEF29}" dt="2020-10-02T23:11:39.144" v="260" actId="478"/>
        <pc:sldMkLst>
          <pc:docMk/>
          <pc:sldMk cId="3077125071" sldId="447"/>
        </pc:sldMkLst>
        <pc:spChg chg="del">
          <ac:chgData name="Karen Bronis" userId="789379ec-e270-4ca9-80d7-80c7aacec7f8" providerId="ADAL" clId="{E84D6FBD-DCDC-475A-8901-163C5CBCEF29}" dt="2020-10-02T23:11:39.144" v="260" actId="478"/>
          <ac:spMkLst>
            <pc:docMk/>
            <pc:sldMk cId="3077125071" sldId="447"/>
            <ac:spMk id="6" creationId="{00000000-0000-0000-0000-000000000000}"/>
          </ac:spMkLst>
        </pc:spChg>
        <pc:spChg chg="mod">
          <ac:chgData name="Karen Bronis" userId="789379ec-e270-4ca9-80d7-80c7aacec7f8" providerId="ADAL" clId="{E84D6FBD-DCDC-475A-8901-163C5CBCEF29}" dt="2020-10-02T22:02:59.682" v="70" actId="14100"/>
          <ac:spMkLst>
            <pc:docMk/>
            <pc:sldMk cId="3077125071" sldId="447"/>
            <ac:spMk id="9" creationId="{00000000-0000-0000-0000-000000000000}"/>
          </ac:spMkLst>
        </pc:spChg>
      </pc:sldChg>
      <pc:sldChg chg="delSp">
        <pc:chgData name="Karen Bronis" userId="789379ec-e270-4ca9-80d7-80c7aacec7f8" providerId="ADAL" clId="{E84D6FBD-DCDC-475A-8901-163C5CBCEF29}" dt="2020-10-02T23:11:54.254" v="263" actId="478"/>
        <pc:sldMkLst>
          <pc:docMk/>
          <pc:sldMk cId="1902352986" sldId="448"/>
        </pc:sldMkLst>
        <pc:spChg chg="del">
          <ac:chgData name="Karen Bronis" userId="789379ec-e270-4ca9-80d7-80c7aacec7f8" providerId="ADAL" clId="{E84D6FBD-DCDC-475A-8901-163C5CBCEF29}" dt="2020-10-02T23:11:54.254" v="263" actId="478"/>
          <ac:spMkLst>
            <pc:docMk/>
            <pc:sldMk cId="1902352986" sldId="448"/>
            <ac:spMk id="6" creationId="{00000000-0000-0000-0000-000000000000}"/>
          </ac:spMkLst>
        </pc:spChg>
      </pc:sldChg>
      <pc:sldChg chg="delSp">
        <pc:chgData name="Karen Bronis" userId="789379ec-e270-4ca9-80d7-80c7aacec7f8" providerId="ADAL" clId="{E84D6FBD-DCDC-475A-8901-163C5CBCEF29}" dt="2020-10-02T23:12:01.998" v="264" actId="478"/>
        <pc:sldMkLst>
          <pc:docMk/>
          <pc:sldMk cId="2233070560" sldId="449"/>
        </pc:sldMkLst>
        <pc:spChg chg="del">
          <ac:chgData name="Karen Bronis" userId="789379ec-e270-4ca9-80d7-80c7aacec7f8" providerId="ADAL" clId="{E84D6FBD-DCDC-475A-8901-163C5CBCEF29}" dt="2020-10-02T23:12:01.998" v="264" actId="478"/>
          <ac:spMkLst>
            <pc:docMk/>
            <pc:sldMk cId="2233070560" sldId="449"/>
            <ac:spMk id="6" creationId="{00000000-0000-0000-0000-000000000000}"/>
          </ac:spMkLst>
        </pc:spChg>
      </pc:sldChg>
      <pc:sldChg chg="delSp">
        <pc:chgData name="Karen Bronis" userId="789379ec-e270-4ca9-80d7-80c7aacec7f8" providerId="ADAL" clId="{E84D6FBD-DCDC-475A-8901-163C5CBCEF29}" dt="2020-10-02T23:14:17.311" v="326" actId="478"/>
        <pc:sldMkLst>
          <pc:docMk/>
          <pc:sldMk cId="3922195771" sldId="450"/>
        </pc:sldMkLst>
        <pc:spChg chg="del">
          <ac:chgData name="Karen Bronis" userId="789379ec-e270-4ca9-80d7-80c7aacec7f8" providerId="ADAL" clId="{E84D6FBD-DCDC-475A-8901-163C5CBCEF29}" dt="2020-10-02T23:14:17.311" v="326" actId="478"/>
          <ac:spMkLst>
            <pc:docMk/>
            <pc:sldMk cId="3922195771" sldId="450"/>
            <ac:spMk id="6" creationId="{00000000-0000-0000-0000-000000000000}"/>
          </ac:spMkLst>
        </pc:spChg>
      </pc:sldChg>
      <pc:sldChg chg="delSp modSp">
        <pc:chgData name="Karen Bronis" userId="789379ec-e270-4ca9-80d7-80c7aacec7f8" providerId="ADAL" clId="{E84D6FBD-DCDC-475A-8901-163C5CBCEF29}" dt="2020-10-02T23:11:21.501" v="256" actId="478"/>
        <pc:sldMkLst>
          <pc:docMk/>
          <pc:sldMk cId="2118095953" sldId="451"/>
        </pc:sldMkLst>
        <pc:spChg chg="del">
          <ac:chgData name="Karen Bronis" userId="789379ec-e270-4ca9-80d7-80c7aacec7f8" providerId="ADAL" clId="{E84D6FBD-DCDC-475A-8901-163C5CBCEF29}" dt="2020-10-02T23:11:21.501" v="256" actId="478"/>
          <ac:spMkLst>
            <pc:docMk/>
            <pc:sldMk cId="2118095953" sldId="451"/>
            <ac:spMk id="6" creationId="{00000000-0000-0000-0000-000000000000}"/>
          </ac:spMkLst>
        </pc:spChg>
        <pc:spChg chg="mod">
          <ac:chgData name="Karen Bronis" userId="789379ec-e270-4ca9-80d7-80c7aacec7f8" providerId="ADAL" clId="{E84D6FBD-DCDC-475A-8901-163C5CBCEF29}" dt="2020-10-02T22:02:09.263" v="48" actId="20577"/>
          <ac:spMkLst>
            <pc:docMk/>
            <pc:sldMk cId="2118095953" sldId="451"/>
            <ac:spMk id="9" creationId="{00000000-0000-0000-0000-000000000000}"/>
          </ac:spMkLst>
        </pc:spChg>
      </pc:sldChg>
      <pc:sldChg chg="delSp modSp">
        <pc:chgData name="Karen Bronis" userId="789379ec-e270-4ca9-80d7-80c7aacec7f8" providerId="ADAL" clId="{E84D6FBD-DCDC-475A-8901-163C5CBCEF29}" dt="2020-10-02T23:11:26.184" v="257" actId="478"/>
        <pc:sldMkLst>
          <pc:docMk/>
          <pc:sldMk cId="3888223313" sldId="452"/>
        </pc:sldMkLst>
        <pc:spChg chg="del">
          <ac:chgData name="Karen Bronis" userId="789379ec-e270-4ca9-80d7-80c7aacec7f8" providerId="ADAL" clId="{E84D6FBD-DCDC-475A-8901-163C5CBCEF29}" dt="2020-10-02T23:11:26.184" v="257" actId="478"/>
          <ac:spMkLst>
            <pc:docMk/>
            <pc:sldMk cId="3888223313" sldId="452"/>
            <ac:spMk id="6" creationId="{00000000-0000-0000-0000-000000000000}"/>
          </ac:spMkLst>
        </pc:spChg>
        <pc:spChg chg="mod">
          <ac:chgData name="Karen Bronis" userId="789379ec-e270-4ca9-80d7-80c7aacec7f8" providerId="ADAL" clId="{E84D6FBD-DCDC-475A-8901-163C5CBCEF29}" dt="2020-10-02T22:03:23.393" v="72" actId="14100"/>
          <ac:spMkLst>
            <pc:docMk/>
            <pc:sldMk cId="3888223313" sldId="452"/>
            <ac:spMk id="9" creationId="{00000000-0000-0000-0000-000000000000}"/>
          </ac:spMkLst>
        </pc:spChg>
      </pc:sldChg>
      <pc:sldChg chg="delSp modSp">
        <pc:chgData name="Karen Bronis" userId="789379ec-e270-4ca9-80d7-80c7aacec7f8" providerId="ADAL" clId="{E84D6FBD-DCDC-475A-8901-163C5CBCEF29}" dt="2020-10-02T23:11:30.714" v="258" actId="478"/>
        <pc:sldMkLst>
          <pc:docMk/>
          <pc:sldMk cId="3077509258" sldId="453"/>
        </pc:sldMkLst>
        <pc:spChg chg="del">
          <ac:chgData name="Karen Bronis" userId="789379ec-e270-4ca9-80d7-80c7aacec7f8" providerId="ADAL" clId="{E84D6FBD-DCDC-475A-8901-163C5CBCEF29}" dt="2020-10-02T23:11:30.714" v="258" actId="478"/>
          <ac:spMkLst>
            <pc:docMk/>
            <pc:sldMk cId="3077509258" sldId="453"/>
            <ac:spMk id="6" creationId="{00000000-0000-0000-0000-000000000000}"/>
          </ac:spMkLst>
        </pc:spChg>
        <pc:spChg chg="mod">
          <ac:chgData name="Karen Bronis" userId="789379ec-e270-4ca9-80d7-80c7aacec7f8" providerId="ADAL" clId="{E84D6FBD-DCDC-475A-8901-163C5CBCEF29}" dt="2020-10-02T22:02:30.901" v="58" actId="20577"/>
          <ac:spMkLst>
            <pc:docMk/>
            <pc:sldMk cId="3077509258" sldId="453"/>
            <ac:spMk id="9" creationId="{00000000-0000-0000-0000-000000000000}"/>
          </ac:spMkLst>
        </pc:spChg>
      </pc:sldChg>
      <pc:sldChg chg="modSp">
        <pc:chgData name="Karen Bronis" userId="789379ec-e270-4ca9-80d7-80c7aacec7f8" providerId="ADAL" clId="{E84D6FBD-DCDC-475A-8901-163C5CBCEF29}" dt="2020-10-02T23:01:09.246" v="89" actId="113"/>
        <pc:sldMkLst>
          <pc:docMk/>
          <pc:sldMk cId="1559546953" sldId="455"/>
        </pc:sldMkLst>
        <pc:spChg chg="mod">
          <ac:chgData name="Karen Bronis" userId="789379ec-e270-4ca9-80d7-80c7aacec7f8" providerId="ADAL" clId="{E84D6FBD-DCDC-475A-8901-163C5CBCEF29}" dt="2020-10-02T23:01:09.246" v="89" actId="113"/>
          <ac:spMkLst>
            <pc:docMk/>
            <pc:sldMk cId="1559546953" sldId="455"/>
            <ac:spMk id="12292" creationId="{00000000-0000-0000-0000-000000000000}"/>
          </ac:spMkLst>
        </pc:spChg>
      </pc:sldChg>
      <pc:sldChg chg="modSp">
        <pc:chgData name="Karen Bronis" userId="789379ec-e270-4ca9-80d7-80c7aacec7f8" providerId="ADAL" clId="{E84D6FBD-DCDC-475A-8901-163C5CBCEF29}" dt="2020-10-02T23:06:42.595" v="146" actId="113"/>
        <pc:sldMkLst>
          <pc:docMk/>
          <pc:sldMk cId="2499143102" sldId="456"/>
        </pc:sldMkLst>
        <pc:spChg chg="mod">
          <ac:chgData name="Karen Bronis" userId="789379ec-e270-4ca9-80d7-80c7aacec7f8" providerId="ADAL" clId="{E84D6FBD-DCDC-475A-8901-163C5CBCEF29}" dt="2020-10-02T23:06:42.595" v="146" actId="113"/>
          <ac:spMkLst>
            <pc:docMk/>
            <pc:sldMk cId="2499143102" sldId="456"/>
            <ac:spMk id="22" creationId="{00000000-0000-0000-0000-000000000000}"/>
          </ac:spMkLst>
        </pc:spChg>
      </pc:sldChg>
      <pc:sldChg chg="modSp">
        <pc:chgData name="Karen Bronis" userId="789379ec-e270-4ca9-80d7-80c7aacec7f8" providerId="ADAL" clId="{E84D6FBD-DCDC-475A-8901-163C5CBCEF29}" dt="2020-10-02T23:01:17.549" v="90" actId="207"/>
        <pc:sldMkLst>
          <pc:docMk/>
          <pc:sldMk cId="1283475463" sldId="458"/>
        </pc:sldMkLst>
        <pc:spChg chg="mod">
          <ac:chgData name="Karen Bronis" userId="789379ec-e270-4ca9-80d7-80c7aacec7f8" providerId="ADAL" clId="{E84D6FBD-DCDC-475A-8901-163C5CBCEF29}" dt="2020-10-02T23:01:17.549" v="90" actId="207"/>
          <ac:spMkLst>
            <pc:docMk/>
            <pc:sldMk cId="1283475463" sldId="458"/>
            <ac:spMk id="40" creationId="{00000000-0000-0000-0000-000000000000}"/>
          </ac:spMkLst>
        </pc:spChg>
      </pc:sldChg>
      <pc:sldChg chg="modSp">
        <pc:chgData name="Karen Bronis" userId="789379ec-e270-4ca9-80d7-80c7aacec7f8" providerId="ADAL" clId="{E84D6FBD-DCDC-475A-8901-163C5CBCEF29}" dt="2020-10-02T23:00:53.080" v="83" actId="2711"/>
        <pc:sldMkLst>
          <pc:docMk/>
          <pc:sldMk cId="2242943914" sldId="460"/>
        </pc:sldMkLst>
        <pc:spChg chg="mod">
          <ac:chgData name="Karen Bronis" userId="789379ec-e270-4ca9-80d7-80c7aacec7f8" providerId="ADAL" clId="{E84D6FBD-DCDC-475A-8901-163C5CBCEF29}" dt="2020-10-02T23:00:53.080" v="83" actId="2711"/>
          <ac:spMkLst>
            <pc:docMk/>
            <pc:sldMk cId="2242943914" sldId="460"/>
            <ac:spMk id="61" creationId="{00000000-0000-0000-0000-000000000000}"/>
          </ac:spMkLst>
        </pc:spChg>
      </pc:sldChg>
      <pc:sldChg chg="modSp">
        <pc:chgData name="Karen Bronis" userId="789379ec-e270-4ca9-80d7-80c7aacec7f8" providerId="ADAL" clId="{E84D6FBD-DCDC-475A-8901-163C5CBCEF29}" dt="2020-10-02T23:06:28.422" v="144" actId="2711"/>
        <pc:sldMkLst>
          <pc:docMk/>
          <pc:sldMk cId="3591346660" sldId="461"/>
        </pc:sldMkLst>
        <pc:spChg chg="mod">
          <ac:chgData name="Karen Bronis" userId="789379ec-e270-4ca9-80d7-80c7aacec7f8" providerId="ADAL" clId="{E84D6FBD-DCDC-475A-8901-163C5CBCEF29}" dt="2020-10-02T23:06:28.422" v="144" actId="2711"/>
          <ac:spMkLst>
            <pc:docMk/>
            <pc:sldMk cId="3591346660" sldId="461"/>
            <ac:spMk id="2" creationId="{00000000-0000-0000-0000-000000000000}"/>
          </ac:spMkLst>
        </pc:spChg>
      </pc:sldChg>
      <pc:sldChg chg="delSp modSp">
        <pc:chgData name="Karen Bronis" userId="789379ec-e270-4ca9-80d7-80c7aacec7f8" providerId="ADAL" clId="{E84D6FBD-DCDC-475A-8901-163C5CBCEF29}" dt="2020-10-02T23:11:45.488" v="261" actId="478"/>
        <pc:sldMkLst>
          <pc:docMk/>
          <pc:sldMk cId="2630214824" sldId="462"/>
        </pc:sldMkLst>
        <pc:spChg chg="mod">
          <ac:chgData name="Karen Bronis" userId="789379ec-e270-4ca9-80d7-80c7aacec7f8" providerId="ADAL" clId="{E84D6FBD-DCDC-475A-8901-163C5CBCEF29}" dt="2020-10-02T22:03:06.260" v="71" actId="14100"/>
          <ac:spMkLst>
            <pc:docMk/>
            <pc:sldMk cId="2630214824" sldId="462"/>
            <ac:spMk id="3" creationId="{8B58913E-BD50-4E46-8746-F0CE9FBFCAB5}"/>
          </ac:spMkLst>
        </pc:spChg>
        <pc:spChg chg="del">
          <ac:chgData name="Karen Bronis" userId="789379ec-e270-4ca9-80d7-80c7aacec7f8" providerId="ADAL" clId="{E84D6FBD-DCDC-475A-8901-163C5CBCEF29}" dt="2020-10-02T23:11:45.488" v="261" actId="478"/>
          <ac:spMkLst>
            <pc:docMk/>
            <pc:sldMk cId="2630214824" sldId="462"/>
            <ac:spMk id="4" creationId="{25F82DE0-6805-42B8-8573-1F7D02D08225}"/>
          </ac:spMkLst>
        </pc:spChg>
      </pc:sldChg>
      <pc:sldChg chg="delSp">
        <pc:chgData name="Karen Bronis" userId="789379ec-e270-4ca9-80d7-80c7aacec7f8" providerId="ADAL" clId="{E84D6FBD-DCDC-475A-8901-163C5CBCEF29}" dt="2020-10-02T23:11:49.404" v="262" actId="478"/>
        <pc:sldMkLst>
          <pc:docMk/>
          <pc:sldMk cId="2657756377" sldId="463"/>
        </pc:sldMkLst>
        <pc:spChg chg="del">
          <ac:chgData name="Karen Bronis" userId="789379ec-e270-4ca9-80d7-80c7aacec7f8" providerId="ADAL" clId="{E84D6FBD-DCDC-475A-8901-163C5CBCEF29}" dt="2020-10-02T23:11:49.404" v="262" actId="478"/>
          <ac:spMkLst>
            <pc:docMk/>
            <pc:sldMk cId="2657756377" sldId="463"/>
            <ac:spMk id="4" creationId="{9E2737C8-AF78-43AF-8E34-8880C2A3400B}"/>
          </ac:spMkLst>
        </pc:spChg>
      </pc:sldChg>
    </pc:docChg>
  </pc:docChgLst>
  <pc:docChgLst>
    <pc:chgData name="Karen Bronis" userId="789379ec-e270-4ca9-80d7-80c7aacec7f8" providerId="ADAL" clId="{DF9276C0-BCB4-47ED-9B74-FF3A77389C35}"/>
    <pc:docChg chg="custSel addSld delSld modSld sldOrd modMainMaster">
      <pc:chgData name="Karen Bronis" userId="789379ec-e270-4ca9-80d7-80c7aacec7f8" providerId="ADAL" clId="{DF9276C0-BCB4-47ED-9B74-FF3A77389C35}" dt="2021-01-28T21:59:19.414" v="129" actId="1076"/>
      <pc:docMkLst>
        <pc:docMk/>
      </pc:docMkLst>
      <pc:sldChg chg="modSp">
        <pc:chgData name="Karen Bronis" userId="789379ec-e270-4ca9-80d7-80c7aacec7f8" providerId="ADAL" clId="{DF9276C0-BCB4-47ED-9B74-FF3A77389C35}" dt="2021-01-26T16:00:29.163" v="92"/>
        <pc:sldMkLst>
          <pc:docMk/>
          <pc:sldMk cId="4011855218" sldId="364"/>
        </pc:sldMkLst>
        <pc:spChg chg="mod">
          <ac:chgData name="Karen Bronis" userId="789379ec-e270-4ca9-80d7-80c7aacec7f8" providerId="ADAL" clId="{DF9276C0-BCB4-47ED-9B74-FF3A77389C35}" dt="2021-01-26T16:00:29.163" v="92"/>
          <ac:spMkLst>
            <pc:docMk/>
            <pc:sldMk cId="4011855218" sldId="364"/>
            <ac:spMk id="2" creationId="{00000000-0000-0000-0000-000000000000}"/>
          </ac:spMkLst>
        </pc:spChg>
        <pc:spChg chg="mod">
          <ac:chgData name="Karen Bronis" userId="789379ec-e270-4ca9-80d7-80c7aacec7f8" providerId="ADAL" clId="{DF9276C0-BCB4-47ED-9B74-FF3A77389C35}" dt="2021-01-26T16:00:29.163" v="92"/>
          <ac:spMkLst>
            <pc:docMk/>
            <pc:sldMk cId="4011855218" sldId="364"/>
            <ac:spMk id="8" creationId="{00000000-0000-0000-0000-000000000000}"/>
          </ac:spMkLst>
        </pc:spChg>
      </pc:sldChg>
      <pc:sldChg chg="modSp">
        <pc:chgData name="Karen Bronis" userId="789379ec-e270-4ca9-80d7-80c7aacec7f8" providerId="ADAL" clId="{DF9276C0-BCB4-47ED-9B74-FF3A77389C35}" dt="2021-01-26T16:00:29.163" v="92"/>
        <pc:sldMkLst>
          <pc:docMk/>
          <pc:sldMk cId="2494052902" sldId="386"/>
        </pc:sldMkLst>
        <pc:spChg chg="mod">
          <ac:chgData name="Karen Bronis" userId="789379ec-e270-4ca9-80d7-80c7aacec7f8" providerId="ADAL" clId="{DF9276C0-BCB4-47ED-9B74-FF3A77389C35}" dt="2021-01-26T16:00:29.163" v="92"/>
          <ac:spMkLst>
            <pc:docMk/>
            <pc:sldMk cId="2494052902" sldId="386"/>
            <ac:spMk id="7" creationId="{00000000-0000-0000-0000-000000000000}"/>
          </ac:spMkLst>
        </pc:spChg>
      </pc:sldChg>
      <pc:sldChg chg="modSp">
        <pc:chgData name="Karen Bronis" userId="789379ec-e270-4ca9-80d7-80c7aacec7f8" providerId="ADAL" clId="{DF9276C0-BCB4-47ED-9B74-FF3A77389C35}" dt="2021-01-26T16:00:29.163" v="92"/>
        <pc:sldMkLst>
          <pc:docMk/>
          <pc:sldMk cId="936179394" sldId="390"/>
        </pc:sldMkLst>
        <pc:spChg chg="mod">
          <ac:chgData name="Karen Bronis" userId="789379ec-e270-4ca9-80d7-80c7aacec7f8" providerId="ADAL" clId="{DF9276C0-BCB4-47ED-9B74-FF3A77389C35}" dt="2021-01-26T16:00:29.163" v="92"/>
          <ac:spMkLst>
            <pc:docMk/>
            <pc:sldMk cId="936179394" sldId="390"/>
            <ac:spMk id="6" creationId="{00000000-0000-0000-0000-000000000000}"/>
          </ac:spMkLst>
        </pc:spChg>
        <pc:spChg chg="mod">
          <ac:chgData name="Karen Bronis" userId="789379ec-e270-4ca9-80d7-80c7aacec7f8" providerId="ADAL" clId="{DF9276C0-BCB4-47ED-9B74-FF3A77389C35}" dt="2021-01-26T16:00:29.163" v="92"/>
          <ac:spMkLst>
            <pc:docMk/>
            <pc:sldMk cId="936179394" sldId="390"/>
            <ac:spMk id="9" creationId="{00000000-0000-0000-0000-000000000000}"/>
          </ac:spMkLst>
        </pc:spChg>
      </pc:sldChg>
      <pc:sldChg chg="modSp">
        <pc:chgData name="Karen Bronis" userId="789379ec-e270-4ca9-80d7-80c7aacec7f8" providerId="ADAL" clId="{DF9276C0-BCB4-47ED-9B74-FF3A77389C35}" dt="2021-01-26T16:00:29.163" v="92"/>
        <pc:sldMkLst>
          <pc:docMk/>
          <pc:sldMk cId="569984087" sldId="391"/>
        </pc:sldMkLst>
        <pc:spChg chg="mod">
          <ac:chgData name="Karen Bronis" userId="789379ec-e270-4ca9-80d7-80c7aacec7f8" providerId="ADAL" clId="{DF9276C0-BCB4-47ED-9B74-FF3A77389C35}" dt="2021-01-26T16:00:29.163" v="92"/>
          <ac:spMkLst>
            <pc:docMk/>
            <pc:sldMk cId="569984087" sldId="391"/>
            <ac:spMk id="6" creationId="{00000000-0000-0000-0000-000000000000}"/>
          </ac:spMkLst>
        </pc:spChg>
      </pc:sldChg>
      <pc:sldChg chg="modSp">
        <pc:chgData name="Karen Bronis" userId="789379ec-e270-4ca9-80d7-80c7aacec7f8" providerId="ADAL" clId="{DF9276C0-BCB4-47ED-9B74-FF3A77389C35}" dt="2021-01-26T16:00:29.163" v="92"/>
        <pc:sldMkLst>
          <pc:docMk/>
          <pc:sldMk cId="1719680934" sldId="392"/>
        </pc:sldMkLst>
        <pc:spChg chg="mod">
          <ac:chgData name="Karen Bronis" userId="789379ec-e270-4ca9-80d7-80c7aacec7f8" providerId="ADAL" clId="{DF9276C0-BCB4-47ED-9B74-FF3A77389C35}" dt="2021-01-26T16:00:29.163" v="92"/>
          <ac:spMkLst>
            <pc:docMk/>
            <pc:sldMk cId="1719680934" sldId="392"/>
            <ac:spMk id="6" creationId="{00000000-0000-0000-0000-000000000000}"/>
          </ac:spMkLst>
        </pc:spChg>
      </pc:sldChg>
      <pc:sldChg chg="modSp">
        <pc:chgData name="Karen Bronis" userId="789379ec-e270-4ca9-80d7-80c7aacec7f8" providerId="ADAL" clId="{DF9276C0-BCB4-47ED-9B74-FF3A77389C35}" dt="2021-01-26T16:00:29.163" v="92"/>
        <pc:sldMkLst>
          <pc:docMk/>
          <pc:sldMk cId="4168947181" sldId="393"/>
        </pc:sldMkLst>
        <pc:spChg chg="mod">
          <ac:chgData name="Karen Bronis" userId="789379ec-e270-4ca9-80d7-80c7aacec7f8" providerId="ADAL" clId="{DF9276C0-BCB4-47ED-9B74-FF3A77389C35}" dt="2021-01-26T16:00:29.163" v="92"/>
          <ac:spMkLst>
            <pc:docMk/>
            <pc:sldMk cId="4168947181" sldId="393"/>
            <ac:spMk id="6" creationId="{00000000-0000-0000-0000-000000000000}"/>
          </ac:spMkLst>
        </pc:spChg>
        <pc:spChg chg="mod">
          <ac:chgData name="Karen Bronis" userId="789379ec-e270-4ca9-80d7-80c7aacec7f8" providerId="ADAL" clId="{DF9276C0-BCB4-47ED-9B74-FF3A77389C35}" dt="2021-01-26T16:00:29.163" v="92"/>
          <ac:spMkLst>
            <pc:docMk/>
            <pc:sldMk cId="4168947181" sldId="393"/>
            <ac:spMk id="10" creationId="{00000000-0000-0000-0000-000000000000}"/>
          </ac:spMkLst>
        </pc:spChg>
      </pc:sldChg>
      <pc:sldChg chg="modSp">
        <pc:chgData name="Karen Bronis" userId="789379ec-e270-4ca9-80d7-80c7aacec7f8" providerId="ADAL" clId="{DF9276C0-BCB4-47ED-9B74-FF3A77389C35}" dt="2021-01-26T16:00:29.163" v="92"/>
        <pc:sldMkLst>
          <pc:docMk/>
          <pc:sldMk cId="661041852" sldId="394"/>
        </pc:sldMkLst>
        <pc:spChg chg="mod">
          <ac:chgData name="Karen Bronis" userId="789379ec-e270-4ca9-80d7-80c7aacec7f8" providerId="ADAL" clId="{DF9276C0-BCB4-47ED-9B74-FF3A77389C35}" dt="2021-01-26T16:00:29.163" v="92"/>
          <ac:spMkLst>
            <pc:docMk/>
            <pc:sldMk cId="661041852" sldId="394"/>
            <ac:spMk id="6" creationId="{00000000-0000-0000-0000-000000000000}"/>
          </ac:spMkLst>
        </pc:spChg>
      </pc:sldChg>
      <pc:sldChg chg="modSp">
        <pc:chgData name="Karen Bronis" userId="789379ec-e270-4ca9-80d7-80c7aacec7f8" providerId="ADAL" clId="{DF9276C0-BCB4-47ED-9B74-FF3A77389C35}" dt="2021-01-26T16:00:29.163" v="92"/>
        <pc:sldMkLst>
          <pc:docMk/>
          <pc:sldMk cId="237012946" sldId="395"/>
        </pc:sldMkLst>
        <pc:spChg chg="mod">
          <ac:chgData name="Karen Bronis" userId="789379ec-e270-4ca9-80d7-80c7aacec7f8" providerId="ADAL" clId="{DF9276C0-BCB4-47ED-9B74-FF3A77389C35}" dt="2021-01-26T16:00:29.163" v="92"/>
          <ac:spMkLst>
            <pc:docMk/>
            <pc:sldMk cId="237012946" sldId="395"/>
            <ac:spMk id="6" creationId="{00000000-0000-0000-0000-000000000000}"/>
          </ac:spMkLst>
        </pc:spChg>
      </pc:sldChg>
      <pc:sldChg chg="modSp">
        <pc:chgData name="Karen Bronis" userId="789379ec-e270-4ca9-80d7-80c7aacec7f8" providerId="ADAL" clId="{DF9276C0-BCB4-47ED-9B74-FF3A77389C35}" dt="2021-01-26T16:00:29.163" v="92"/>
        <pc:sldMkLst>
          <pc:docMk/>
          <pc:sldMk cId="71361510" sldId="396"/>
        </pc:sldMkLst>
        <pc:spChg chg="mod">
          <ac:chgData name="Karen Bronis" userId="789379ec-e270-4ca9-80d7-80c7aacec7f8" providerId="ADAL" clId="{DF9276C0-BCB4-47ED-9B74-FF3A77389C35}" dt="2021-01-26T16:00:29.163" v="92"/>
          <ac:spMkLst>
            <pc:docMk/>
            <pc:sldMk cId="71361510" sldId="396"/>
            <ac:spMk id="9" creationId="{00000000-0000-0000-0000-000000000000}"/>
          </ac:spMkLst>
        </pc:spChg>
      </pc:sldChg>
      <pc:sldChg chg="modSp">
        <pc:chgData name="Karen Bronis" userId="789379ec-e270-4ca9-80d7-80c7aacec7f8" providerId="ADAL" clId="{DF9276C0-BCB4-47ED-9B74-FF3A77389C35}" dt="2021-01-26T16:00:29.163" v="92"/>
        <pc:sldMkLst>
          <pc:docMk/>
          <pc:sldMk cId="2322655307" sldId="400"/>
        </pc:sldMkLst>
        <pc:spChg chg="mod">
          <ac:chgData name="Karen Bronis" userId="789379ec-e270-4ca9-80d7-80c7aacec7f8" providerId="ADAL" clId="{DF9276C0-BCB4-47ED-9B74-FF3A77389C35}" dt="2021-01-26T16:00:29.163" v="92"/>
          <ac:spMkLst>
            <pc:docMk/>
            <pc:sldMk cId="2322655307" sldId="400"/>
            <ac:spMk id="9" creationId="{00000000-0000-0000-0000-000000000000}"/>
          </ac:spMkLst>
        </pc:spChg>
      </pc:sldChg>
      <pc:sldChg chg="modSp mod">
        <pc:chgData name="Karen Bronis" userId="789379ec-e270-4ca9-80d7-80c7aacec7f8" providerId="ADAL" clId="{DF9276C0-BCB4-47ED-9B74-FF3A77389C35}" dt="2021-01-26T16:00:29.163" v="92"/>
        <pc:sldMkLst>
          <pc:docMk/>
          <pc:sldMk cId="1944756657" sldId="404"/>
        </pc:sldMkLst>
        <pc:spChg chg="mod">
          <ac:chgData name="Karen Bronis" userId="789379ec-e270-4ca9-80d7-80c7aacec7f8" providerId="ADAL" clId="{DF9276C0-BCB4-47ED-9B74-FF3A77389C35}" dt="2021-01-26T15:58:41.042" v="90" actId="14100"/>
          <ac:spMkLst>
            <pc:docMk/>
            <pc:sldMk cId="1944756657" sldId="404"/>
            <ac:spMk id="8" creationId="{00000000-0000-0000-0000-000000000000}"/>
          </ac:spMkLst>
        </pc:spChg>
        <pc:spChg chg="mod">
          <ac:chgData name="Karen Bronis" userId="789379ec-e270-4ca9-80d7-80c7aacec7f8" providerId="ADAL" clId="{DF9276C0-BCB4-47ED-9B74-FF3A77389C35}" dt="2021-01-26T15:58:44.825" v="91" actId="14100"/>
          <ac:spMkLst>
            <pc:docMk/>
            <pc:sldMk cId="1944756657" sldId="404"/>
            <ac:spMk id="10" creationId="{00000000-0000-0000-0000-000000000000}"/>
          </ac:spMkLst>
        </pc:spChg>
        <pc:spChg chg="mod">
          <ac:chgData name="Karen Bronis" userId="789379ec-e270-4ca9-80d7-80c7aacec7f8" providerId="ADAL" clId="{DF9276C0-BCB4-47ED-9B74-FF3A77389C35}" dt="2021-01-26T15:57:50.183" v="89" actId="14100"/>
          <ac:spMkLst>
            <pc:docMk/>
            <pc:sldMk cId="1944756657" sldId="404"/>
            <ac:spMk id="11" creationId="{00000000-0000-0000-0000-000000000000}"/>
          </ac:spMkLst>
        </pc:spChg>
        <pc:spChg chg="mod">
          <ac:chgData name="Karen Bronis" userId="789379ec-e270-4ca9-80d7-80c7aacec7f8" providerId="ADAL" clId="{DF9276C0-BCB4-47ED-9B74-FF3A77389C35}" dt="2021-01-26T16:00:29.163" v="92"/>
          <ac:spMkLst>
            <pc:docMk/>
            <pc:sldMk cId="1944756657" sldId="404"/>
            <ac:spMk id="12" creationId="{00000000-0000-0000-0000-000000000000}"/>
          </ac:spMkLst>
        </pc:spChg>
      </pc:sldChg>
      <pc:sldChg chg="modSp">
        <pc:chgData name="Karen Bronis" userId="789379ec-e270-4ca9-80d7-80c7aacec7f8" providerId="ADAL" clId="{DF9276C0-BCB4-47ED-9B74-FF3A77389C35}" dt="2021-01-26T16:00:29.163" v="92"/>
        <pc:sldMkLst>
          <pc:docMk/>
          <pc:sldMk cId="2570142934" sldId="405"/>
        </pc:sldMkLst>
        <pc:spChg chg="mod">
          <ac:chgData name="Karen Bronis" userId="789379ec-e270-4ca9-80d7-80c7aacec7f8" providerId="ADAL" clId="{DF9276C0-BCB4-47ED-9B74-FF3A77389C35}" dt="2021-01-26T16:00:29.163" v="92"/>
          <ac:spMkLst>
            <pc:docMk/>
            <pc:sldMk cId="2570142934" sldId="405"/>
            <ac:spMk id="12" creationId="{00000000-0000-0000-0000-000000000000}"/>
          </ac:spMkLst>
        </pc:spChg>
      </pc:sldChg>
      <pc:sldChg chg="modSp mod">
        <pc:chgData name="Karen Bronis" userId="789379ec-e270-4ca9-80d7-80c7aacec7f8" providerId="ADAL" clId="{DF9276C0-BCB4-47ED-9B74-FF3A77389C35}" dt="2021-01-28T21:58:24.015" v="121" actId="14100"/>
        <pc:sldMkLst>
          <pc:docMk/>
          <pc:sldMk cId="1527680765" sldId="408"/>
        </pc:sldMkLst>
        <pc:spChg chg="mod">
          <ac:chgData name="Karen Bronis" userId="789379ec-e270-4ca9-80d7-80c7aacec7f8" providerId="ADAL" clId="{DF9276C0-BCB4-47ED-9B74-FF3A77389C35}" dt="2021-01-28T21:58:24.015" v="121" actId="14100"/>
          <ac:spMkLst>
            <pc:docMk/>
            <pc:sldMk cId="1527680765" sldId="408"/>
            <ac:spMk id="9" creationId="{00000000-0000-0000-0000-000000000000}"/>
          </ac:spMkLst>
        </pc:spChg>
      </pc:sldChg>
      <pc:sldChg chg="modSp">
        <pc:chgData name="Karen Bronis" userId="789379ec-e270-4ca9-80d7-80c7aacec7f8" providerId="ADAL" clId="{DF9276C0-BCB4-47ED-9B74-FF3A77389C35}" dt="2021-01-26T16:00:29.163" v="92"/>
        <pc:sldMkLst>
          <pc:docMk/>
          <pc:sldMk cId="1805852125" sldId="420"/>
        </pc:sldMkLst>
        <pc:spChg chg="mod">
          <ac:chgData name="Karen Bronis" userId="789379ec-e270-4ca9-80d7-80c7aacec7f8" providerId="ADAL" clId="{DF9276C0-BCB4-47ED-9B74-FF3A77389C35}" dt="2021-01-26T16:00:29.163" v="92"/>
          <ac:spMkLst>
            <pc:docMk/>
            <pc:sldMk cId="1805852125" sldId="420"/>
            <ac:spMk id="15" creationId="{00000000-0000-0000-0000-000000000000}"/>
          </ac:spMkLst>
        </pc:spChg>
      </pc:sldChg>
      <pc:sldChg chg="modSp mod">
        <pc:chgData name="Karen Bronis" userId="789379ec-e270-4ca9-80d7-80c7aacec7f8" providerId="ADAL" clId="{DF9276C0-BCB4-47ED-9B74-FF3A77389C35}" dt="2021-01-26T15:54:46.640" v="70" actId="20577"/>
        <pc:sldMkLst>
          <pc:docMk/>
          <pc:sldMk cId="1298339902" sldId="425"/>
        </pc:sldMkLst>
        <pc:spChg chg="mod">
          <ac:chgData name="Karen Bronis" userId="789379ec-e270-4ca9-80d7-80c7aacec7f8" providerId="ADAL" clId="{DF9276C0-BCB4-47ED-9B74-FF3A77389C35}" dt="2021-01-26T15:54:46.640" v="70" actId="20577"/>
          <ac:spMkLst>
            <pc:docMk/>
            <pc:sldMk cId="1298339902" sldId="425"/>
            <ac:spMk id="54275" creationId="{00000000-0000-0000-0000-000000000000}"/>
          </ac:spMkLst>
        </pc:spChg>
      </pc:sldChg>
      <pc:sldChg chg="modSp mod">
        <pc:chgData name="Karen Bronis" userId="789379ec-e270-4ca9-80d7-80c7aacec7f8" providerId="ADAL" clId="{DF9276C0-BCB4-47ED-9B74-FF3A77389C35}" dt="2021-01-26T15:57:30.194" v="88" actId="1076"/>
        <pc:sldMkLst>
          <pc:docMk/>
          <pc:sldMk cId="2435579541" sldId="428"/>
        </pc:sldMkLst>
        <pc:spChg chg="mod">
          <ac:chgData name="Karen Bronis" userId="789379ec-e270-4ca9-80d7-80c7aacec7f8" providerId="ADAL" clId="{DF9276C0-BCB4-47ED-9B74-FF3A77389C35}" dt="2021-01-26T15:57:03.564" v="85" actId="14100"/>
          <ac:spMkLst>
            <pc:docMk/>
            <pc:sldMk cId="2435579541" sldId="428"/>
            <ac:spMk id="4" creationId="{00000000-0000-0000-0000-000000000000}"/>
          </ac:spMkLst>
        </pc:spChg>
        <pc:spChg chg="mod">
          <ac:chgData name="Karen Bronis" userId="789379ec-e270-4ca9-80d7-80c7aacec7f8" providerId="ADAL" clId="{DF9276C0-BCB4-47ED-9B74-FF3A77389C35}" dt="2021-01-26T15:57:30.194" v="88" actId="1076"/>
          <ac:spMkLst>
            <pc:docMk/>
            <pc:sldMk cId="2435579541" sldId="428"/>
            <ac:spMk id="64514" creationId="{00000000-0000-0000-0000-000000000000}"/>
          </ac:spMkLst>
        </pc:spChg>
        <pc:spChg chg="mod">
          <ac:chgData name="Karen Bronis" userId="789379ec-e270-4ca9-80d7-80c7aacec7f8" providerId="ADAL" clId="{DF9276C0-BCB4-47ED-9B74-FF3A77389C35}" dt="2021-01-26T15:57:24.210" v="86" actId="14100"/>
          <ac:spMkLst>
            <pc:docMk/>
            <pc:sldMk cId="2435579541" sldId="428"/>
            <ac:spMk id="64515" creationId="{00000000-0000-0000-0000-000000000000}"/>
          </ac:spMkLst>
        </pc:spChg>
      </pc:sldChg>
      <pc:sldChg chg="modSp">
        <pc:chgData name="Karen Bronis" userId="789379ec-e270-4ca9-80d7-80c7aacec7f8" providerId="ADAL" clId="{DF9276C0-BCB4-47ED-9B74-FF3A77389C35}" dt="2021-01-26T16:00:29.163" v="92"/>
        <pc:sldMkLst>
          <pc:docMk/>
          <pc:sldMk cId="1247523535" sldId="429"/>
        </pc:sldMkLst>
        <pc:spChg chg="mod">
          <ac:chgData name="Karen Bronis" userId="789379ec-e270-4ca9-80d7-80c7aacec7f8" providerId="ADAL" clId="{DF9276C0-BCB4-47ED-9B74-FF3A77389C35}" dt="2021-01-26T16:00:29.163" v="92"/>
          <ac:spMkLst>
            <pc:docMk/>
            <pc:sldMk cId="1247523535" sldId="429"/>
            <ac:spMk id="8" creationId="{00000000-0000-0000-0000-000000000000}"/>
          </ac:spMkLst>
        </pc:spChg>
      </pc:sldChg>
      <pc:sldChg chg="modNotes">
        <pc:chgData name="Karen Bronis" userId="789379ec-e270-4ca9-80d7-80c7aacec7f8" providerId="ADAL" clId="{DF9276C0-BCB4-47ED-9B74-FF3A77389C35}" dt="2021-01-26T16:00:29.163" v="92"/>
        <pc:sldMkLst>
          <pc:docMk/>
          <pc:sldMk cId="462670781" sldId="430"/>
        </pc:sldMkLst>
      </pc:sldChg>
      <pc:sldChg chg="modNotes">
        <pc:chgData name="Karen Bronis" userId="789379ec-e270-4ca9-80d7-80c7aacec7f8" providerId="ADAL" clId="{DF9276C0-BCB4-47ED-9B74-FF3A77389C35}" dt="2021-01-26T16:00:29.163" v="92"/>
        <pc:sldMkLst>
          <pc:docMk/>
          <pc:sldMk cId="3036236925" sldId="431"/>
        </pc:sldMkLst>
      </pc:sldChg>
      <pc:sldChg chg="modNotes">
        <pc:chgData name="Karen Bronis" userId="789379ec-e270-4ca9-80d7-80c7aacec7f8" providerId="ADAL" clId="{DF9276C0-BCB4-47ED-9B74-FF3A77389C35}" dt="2021-01-26T16:00:29.163" v="92"/>
        <pc:sldMkLst>
          <pc:docMk/>
          <pc:sldMk cId="1849920201" sldId="432"/>
        </pc:sldMkLst>
      </pc:sldChg>
      <pc:sldChg chg="modSp">
        <pc:chgData name="Karen Bronis" userId="789379ec-e270-4ca9-80d7-80c7aacec7f8" providerId="ADAL" clId="{DF9276C0-BCB4-47ED-9B74-FF3A77389C35}" dt="2021-01-26T16:00:29.163" v="92"/>
        <pc:sldMkLst>
          <pc:docMk/>
          <pc:sldMk cId="3206393257" sldId="434"/>
        </pc:sldMkLst>
        <pc:spChg chg="mod">
          <ac:chgData name="Karen Bronis" userId="789379ec-e270-4ca9-80d7-80c7aacec7f8" providerId="ADAL" clId="{DF9276C0-BCB4-47ED-9B74-FF3A77389C35}" dt="2021-01-26T16:00:29.163" v="92"/>
          <ac:spMkLst>
            <pc:docMk/>
            <pc:sldMk cId="3206393257" sldId="434"/>
            <ac:spMk id="30723" creationId="{00000000-0000-0000-0000-000000000000}"/>
          </ac:spMkLst>
        </pc:spChg>
      </pc:sldChg>
      <pc:sldChg chg="modSp">
        <pc:chgData name="Karen Bronis" userId="789379ec-e270-4ca9-80d7-80c7aacec7f8" providerId="ADAL" clId="{DF9276C0-BCB4-47ED-9B74-FF3A77389C35}" dt="2021-01-26T16:00:29.163" v="92"/>
        <pc:sldMkLst>
          <pc:docMk/>
          <pc:sldMk cId="2982683643" sldId="437"/>
        </pc:sldMkLst>
        <pc:spChg chg="mod">
          <ac:chgData name="Karen Bronis" userId="789379ec-e270-4ca9-80d7-80c7aacec7f8" providerId="ADAL" clId="{DF9276C0-BCB4-47ED-9B74-FF3A77389C35}" dt="2021-01-26T16:00:29.163" v="92"/>
          <ac:spMkLst>
            <pc:docMk/>
            <pc:sldMk cId="2982683643" sldId="437"/>
            <ac:spMk id="8" creationId="{00000000-0000-0000-0000-000000000000}"/>
          </ac:spMkLst>
        </pc:spChg>
      </pc:sldChg>
      <pc:sldChg chg="modSp mod">
        <pc:chgData name="Karen Bronis" userId="789379ec-e270-4ca9-80d7-80c7aacec7f8" providerId="ADAL" clId="{DF9276C0-BCB4-47ED-9B74-FF3A77389C35}" dt="2021-01-28T21:58:00.431" v="120" actId="255"/>
        <pc:sldMkLst>
          <pc:docMk/>
          <pc:sldMk cId="1727284866" sldId="441"/>
        </pc:sldMkLst>
        <pc:spChg chg="mod">
          <ac:chgData name="Karen Bronis" userId="789379ec-e270-4ca9-80d7-80c7aacec7f8" providerId="ADAL" clId="{DF9276C0-BCB4-47ED-9B74-FF3A77389C35}" dt="2021-01-28T21:58:00.431" v="120" actId="255"/>
          <ac:spMkLst>
            <pc:docMk/>
            <pc:sldMk cId="1727284866" sldId="441"/>
            <ac:spMk id="63491" creationId="{00000000-0000-0000-0000-000000000000}"/>
          </ac:spMkLst>
        </pc:spChg>
      </pc:sldChg>
      <pc:sldChg chg="del">
        <pc:chgData name="Karen Bronis" userId="789379ec-e270-4ca9-80d7-80c7aacec7f8" providerId="ADAL" clId="{DF9276C0-BCB4-47ED-9B74-FF3A77389C35}" dt="2021-01-28T21:54:58.403" v="117" actId="2696"/>
        <pc:sldMkLst>
          <pc:docMk/>
          <pc:sldMk cId="1847025325" sldId="444"/>
        </pc:sldMkLst>
      </pc:sldChg>
      <pc:sldChg chg="modSp">
        <pc:chgData name="Karen Bronis" userId="789379ec-e270-4ca9-80d7-80c7aacec7f8" providerId="ADAL" clId="{DF9276C0-BCB4-47ED-9B74-FF3A77389C35}" dt="2021-01-26T16:00:29.163" v="92"/>
        <pc:sldMkLst>
          <pc:docMk/>
          <pc:sldMk cId="745085635" sldId="445"/>
        </pc:sldMkLst>
        <pc:spChg chg="mod">
          <ac:chgData name="Karen Bronis" userId="789379ec-e270-4ca9-80d7-80c7aacec7f8" providerId="ADAL" clId="{DF9276C0-BCB4-47ED-9B74-FF3A77389C35}" dt="2021-01-26T16:00:29.163" v="92"/>
          <ac:spMkLst>
            <pc:docMk/>
            <pc:sldMk cId="745085635" sldId="445"/>
            <ac:spMk id="8" creationId="{00000000-0000-0000-0000-000000000000}"/>
          </ac:spMkLst>
        </pc:spChg>
      </pc:sldChg>
      <pc:sldChg chg="addSp modSp mod">
        <pc:chgData name="Karen Bronis" userId="789379ec-e270-4ca9-80d7-80c7aacec7f8" providerId="ADAL" clId="{DF9276C0-BCB4-47ED-9B74-FF3A77389C35}" dt="2021-01-28T21:59:19.414" v="129" actId="1076"/>
        <pc:sldMkLst>
          <pc:docMk/>
          <pc:sldMk cId="174257405" sldId="446"/>
        </pc:sldMkLst>
        <pc:picChg chg="add mod">
          <ac:chgData name="Karen Bronis" userId="789379ec-e270-4ca9-80d7-80c7aacec7f8" providerId="ADAL" clId="{DF9276C0-BCB4-47ED-9B74-FF3A77389C35}" dt="2021-01-28T21:59:19.414" v="129" actId="1076"/>
          <ac:picMkLst>
            <pc:docMk/>
            <pc:sldMk cId="174257405" sldId="446"/>
            <ac:picMk id="4" creationId="{8A64811A-3B6A-4EC2-881A-2265BEB984F4}"/>
          </ac:picMkLst>
        </pc:picChg>
      </pc:sldChg>
      <pc:sldChg chg="addSp modSp mod">
        <pc:chgData name="Karen Bronis" userId="789379ec-e270-4ca9-80d7-80c7aacec7f8" providerId="ADAL" clId="{DF9276C0-BCB4-47ED-9B74-FF3A77389C35}" dt="2021-01-28T21:52:31.784" v="108" actId="1076"/>
        <pc:sldMkLst>
          <pc:docMk/>
          <pc:sldMk cId="1902352986" sldId="448"/>
        </pc:sldMkLst>
        <pc:spChg chg="mod">
          <ac:chgData name="Karen Bronis" userId="789379ec-e270-4ca9-80d7-80c7aacec7f8" providerId="ADAL" clId="{DF9276C0-BCB4-47ED-9B74-FF3A77389C35}" dt="2021-01-28T21:52:23.284" v="106" actId="14100"/>
          <ac:spMkLst>
            <pc:docMk/>
            <pc:sldMk cId="1902352986" sldId="448"/>
            <ac:spMk id="9" creationId="{00000000-0000-0000-0000-000000000000}"/>
          </ac:spMkLst>
        </pc:spChg>
        <pc:picChg chg="add mod">
          <ac:chgData name="Karen Bronis" userId="789379ec-e270-4ca9-80d7-80c7aacec7f8" providerId="ADAL" clId="{DF9276C0-BCB4-47ED-9B74-FF3A77389C35}" dt="2021-01-28T21:52:29.864" v="107" actId="1076"/>
          <ac:picMkLst>
            <pc:docMk/>
            <pc:sldMk cId="1902352986" sldId="448"/>
            <ac:picMk id="4" creationId="{A99F10FF-41E8-426A-840E-751701B49996}"/>
          </ac:picMkLst>
        </pc:picChg>
        <pc:picChg chg="add mod">
          <ac:chgData name="Karen Bronis" userId="789379ec-e270-4ca9-80d7-80c7aacec7f8" providerId="ADAL" clId="{DF9276C0-BCB4-47ED-9B74-FF3A77389C35}" dt="2021-01-28T21:52:31.784" v="108" actId="1076"/>
          <ac:picMkLst>
            <pc:docMk/>
            <pc:sldMk cId="1902352986" sldId="448"/>
            <ac:picMk id="5" creationId="{03FAF142-6EC3-4C65-A324-35CBA7625484}"/>
          </ac:picMkLst>
        </pc:picChg>
        <pc:picChg chg="add mod ord">
          <ac:chgData name="Karen Bronis" userId="789379ec-e270-4ca9-80d7-80c7aacec7f8" providerId="ADAL" clId="{DF9276C0-BCB4-47ED-9B74-FF3A77389C35}" dt="2021-01-28T21:51:39.315" v="102" actId="167"/>
          <ac:picMkLst>
            <pc:docMk/>
            <pc:sldMk cId="1902352986" sldId="448"/>
            <ac:picMk id="6" creationId="{39A4CFE7-0C80-4D3A-93FE-CD9F263F9ABA}"/>
          </ac:picMkLst>
        </pc:picChg>
        <pc:picChg chg="add mod">
          <ac:chgData name="Karen Bronis" userId="789379ec-e270-4ca9-80d7-80c7aacec7f8" providerId="ADAL" clId="{DF9276C0-BCB4-47ED-9B74-FF3A77389C35}" dt="2021-01-28T21:51:53.614" v="104" actId="1076"/>
          <ac:picMkLst>
            <pc:docMk/>
            <pc:sldMk cId="1902352986" sldId="448"/>
            <ac:picMk id="8" creationId="{6E6617E6-C702-4464-8935-18D0F2052F43}"/>
          </ac:picMkLst>
        </pc:picChg>
      </pc:sldChg>
      <pc:sldChg chg="ord">
        <pc:chgData name="Karen Bronis" userId="789379ec-e270-4ca9-80d7-80c7aacec7f8" providerId="ADAL" clId="{DF9276C0-BCB4-47ED-9B74-FF3A77389C35}" dt="2021-01-28T21:54:18.399" v="116"/>
        <pc:sldMkLst>
          <pc:docMk/>
          <pc:sldMk cId="2233070560" sldId="449"/>
        </pc:sldMkLst>
      </pc:sldChg>
      <pc:sldChg chg="modSp mod">
        <pc:chgData name="Karen Bronis" userId="789379ec-e270-4ca9-80d7-80c7aacec7f8" providerId="ADAL" clId="{DF9276C0-BCB4-47ED-9B74-FF3A77389C35}" dt="2021-01-28T21:58:41.252" v="122" actId="14100"/>
        <pc:sldMkLst>
          <pc:docMk/>
          <pc:sldMk cId="2118095953" sldId="451"/>
        </pc:sldMkLst>
        <pc:spChg chg="mod">
          <ac:chgData name="Karen Bronis" userId="789379ec-e270-4ca9-80d7-80c7aacec7f8" providerId="ADAL" clId="{DF9276C0-BCB4-47ED-9B74-FF3A77389C35}" dt="2021-01-28T21:58:41.252" v="122" actId="14100"/>
          <ac:spMkLst>
            <pc:docMk/>
            <pc:sldMk cId="2118095953" sldId="451"/>
            <ac:spMk id="9" creationId="{00000000-0000-0000-0000-000000000000}"/>
          </ac:spMkLst>
        </pc:spChg>
      </pc:sldChg>
      <pc:sldChg chg="modSp">
        <pc:chgData name="Karen Bronis" userId="789379ec-e270-4ca9-80d7-80c7aacec7f8" providerId="ADAL" clId="{DF9276C0-BCB4-47ED-9B74-FF3A77389C35}" dt="2021-01-26T16:00:29.163" v="92"/>
        <pc:sldMkLst>
          <pc:docMk/>
          <pc:sldMk cId="2261582776" sldId="454"/>
        </pc:sldMkLst>
        <pc:spChg chg="mod">
          <ac:chgData name="Karen Bronis" userId="789379ec-e270-4ca9-80d7-80c7aacec7f8" providerId="ADAL" clId="{DF9276C0-BCB4-47ED-9B74-FF3A77389C35}" dt="2021-01-26T16:00:29.163" v="92"/>
          <ac:spMkLst>
            <pc:docMk/>
            <pc:sldMk cId="2261582776" sldId="454"/>
            <ac:spMk id="8" creationId="{00000000-0000-0000-0000-000000000000}"/>
          </ac:spMkLst>
        </pc:spChg>
      </pc:sldChg>
      <pc:sldChg chg="del">
        <pc:chgData name="Karen Bronis" userId="789379ec-e270-4ca9-80d7-80c7aacec7f8" providerId="ADAL" clId="{DF9276C0-BCB4-47ED-9B74-FF3A77389C35}" dt="2021-01-28T21:53:05.299" v="109" actId="47"/>
        <pc:sldMkLst>
          <pc:docMk/>
          <pc:sldMk cId="502820841" sldId="457"/>
        </pc:sldMkLst>
      </pc:sldChg>
      <pc:sldChg chg="modNotes">
        <pc:chgData name="Karen Bronis" userId="789379ec-e270-4ca9-80d7-80c7aacec7f8" providerId="ADAL" clId="{DF9276C0-BCB4-47ED-9B74-FF3A77389C35}" dt="2021-01-26T16:00:29.163" v="92"/>
        <pc:sldMkLst>
          <pc:docMk/>
          <pc:sldMk cId="2242943914" sldId="460"/>
        </pc:sldMkLst>
      </pc:sldChg>
      <pc:sldChg chg="delSp del">
        <pc:chgData name="Karen Bronis" userId="789379ec-e270-4ca9-80d7-80c7aacec7f8" providerId="ADAL" clId="{DF9276C0-BCB4-47ED-9B74-FF3A77389C35}" dt="2021-01-28T21:48:43.475" v="95" actId="47"/>
        <pc:sldMkLst>
          <pc:docMk/>
          <pc:sldMk cId="3591346660" sldId="461"/>
        </pc:sldMkLst>
        <pc:grpChg chg="del">
          <ac:chgData name="Karen Bronis" userId="789379ec-e270-4ca9-80d7-80c7aacec7f8" providerId="ADAL" clId="{DF9276C0-BCB4-47ED-9B74-FF3A77389C35}" dt="2021-01-28T21:48:16.501" v="93" actId="478"/>
          <ac:grpSpMkLst>
            <pc:docMk/>
            <pc:sldMk cId="3591346660" sldId="461"/>
            <ac:grpSpMk id="14" creationId="{00000000-0000-0000-0000-000000000000}"/>
          </ac:grpSpMkLst>
        </pc:grpChg>
      </pc:sldChg>
      <pc:sldChg chg="modSp mod ord">
        <pc:chgData name="Karen Bronis" userId="789379ec-e270-4ca9-80d7-80c7aacec7f8" providerId="ADAL" clId="{DF9276C0-BCB4-47ED-9B74-FF3A77389C35}" dt="2021-01-28T21:58:47.301" v="123" actId="14100"/>
        <pc:sldMkLst>
          <pc:docMk/>
          <pc:sldMk cId="2657756377" sldId="463"/>
        </pc:sldMkLst>
        <pc:spChg chg="mod">
          <ac:chgData name="Karen Bronis" userId="789379ec-e270-4ca9-80d7-80c7aacec7f8" providerId="ADAL" clId="{DF9276C0-BCB4-47ED-9B74-FF3A77389C35}" dt="2021-01-28T21:58:47.301" v="123" actId="14100"/>
          <ac:spMkLst>
            <pc:docMk/>
            <pc:sldMk cId="2657756377" sldId="463"/>
            <ac:spMk id="3" creationId="{E3816559-630E-4E5C-A402-92322B28526E}"/>
          </ac:spMkLst>
        </pc:spChg>
      </pc:sldChg>
      <pc:sldChg chg="add">
        <pc:chgData name="Karen Bronis" userId="789379ec-e270-4ca9-80d7-80c7aacec7f8" providerId="ADAL" clId="{DF9276C0-BCB4-47ED-9B74-FF3A77389C35}" dt="2021-01-28T21:48:18.894" v="94"/>
        <pc:sldMkLst>
          <pc:docMk/>
          <pc:sldMk cId="1803908537" sldId="2076137352"/>
        </pc:sldMkLst>
      </pc:sldChg>
      <pc:sldChg chg="modSp mod">
        <pc:chgData name="Karen Bronis" userId="789379ec-e270-4ca9-80d7-80c7aacec7f8" providerId="ADAL" clId="{DF9276C0-BCB4-47ED-9B74-FF3A77389C35}" dt="2021-01-28T21:57:41.757" v="119" actId="207"/>
        <pc:sldMkLst>
          <pc:docMk/>
          <pc:sldMk cId="2843900033" sldId="2076137360"/>
        </pc:sldMkLst>
        <pc:spChg chg="mod">
          <ac:chgData name="Karen Bronis" userId="789379ec-e270-4ca9-80d7-80c7aacec7f8" providerId="ADAL" clId="{DF9276C0-BCB4-47ED-9B74-FF3A77389C35}" dt="2021-01-28T21:57:32.836" v="118" actId="6549"/>
          <ac:spMkLst>
            <pc:docMk/>
            <pc:sldMk cId="2843900033" sldId="2076137360"/>
            <ac:spMk id="3" creationId="{7C8BB36A-D535-45D4-B2C0-F2C1DEBEC22E}"/>
          </ac:spMkLst>
        </pc:spChg>
        <pc:spChg chg="mod">
          <ac:chgData name="Karen Bronis" userId="789379ec-e270-4ca9-80d7-80c7aacec7f8" providerId="ADAL" clId="{DF9276C0-BCB4-47ED-9B74-FF3A77389C35}" dt="2021-01-28T21:57:41.757" v="119" actId="207"/>
          <ac:spMkLst>
            <pc:docMk/>
            <pc:sldMk cId="2843900033" sldId="2076137360"/>
            <ac:spMk id="19" creationId="{1B2EAFB9-437D-45E0-8280-04FF8DEFFCDD}"/>
          </ac:spMkLst>
        </pc:spChg>
      </pc:sldChg>
      <pc:sldMasterChg chg="modSldLayout">
        <pc:chgData name="Karen Bronis" userId="789379ec-e270-4ca9-80d7-80c7aacec7f8" providerId="ADAL" clId="{DF9276C0-BCB4-47ED-9B74-FF3A77389C35}" dt="2021-01-26T16:00:29.163" v="92"/>
        <pc:sldMasterMkLst>
          <pc:docMk/>
          <pc:sldMasterMk cId="3035518855" sldId="2147483660"/>
        </pc:sldMasterMkLst>
        <pc:sldLayoutChg chg="modSp">
          <pc:chgData name="Karen Bronis" userId="789379ec-e270-4ca9-80d7-80c7aacec7f8" providerId="ADAL" clId="{DF9276C0-BCB4-47ED-9B74-FF3A77389C35}" dt="2021-01-26T16:00:29.163" v="92"/>
          <pc:sldLayoutMkLst>
            <pc:docMk/>
            <pc:sldMasterMk cId="3035518855" sldId="2147483660"/>
            <pc:sldLayoutMk cId="2625222713" sldId="2147483685"/>
          </pc:sldLayoutMkLst>
          <pc:spChg chg="mod">
            <ac:chgData name="Karen Bronis" userId="789379ec-e270-4ca9-80d7-80c7aacec7f8" providerId="ADAL" clId="{DF9276C0-BCB4-47ED-9B74-FF3A77389C35}" dt="2021-01-26T16:00:29.163" v="92"/>
            <ac:spMkLst>
              <pc:docMk/>
              <pc:sldMasterMk cId="3035518855" sldId="2147483660"/>
              <pc:sldLayoutMk cId="2625222713" sldId="2147483685"/>
              <ac:spMk id="10"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0DE5AF-F2B4-49E1-A80E-1ADAD40EBFB8}"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0601ACE0-1E61-41C4-8447-3E556CD6AF0F}">
      <dgm:prSet phldrT="[Text]"/>
      <dgm:spPr>
        <a:solidFill>
          <a:schemeClr val="accent4"/>
        </a:solidFill>
        <a:ln>
          <a:solidFill>
            <a:schemeClr val="accent4"/>
          </a:solidFill>
        </a:ln>
      </dgm:spPr>
      <dgm:t>
        <a:bodyPr/>
        <a:lstStyle/>
        <a:p>
          <a:r>
            <a:rPr lang="en-US" dirty="0"/>
            <a:t>Users</a:t>
          </a:r>
        </a:p>
      </dgm:t>
    </dgm:pt>
    <dgm:pt modelId="{C57B408B-03F4-41EF-BF3F-18AA54177860}" type="parTrans" cxnId="{42CC7E8B-54F2-4B91-891B-2ECC031933E7}">
      <dgm:prSet/>
      <dgm:spPr/>
      <dgm:t>
        <a:bodyPr/>
        <a:lstStyle/>
        <a:p>
          <a:endParaRPr lang="en-US"/>
        </a:p>
      </dgm:t>
    </dgm:pt>
    <dgm:pt modelId="{65DAB494-1695-403B-9C00-199FEEB5EAE4}" type="sibTrans" cxnId="{42CC7E8B-54F2-4B91-891B-2ECC031933E7}">
      <dgm:prSet/>
      <dgm:spPr/>
      <dgm:t>
        <a:bodyPr/>
        <a:lstStyle/>
        <a:p>
          <a:endParaRPr lang="en-US"/>
        </a:p>
      </dgm:t>
    </dgm:pt>
    <dgm:pt modelId="{315FD0BE-F154-4725-985F-8EA75AD592CC}">
      <dgm:prSet phldrT="[Text]"/>
      <dgm:spPr>
        <a:solidFill>
          <a:schemeClr val="accent5"/>
        </a:solidFill>
      </dgm:spPr>
      <dgm:t>
        <a:bodyPr/>
        <a:lstStyle/>
        <a:p>
          <a:r>
            <a:rPr lang="en-US" dirty="0"/>
            <a:t>Supporting Teams</a:t>
          </a:r>
        </a:p>
      </dgm:t>
    </dgm:pt>
    <dgm:pt modelId="{C317DD0E-55DC-485D-9D26-F0369C370D72}" type="parTrans" cxnId="{D1B0DEA3-F85F-404F-B19D-E0DFEF020353}">
      <dgm:prSet/>
      <dgm:spPr/>
      <dgm:t>
        <a:bodyPr/>
        <a:lstStyle/>
        <a:p>
          <a:endParaRPr lang="en-US"/>
        </a:p>
      </dgm:t>
    </dgm:pt>
    <dgm:pt modelId="{56B7CBE5-4DA6-4929-908E-DA133F78DAEC}" type="sibTrans" cxnId="{D1B0DEA3-F85F-404F-B19D-E0DFEF020353}">
      <dgm:prSet/>
      <dgm:spPr/>
      <dgm:t>
        <a:bodyPr/>
        <a:lstStyle/>
        <a:p>
          <a:endParaRPr lang="en-US"/>
        </a:p>
      </dgm:t>
    </dgm:pt>
    <dgm:pt modelId="{B8E8E964-8593-4F5E-98C3-029F152DB7D0}">
      <dgm:prSet phldrT="[Text]"/>
      <dgm:spPr>
        <a:solidFill>
          <a:schemeClr val="accent6"/>
        </a:solidFill>
      </dgm:spPr>
      <dgm:t>
        <a:bodyPr/>
        <a:lstStyle/>
        <a:p>
          <a:r>
            <a:rPr lang="en-US" dirty="0"/>
            <a:t>External</a:t>
          </a:r>
        </a:p>
      </dgm:t>
    </dgm:pt>
    <dgm:pt modelId="{13DB53B8-612E-4763-B4F5-1250091CEA90}" type="parTrans" cxnId="{44F6EFD6-8F45-4FE7-AC27-9D6235AB18EF}">
      <dgm:prSet/>
      <dgm:spPr/>
      <dgm:t>
        <a:bodyPr/>
        <a:lstStyle/>
        <a:p>
          <a:endParaRPr lang="en-US"/>
        </a:p>
      </dgm:t>
    </dgm:pt>
    <dgm:pt modelId="{57360655-99B5-4DAF-9F6A-6377ED44505A}" type="sibTrans" cxnId="{44F6EFD6-8F45-4FE7-AC27-9D6235AB18EF}">
      <dgm:prSet/>
      <dgm:spPr/>
      <dgm:t>
        <a:bodyPr/>
        <a:lstStyle/>
        <a:p>
          <a:endParaRPr lang="en-US"/>
        </a:p>
      </dgm:t>
    </dgm:pt>
    <dgm:pt modelId="{FFDF4032-E267-4CCA-A65D-6B5B1219F6AC}" type="pres">
      <dgm:prSet presAssocID="{360DE5AF-F2B4-49E1-A80E-1ADAD40EBFB8}" presName="composite" presStyleCnt="0">
        <dgm:presLayoutVars>
          <dgm:chMax val="5"/>
          <dgm:dir/>
          <dgm:animLvl val="ctr"/>
          <dgm:resizeHandles val="exact"/>
        </dgm:presLayoutVars>
      </dgm:prSet>
      <dgm:spPr/>
    </dgm:pt>
    <dgm:pt modelId="{DD3C84F5-CF5D-4E29-B052-986995630F47}" type="pres">
      <dgm:prSet presAssocID="{360DE5AF-F2B4-49E1-A80E-1ADAD40EBFB8}" presName="cycle" presStyleCnt="0"/>
      <dgm:spPr/>
    </dgm:pt>
    <dgm:pt modelId="{B79AB08B-9F27-4141-84B8-8473AF10E491}" type="pres">
      <dgm:prSet presAssocID="{360DE5AF-F2B4-49E1-A80E-1ADAD40EBFB8}" presName="centerShape" presStyleCnt="0"/>
      <dgm:spPr/>
    </dgm:pt>
    <dgm:pt modelId="{57AC41EF-6659-4432-81F0-6FCA7FF693E7}" type="pres">
      <dgm:prSet presAssocID="{360DE5AF-F2B4-49E1-A80E-1ADAD40EBFB8}" presName="connSite" presStyleLbl="node1" presStyleIdx="0" presStyleCnt="4"/>
      <dgm:spPr/>
    </dgm:pt>
    <dgm:pt modelId="{83A6ED05-4ADB-4CD0-A718-931F8E9B8F98}" type="pres">
      <dgm:prSet presAssocID="{360DE5AF-F2B4-49E1-A80E-1ADAD40EBFB8}" presName="visible" presStyleLbl="node1" presStyleIdx="0" presStyleCnt="4" custLinFactNeighborX="1983" custLinFactNeighborY="-1257"/>
      <dgm:spPr>
        <a:solidFill>
          <a:schemeClr val="accent3"/>
        </a:solidFill>
        <a:ln>
          <a:solidFill>
            <a:schemeClr val="accent3"/>
          </a:solidFill>
        </a:ln>
      </dgm:spPr>
    </dgm:pt>
    <dgm:pt modelId="{7FD26E41-3FD3-4926-9CB6-4080D702A360}" type="pres">
      <dgm:prSet presAssocID="{C57B408B-03F4-41EF-BF3F-18AA54177860}" presName="Name25" presStyleLbl="parChTrans1D1" presStyleIdx="0" presStyleCnt="3"/>
      <dgm:spPr/>
    </dgm:pt>
    <dgm:pt modelId="{93A81BE1-D86B-456F-A343-5F435857EB59}" type="pres">
      <dgm:prSet presAssocID="{0601ACE0-1E61-41C4-8447-3E556CD6AF0F}" presName="node" presStyleCnt="0"/>
      <dgm:spPr/>
    </dgm:pt>
    <dgm:pt modelId="{F071A639-4C85-4DEB-A062-CDECEF03270B}" type="pres">
      <dgm:prSet presAssocID="{0601ACE0-1E61-41C4-8447-3E556CD6AF0F}" presName="parentNode" presStyleLbl="node1" presStyleIdx="1" presStyleCnt="4">
        <dgm:presLayoutVars>
          <dgm:chMax val="1"/>
          <dgm:bulletEnabled val="1"/>
        </dgm:presLayoutVars>
      </dgm:prSet>
      <dgm:spPr/>
    </dgm:pt>
    <dgm:pt modelId="{7D9F13E3-9F25-4DA9-B20D-65AD60770667}" type="pres">
      <dgm:prSet presAssocID="{0601ACE0-1E61-41C4-8447-3E556CD6AF0F}" presName="childNode" presStyleLbl="revTx" presStyleIdx="0" presStyleCnt="0">
        <dgm:presLayoutVars>
          <dgm:bulletEnabled val="1"/>
        </dgm:presLayoutVars>
      </dgm:prSet>
      <dgm:spPr/>
    </dgm:pt>
    <dgm:pt modelId="{6AB13CA6-A830-461E-BE6E-458FF0056764}" type="pres">
      <dgm:prSet presAssocID="{C317DD0E-55DC-485D-9D26-F0369C370D72}" presName="Name25" presStyleLbl="parChTrans1D1" presStyleIdx="1" presStyleCnt="3"/>
      <dgm:spPr/>
    </dgm:pt>
    <dgm:pt modelId="{C29FC630-C688-476E-99AB-3608920A5286}" type="pres">
      <dgm:prSet presAssocID="{315FD0BE-F154-4725-985F-8EA75AD592CC}" presName="node" presStyleCnt="0"/>
      <dgm:spPr/>
    </dgm:pt>
    <dgm:pt modelId="{ED7DF706-79CE-40AB-842B-A167608F1CC4}" type="pres">
      <dgm:prSet presAssocID="{315FD0BE-F154-4725-985F-8EA75AD592CC}" presName="parentNode" presStyleLbl="node1" presStyleIdx="2" presStyleCnt="4" custLinFactNeighborX="-1182" custLinFactNeighborY="2363">
        <dgm:presLayoutVars>
          <dgm:chMax val="1"/>
          <dgm:bulletEnabled val="1"/>
        </dgm:presLayoutVars>
      </dgm:prSet>
      <dgm:spPr/>
    </dgm:pt>
    <dgm:pt modelId="{DE9A335D-C3E1-4A46-AE84-D8735B548BC9}" type="pres">
      <dgm:prSet presAssocID="{315FD0BE-F154-4725-985F-8EA75AD592CC}" presName="childNode" presStyleLbl="revTx" presStyleIdx="0" presStyleCnt="0">
        <dgm:presLayoutVars>
          <dgm:bulletEnabled val="1"/>
        </dgm:presLayoutVars>
      </dgm:prSet>
      <dgm:spPr/>
    </dgm:pt>
    <dgm:pt modelId="{46E96263-0681-4AC3-B454-2372A125B4D5}" type="pres">
      <dgm:prSet presAssocID="{13DB53B8-612E-4763-B4F5-1250091CEA90}" presName="Name25" presStyleLbl="parChTrans1D1" presStyleIdx="2" presStyleCnt="3"/>
      <dgm:spPr/>
    </dgm:pt>
    <dgm:pt modelId="{7B038970-E726-4E63-B759-65E16BEE09C2}" type="pres">
      <dgm:prSet presAssocID="{B8E8E964-8593-4F5E-98C3-029F152DB7D0}" presName="node" presStyleCnt="0"/>
      <dgm:spPr/>
    </dgm:pt>
    <dgm:pt modelId="{30E1C293-EBF9-4CCA-82EF-FB500F5115B1}" type="pres">
      <dgm:prSet presAssocID="{B8E8E964-8593-4F5E-98C3-029F152DB7D0}" presName="parentNode" presStyleLbl="node1" presStyleIdx="3" presStyleCnt="4">
        <dgm:presLayoutVars>
          <dgm:chMax val="1"/>
          <dgm:bulletEnabled val="1"/>
        </dgm:presLayoutVars>
      </dgm:prSet>
      <dgm:spPr/>
    </dgm:pt>
    <dgm:pt modelId="{A9B3FC77-9B7B-458A-9B79-F75402A80ABC}" type="pres">
      <dgm:prSet presAssocID="{B8E8E964-8593-4F5E-98C3-029F152DB7D0}" presName="childNode" presStyleLbl="revTx" presStyleIdx="0" presStyleCnt="0">
        <dgm:presLayoutVars>
          <dgm:bulletEnabled val="1"/>
        </dgm:presLayoutVars>
      </dgm:prSet>
      <dgm:spPr/>
    </dgm:pt>
  </dgm:ptLst>
  <dgm:cxnLst>
    <dgm:cxn modelId="{8BA3F543-B724-4436-A876-83341B3A4477}" type="presOf" srcId="{315FD0BE-F154-4725-985F-8EA75AD592CC}" destId="{ED7DF706-79CE-40AB-842B-A167608F1CC4}" srcOrd="0" destOrd="0" presId="urn:microsoft.com/office/officeart/2005/8/layout/radial2"/>
    <dgm:cxn modelId="{53240145-B0DE-4B68-B16E-763508BD817B}" type="presOf" srcId="{13DB53B8-612E-4763-B4F5-1250091CEA90}" destId="{46E96263-0681-4AC3-B454-2372A125B4D5}" srcOrd="0" destOrd="0" presId="urn:microsoft.com/office/officeart/2005/8/layout/radial2"/>
    <dgm:cxn modelId="{5BDB0A47-710C-4307-8F77-9C3A67D8DEE2}" type="presOf" srcId="{C57B408B-03F4-41EF-BF3F-18AA54177860}" destId="{7FD26E41-3FD3-4926-9CB6-4080D702A360}" srcOrd="0" destOrd="0" presId="urn:microsoft.com/office/officeart/2005/8/layout/radial2"/>
    <dgm:cxn modelId="{0AD34452-F954-4A5C-8646-98DA066E0C96}" type="presOf" srcId="{360DE5AF-F2B4-49E1-A80E-1ADAD40EBFB8}" destId="{FFDF4032-E267-4CCA-A65D-6B5B1219F6AC}" srcOrd="0" destOrd="0" presId="urn:microsoft.com/office/officeart/2005/8/layout/radial2"/>
    <dgm:cxn modelId="{42CC7E8B-54F2-4B91-891B-2ECC031933E7}" srcId="{360DE5AF-F2B4-49E1-A80E-1ADAD40EBFB8}" destId="{0601ACE0-1E61-41C4-8447-3E556CD6AF0F}" srcOrd="0" destOrd="0" parTransId="{C57B408B-03F4-41EF-BF3F-18AA54177860}" sibTransId="{65DAB494-1695-403B-9C00-199FEEB5EAE4}"/>
    <dgm:cxn modelId="{1B6B5095-7424-4A53-BA8B-7AFA17AE3144}" type="presOf" srcId="{C317DD0E-55DC-485D-9D26-F0369C370D72}" destId="{6AB13CA6-A830-461E-BE6E-458FF0056764}" srcOrd="0" destOrd="0" presId="urn:microsoft.com/office/officeart/2005/8/layout/radial2"/>
    <dgm:cxn modelId="{D1B0DEA3-F85F-404F-B19D-E0DFEF020353}" srcId="{360DE5AF-F2B4-49E1-A80E-1ADAD40EBFB8}" destId="{315FD0BE-F154-4725-985F-8EA75AD592CC}" srcOrd="1" destOrd="0" parTransId="{C317DD0E-55DC-485D-9D26-F0369C370D72}" sibTransId="{56B7CBE5-4DA6-4929-908E-DA133F78DAEC}"/>
    <dgm:cxn modelId="{4AC68BB6-7EB5-4264-BFDA-84EDD67B0BF9}" type="presOf" srcId="{B8E8E964-8593-4F5E-98C3-029F152DB7D0}" destId="{30E1C293-EBF9-4CCA-82EF-FB500F5115B1}" srcOrd="0" destOrd="0" presId="urn:microsoft.com/office/officeart/2005/8/layout/radial2"/>
    <dgm:cxn modelId="{44F6EFD6-8F45-4FE7-AC27-9D6235AB18EF}" srcId="{360DE5AF-F2B4-49E1-A80E-1ADAD40EBFB8}" destId="{B8E8E964-8593-4F5E-98C3-029F152DB7D0}" srcOrd="2" destOrd="0" parTransId="{13DB53B8-612E-4763-B4F5-1250091CEA90}" sibTransId="{57360655-99B5-4DAF-9F6A-6377ED44505A}"/>
    <dgm:cxn modelId="{DBD9DFF2-41E9-416A-A42C-F57AFEEB4078}" type="presOf" srcId="{0601ACE0-1E61-41C4-8447-3E556CD6AF0F}" destId="{F071A639-4C85-4DEB-A062-CDECEF03270B}" srcOrd="0" destOrd="0" presId="urn:microsoft.com/office/officeart/2005/8/layout/radial2"/>
    <dgm:cxn modelId="{A1DF1791-3A6F-4B37-8579-453DE7EEC1F6}" type="presParOf" srcId="{FFDF4032-E267-4CCA-A65D-6B5B1219F6AC}" destId="{DD3C84F5-CF5D-4E29-B052-986995630F47}" srcOrd="0" destOrd="0" presId="urn:microsoft.com/office/officeart/2005/8/layout/radial2"/>
    <dgm:cxn modelId="{01F2A818-3811-464F-83E1-419E57936AF3}" type="presParOf" srcId="{DD3C84F5-CF5D-4E29-B052-986995630F47}" destId="{B79AB08B-9F27-4141-84B8-8473AF10E491}" srcOrd="0" destOrd="0" presId="urn:microsoft.com/office/officeart/2005/8/layout/radial2"/>
    <dgm:cxn modelId="{725362E7-2E6C-49D4-A760-5300D70630B2}" type="presParOf" srcId="{B79AB08B-9F27-4141-84B8-8473AF10E491}" destId="{57AC41EF-6659-4432-81F0-6FCA7FF693E7}" srcOrd="0" destOrd="0" presId="urn:microsoft.com/office/officeart/2005/8/layout/radial2"/>
    <dgm:cxn modelId="{C2D9A59B-59C9-473A-9B88-A3BBA5E45541}" type="presParOf" srcId="{B79AB08B-9F27-4141-84B8-8473AF10E491}" destId="{83A6ED05-4ADB-4CD0-A718-931F8E9B8F98}" srcOrd="1" destOrd="0" presId="urn:microsoft.com/office/officeart/2005/8/layout/radial2"/>
    <dgm:cxn modelId="{F74AED54-CC1A-4D65-BBDB-F7147D6204F2}" type="presParOf" srcId="{DD3C84F5-CF5D-4E29-B052-986995630F47}" destId="{7FD26E41-3FD3-4926-9CB6-4080D702A360}" srcOrd="1" destOrd="0" presId="urn:microsoft.com/office/officeart/2005/8/layout/radial2"/>
    <dgm:cxn modelId="{F3140E0C-317E-44E5-8795-0A808A574950}" type="presParOf" srcId="{DD3C84F5-CF5D-4E29-B052-986995630F47}" destId="{93A81BE1-D86B-456F-A343-5F435857EB59}" srcOrd="2" destOrd="0" presId="urn:microsoft.com/office/officeart/2005/8/layout/radial2"/>
    <dgm:cxn modelId="{079BD088-78E8-4746-A171-3F2B6D4E65B3}" type="presParOf" srcId="{93A81BE1-D86B-456F-A343-5F435857EB59}" destId="{F071A639-4C85-4DEB-A062-CDECEF03270B}" srcOrd="0" destOrd="0" presId="urn:microsoft.com/office/officeart/2005/8/layout/radial2"/>
    <dgm:cxn modelId="{19C1BE26-BCFA-4202-B8F7-0087B3F05BBD}" type="presParOf" srcId="{93A81BE1-D86B-456F-A343-5F435857EB59}" destId="{7D9F13E3-9F25-4DA9-B20D-65AD60770667}" srcOrd="1" destOrd="0" presId="urn:microsoft.com/office/officeart/2005/8/layout/radial2"/>
    <dgm:cxn modelId="{88B23787-F1AC-4A3D-A781-2EB6EB055E46}" type="presParOf" srcId="{DD3C84F5-CF5D-4E29-B052-986995630F47}" destId="{6AB13CA6-A830-461E-BE6E-458FF0056764}" srcOrd="3" destOrd="0" presId="urn:microsoft.com/office/officeart/2005/8/layout/radial2"/>
    <dgm:cxn modelId="{26926D94-F64B-4432-ABF3-A36D54412B08}" type="presParOf" srcId="{DD3C84F5-CF5D-4E29-B052-986995630F47}" destId="{C29FC630-C688-476E-99AB-3608920A5286}" srcOrd="4" destOrd="0" presId="urn:microsoft.com/office/officeart/2005/8/layout/radial2"/>
    <dgm:cxn modelId="{737E1953-B5B4-4D3B-8D5D-D0FFD990402B}" type="presParOf" srcId="{C29FC630-C688-476E-99AB-3608920A5286}" destId="{ED7DF706-79CE-40AB-842B-A167608F1CC4}" srcOrd="0" destOrd="0" presId="urn:microsoft.com/office/officeart/2005/8/layout/radial2"/>
    <dgm:cxn modelId="{67200E1C-76C8-4A36-902F-9246DDE96642}" type="presParOf" srcId="{C29FC630-C688-476E-99AB-3608920A5286}" destId="{DE9A335D-C3E1-4A46-AE84-D8735B548BC9}" srcOrd="1" destOrd="0" presId="urn:microsoft.com/office/officeart/2005/8/layout/radial2"/>
    <dgm:cxn modelId="{6A576930-A51E-487E-BF08-22BE40F5A467}" type="presParOf" srcId="{DD3C84F5-CF5D-4E29-B052-986995630F47}" destId="{46E96263-0681-4AC3-B454-2372A125B4D5}" srcOrd="5" destOrd="0" presId="urn:microsoft.com/office/officeart/2005/8/layout/radial2"/>
    <dgm:cxn modelId="{EE6595D8-4C96-430B-81F6-30FB03C8535E}" type="presParOf" srcId="{DD3C84F5-CF5D-4E29-B052-986995630F47}" destId="{7B038970-E726-4E63-B759-65E16BEE09C2}" srcOrd="6" destOrd="0" presId="urn:microsoft.com/office/officeart/2005/8/layout/radial2"/>
    <dgm:cxn modelId="{C57EB3C3-6247-4DC7-8EF2-DDE10066575A}" type="presParOf" srcId="{7B038970-E726-4E63-B759-65E16BEE09C2}" destId="{30E1C293-EBF9-4CCA-82EF-FB500F5115B1}" srcOrd="0" destOrd="0" presId="urn:microsoft.com/office/officeart/2005/8/layout/radial2"/>
    <dgm:cxn modelId="{9A78F6CD-480A-49EF-B464-2D8C87111D09}" type="presParOf" srcId="{7B038970-E726-4E63-B759-65E16BEE09C2}" destId="{A9B3FC77-9B7B-458A-9B79-F75402A80ABC}"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4597DC2-03BD-4A94-BCF7-88BA0FBAF062}" type="doc">
      <dgm:prSet loTypeId="urn:microsoft.com/office/officeart/2005/8/layout/cycle3" loCatId="cycle" qsTypeId="urn:microsoft.com/office/officeart/2005/8/quickstyle/simple1" qsCatId="simple" csTypeId="urn:microsoft.com/office/officeart/2005/8/colors/colorful1#1" csCatId="colorful" phldr="1"/>
      <dgm:spPr/>
      <dgm:t>
        <a:bodyPr/>
        <a:lstStyle/>
        <a:p>
          <a:endParaRPr lang="en-US"/>
        </a:p>
      </dgm:t>
    </dgm:pt>
    <dgm:pt modelId="{455A2BE6-2D1C-4397-A115-5A7719EC82F3}">
      <dgm:prSet phldrT="[Text]"/>
      <dgm:spPr>
        <a:xfrm>
          <a:off x="3018276" y="3475"/>
          <a:ext cx="1792997" cy="896498"/>
        </a:xfrm>
        <a:solidFill>
          <a:srgbClr val="FF0000"/>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1</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Discovery Phase</a:t>
          </a:r>
        </a:p>
      </dgm:t>
    </dgm:pt>
    <dgm:pt modelId="{70500963-22A9-40A1-9A19-26A6E6D1D148}" type="parTrans" cxnId="{16349CFB-ED7C-4C87-8E4E-17412D6EE73D}">
      <dgm:prSet/>
      <dgm:spPr/>
      <dgm:t>
        <a:bodyPr/>
        <a:lstStyle/>
        <a:p>
          <a:endParaRPr lang="en-US" b="1"/>
        </a:p>
      </dgm:t>
    </dgm:pt>
    <dgm:pt modelId="{00CD74AF-4A4A-441C-A0B8-187973F0EED2}" type="sibTrans" cxnId="{16349CFB-ED7C-4C87-8E4E-17412D6EE73D}">
      <dgm:prSet/>
      <dgm:spPr>
        <a:xfrm>
          <a:off x="1058679" y="-34962"/>
          <a:ext cx="5712190" cy="5712190"/>
        </a:xfrm>
        <a:solidFill>
          <a:srgbClr val="C0504D">
            <a:tint val="40000"/>
            <a:hueOff val="0"/>
            <a:satOff val="0"/>
            <a:lumOff val="0"/>
            <a:alphaOff val="0"/>
          </a:srgbClr>
        </a:solidFill>
        <a:ln>
          <a:noFill/>
        </a:ln>
        <a:effectLst/>
      </dgm:spPr>
      <dgm:t>
        <a:bodyPr/>
        <a:lstStyle/>
        <a:p>
          <a:endParaRPr lang="en-US" b="1"/>
        </a:p>
      </dgm:t>
    </dgm:pt>
    <dgm:pt modelId="{73B7BFBA-D22C-4994-9E25-0F30E6C41C82}">
      <dgm:prSet phldrT="[Text]"/>
      <dgm:spPr>
        <a:xfrm>
          <a:off x="4922741" y="920618"/>
          <a:ext cx="1792997" cy="896498"/>
        </a:xfrm>
        <a:solidFill>
          <a:srgbClr val="0000FF"/>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2</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Assortment Process</a:t>
          </a:r>
        </a:p>
      </dgm:t>
    </dgm:pt>
    <dgm:pt modelId="{ED402EB6-8214-435B-A412-07C936BE29FC}" type="parTrans" cxnId="{4832F1FC-C185-4FEA-B96A-605AFB1D58A0}">
      <dgm:prSet/>
      <dgm:spPr/>
      <dgm:t>
        <a:bodyPr/>
        <a:lstStyle/>
        <a:p>
          <a:endParaRPr lang="en-US" b="1"/>
        </a:p>
      </dgm:t>
    </dgm:pt>
    <dgm:pt modelId="{D360ED78-9721-4D52-ACF9-7A417645851F}" type="sibTrans" cxnId="{4832F1FC-C185-4FEA-B96A-605AFB1D58A0}">
      <dgm:prSet/>
      <dgm:spPr/>
      <dgm:t>
        <a:bodyPr/>
        <a:lstStyle/>
        <a:p>
          <a:endParaRPr lang="en-US" b="1"/>
        </a:p>
      </dgm:t>
    </dgm:pt>
    <dgm:pt modelId="{798E7AC9-2F1C-4E2D-BE92-83D0B5C2EEEA}">
      <dgm:prSet phldrT="[Text]"/>
      <dgm:spPr>
        <a:xfrm>
          <a:off x="4075174" y="4634050"/>
          <a:ext cx="1792997" cy="896498"/>
        </a:xfrm>
        <a:solidFill>
          <a:srgbClr val="00B050"/>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4 </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Planogram Development Process</a:t>
          </a:r>
        </a:p>
      </dgm:t>
    </dgm:pt>
    <dgm:pt modelId="{14AEB136-4670-4AEB-ACD0-F0AF05ACB1C5}" type="parTrans" cxnId="{DDA2C76B-F36C-411E-9A49-609739F1F510}">
      <dgm:prSet/>
      <dgm:spPr/>
      <dgm:t>
        <a:bodyPr/>
        <a:lstStyle/>
        <a:p>
          <a:endParaRPr lang="en-US" b="1"/>
        </a:p>
      </dgm:t>
    </dgm:pt>
    <dgm:pt modelId="{0C8667C6-4D42-4750-81BB-A784A738E876}" type="sibTrans" cxnId="{DDA2C76B-F36C-411E-9A49-609739F1F510}">
      <dgm:prSet/>
      <dgm:spPr/>
      <dgm:t>
        <a:bodyPr/>
        <a:lstStyle/>
        <a:p>
          <a:endParaRPr lang="en-US" b="1"/>
        </a:p>
      </dgm:t>
    </dgm:pt>
    <dgm:pt modelId="{8DDD28F7-0670-4D9C-BE90-8A8AEF586933}">
      <dgm:prSet phldrT="[Text]"/>
      <dgm:spPr>
        <a:xfrm>
          <a:off x="1961377" y="4634050"/>
          <a:ext cx="1792997" cy="896498"/>
        </a:xfrm>
        <a:solidFill>
          <a:srgbClr val="FF9900"/>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5 </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Merchandising Process</a:t>
          </a:r>
        </a:p>
      </dgm:t>
    </dgm:pt>
    <dgm:pt modelId="{33D9B5C7-7864-4BDF-B55B-C6D6FF1F2200}" type="parTrans" cxnId="{D3C65D21-11F8-4EBF-B58B-FDE1862D4F85}">
      <dgm:prSet/>
      <dgm:spPr/>
      <dgm:t>
        <a:bodyPr/>
        <a:lstStyle/>
        <a:p>
          <a:endParaRPr lang="en-US" b="1"/>
        </a:p>
      </dgm:t>
    </dgm:pt>
    <dgm:pt modelId="{54D6B44F-33EF-4388-9FC8-0E32877DC446}" type="sibTrans" cxnId="{D3C65D21-11F8-4EBF-B58B-FDE1862D4F85}">
      <dgm:prSet/>
      <dgm:spPr/>
      <dgm:t>
        <a:bodyPr/>
        <a:lstStyle/>
        <a:p>
          <a:endParaRPr lang="en-US" b="1"/>
        </a:p>
      </dgm:t>
    </dgm:pt>
    <dgm:pt modelId="{0AAC7526-D98A-4F72-9EE8-5900FFCE5324}">
      <dgm:prSet phldrT="[Text]"/>
      <dgm:spPr>
        <a:xfrm>
          <a:off x="1113811" y="920618"/>
          <a:ext cx="1792997" cy="896498"/>
        </a:xfrm>
        <a:solidFill>
          <a:srgbClr val="00B0F0"/>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7</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Communication Process</a:t>
          </a:r>
        </a:p>
      </dgm:t>
    </dgm:pt>
    <dgm:pt modelId="{3845776B-5FF8-49AE-9378-9DFF6AC40473}" type="parTrans" cxnId="{8DBE05AD-FE9E-421C-883E-6F01486BF210}">
      <dgm:prSet/>
      <dgm:spPr/>
      <dgm:t>
        <a:bodyPr/>
        <a:lstStyle/>
        <a:p>
          <a:endParaRPr lang="en-US" b="1"/>
        </a:p>
      </dgm:t>
    </dgm:pt>
    <dgm:pt modelId="{A38F8686-586F-4335-BA5F-55D14B95E6F3}" type="sibTrans" cxnId="{8DBE05AD-FE9E-421C-883E-6F01486BF210}">
      <dgm:prSet/>
      <dgm:spPr/>
      <dgm:t>
        <a:bodyPr/>
        <a:lstStyle/>
        <a:p>
          <a:endParaRPr lang="en-US" b="1"/>
        </a:p>
      </dgm:t>
    </dgm:pt>
    <dgm:pt modelId="{9A4001CA-C300-4508-AF60-EEAB6E4184CB}">
      <dgm:prSet/>
      <dgm:spPr>
        <a:xfrm>
          <a:off x="5393105" y="2981417"/>
          <a:ext cx="1792997" cy="896498"/>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3</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Data Process</a:t>
          </a:r>
          <a:br>
            <a:rPr lang="en-US" b="1" dirty="0">
              <a:solidFill>
                <a:sysClr val="window" lastClr="FFFFFF"/>
              </a:solidFill>
              <a:latin typeface="Calibri"/>
              <a:ea typeface="+mn-ea"/>
              <a:cs typeface="+mn-cs"/>
            </a:rPr>
          </a:br>
          <a:endParaRPr lang="en-US" b="1" dirty="0">
            <a:solidFill>
              <a:sysClr val="window" lastClr="FFFFFF"/>
            </a:solidFill>
            <a:latin typeface="Calibri"/>
            <a:ea typeface="+mn-ea"/>
            <a:cs typeface="+mn-cs"/>
          </a:endParaRPr>
        </a:p>
      </dgm:t>
    </dgm:pt>
    <dgm:pt modelId="{FAB446E5-FBD2-4025-8EF6-5B3DB745E236}" type="parTrans" cxnId="{7051AF87-0040-40AD-81C7-ADE3493C94D8}">
      <dgm:prSet/>
      <dgm:spPr/>
      <dgm:t>
        <a:bodyPr/>
        <a:lstStyle/>
        <a:p>
          <a:endParaRPr lang="en-US" b="1"/>
        </a:p>
      </dgm:t>
    </dgm:pt>
    <dgm:pt modelId="{C51888AC-515D-42AA-ADD7-8F1C87C26FC5}" type="sibTrans" cxnId="{7051AF87-0040-40AD-81C7-ADE3493C94D8}">
      <dgm:prSet/>
      <dgm:spPr/>
      <dgm:t>
        <a:bodyPr/>
        <a:lstStyle/>
        <a:p>
          <a:endParaRPr lang="en-US" b="1"/>
        </a:p>
      </dgm:t>
    </dgm:pt>
    <dgm:pt modelId="{650C87AB-DDF0-4A5F-9626-0C38ACA511BB}">
      <dgm:prSet/>
      <dgm:spPr>
        <a:xfrm>
          <a:off x="643447" y="2981417"/>
          <a:ext cx="1792997" cy="896498"/>
        </a:xfrm>
        <a:solidFill>
          <a:srgbClr val="C00000"/>
        </a:solidFill>
        <a:ln w="25400" cap="flat" cmpd="sng" algn="ctr">
          <a:solidFill>
            <a:sysClr val="window" lastClr="FFFFFF">
              <a:hueOff val="0"/>
              <a:satOff val="0"/>
              <a:lumOff val="0"/>
              <a:alphaOff val="0"/>
            </a:sysClr>
          </a:solidFill>
          <a:prstDash val="solid"/>
        </a:ln>
        <a:effectLst/>
      </dgm:spPr>
      <dgm:t>
        <a:bodyPr/>
        <a:lstStyle/>
        <a:p>
          <a:r>
            <a:rPr lang="en-US" b="1" dirty="0">
              <a:solidFill>
                <a:sysClr val="window" lastClr="FFFFFF"/>
              </a:solidFill>
              <a:latin typeface="Calibri"/>
              <a:ea typeface="+mn-ea"/>
              <a:cs typeface="+mn-cs"/>
            </a:rPr>
            <a:t>Phase 6</a:t>
          </a:r>
          <a:br>
            <a:rPr lang="en-US" b="1" dirty="0">
              <a:solidFill>
                <a:sysClr val="window" lastClr="FFFFFF"/>
              </a:solidFill>
              <a:latin typeface="Calibri"/>
              <a:ea typeface="+mn-ea"/>
              <a:cs typeface="+mn-cs"/>
            </a:rPr>
          </a:br>
          <a:r>
            <a:rPr lang="en-US" b="1" dirty="0">
              <a:solidFill>
                <a:sysClr val="window" lastClr="FFFFFF"/>
              </a:solidFill>
              <a:latin typeface="Calibri"/>
              <a:ea typeface="+mn-ea"/>
              <a:cs typeface="+mn-cs"/>
            </a:rPr>
            <a:t>Planogram Execution Process</a:t>
          </a:r>
        </a:p>
      </dgm:t>
    </dgm:pt>
    <dgm:pt modelId="{57D8537A-FC51-4244-8423-5FAA67504BFD}" type="parTrans" cxnId="{46991F6E-203B-4110-92F0-27F4D19B989D}">
      <dgm:prSet/>
      <dgm:spPr/>
      <dgm:t>
        <a:bodyPr/>
        <a:lstStyle/>
        <a:p>
          <a:endParaRPr lang="en-US" b="1"/>
        </a:p>
      </dgm:t>
    </dgm:pt>
    <dgm:pt modelId="{FD292451-7391-45E6-81CA-F16B03D3DDD9}" type="sibTrans" cxnId="{46991F6E-203B-4110-92F0-27F4D19B989D}">
      <dgm:prSet/>
      <dgm:spPr/>
      <dgm:t>
        <a:bodyPr/>
        <a:lstStyle/>
        <a:p>
          <a:endParaRPr lang="en-US" b="1"/>
        </a:p>
      </dgm:t>
    </dgm:pt>
    <dgm:pt modelId="{343E43C4-C615-4E5F-975D-4C6640B987A0}" type="pres">
      <dgm:prSet presAssocID="{84597DC2-03BD-4A94-BCF7-88BA0FBAF062}" presName="Name0" presStyleCnt="0">
        <dgm:presLayoutVars>
          <dgm:dir/>
          <dgm:resizeHandles val="exact"/>
        </dgm:presLayoutVars>
      </dgm:prSet>
      <dgm:spPr/>
    </dgm:pt>
    <dgm:pt modelId="{4B170193-A837-4AE5-AB4D-B9A6EDD09B68}" type="pres">
      <dgm:prSet presAssocID="{84597DC2-03BD-4A94-BCF7-88BA0FBAF062}" presName="cycle" presStyleCnt="0"/>
      <dgm:spPr/>
    </dgm:pt>
    <dgm:pt modelId="{5D7D7AA2-FD78-4D9E-8E65-7DF004EFCFB2}" type="pres">
      <dgm:prSet presAssocID="{455A2BE6-2D1C-4397-A115-5A7719EC82F3}" presName="nodeFirstNode" presStyleLbl="node1" presStyleIdx="0" presStyleCnt="7">
        <dgm:presLayoutVars>
          <dgm:bulletEnabled val="1"/>
        </dgm:presLayoutVars>
      </dgm:prSet>
      <dgm:spPr>
        <a:prstGeom prst="roundRect">
          <a:avLst/>
        </a:prstGeom>
      </dgm:spPr>
    </dgm:pt>
    <dgm:pt modelId="{A5D46706-8D81-4333-81D0-ECF283967DAC}" type="pres">
      <dgm:prSet presAssocID="{00CD74AF-4A4A-441C-A0B8-187973F0EED2}" presName="sibTransFirstNode" presStyleLbl="bgShp" presStyleIdx="0" presStyleCnt="1"/>
      <dgm:spPr>
        <a:prstGeom prst="circularArrow">
          <a:avLst>
            <a:gd name="adj1" fmla="val 5544"/>
            <a:gd name="adj2" fmla="val 330680"/>
            <a:gd name="adj3" fmla="val 14504174"/>
            <a:gd name="adj4" fmla="val 16956870"/>
            <a:gd name="adj5" fmla="val 5757"/>
          </a:avLst>
        </a:prstGeom>
      </dgm:spPr>
    </dgm:pt>
    <dgm:pt modelId="{A00A6E35-B9C0-4F28-B36B-E36D0C989F70}" type="pres">
      <dgm:prSet presAssocID="{73B7BFBA-D22C-4994-9E25-0F30E6C41C82}" presName="nodeFollowingNodes" presStyleLbl="node1" presStyleIdx="1" presStyleCnt="7">
        <dgm:presLayoutVars>
          <dgm:bulletEnabled val="1"/>
        </dgm:presLayoutVars>
      </dgm:prSet>
      <dgm:spPr>
        <a:prstGeom prst="roundRect">
          <a:avLst/>
        </a:prstGeom>
      </dgm:spPr>
    </dgm:pt>
    <dgm:pt modelId="{E157A25B-5ACE-4132-8EBB-11099DBFB075}" type="pres">
      <dgm:prSet presAssocID="{9A4001CA-C300-4508-AF60-EEAB6E4184CB}" presName="nodeFollowingNodes" presStyleLbl="node1" presStyleIdx="2" presStyleCnt="7">
        <dgm:presLayoutVars>
          <dgm:bulletEnabled val="1"/>
        </dgm:presLayoutVars>
      </dgm:prSet>
      <dgm:spPr>
        <a:prstGeom prst="roundRect">
          <a:avLst/>
        </a:prstGeom>
      </dgm:spPr>
    </dgm:pt>
    <dgm:pt modelId="{AE85FA29-C227-4E01-AFC9-5FE6CE449FAA}" type="pres">
      <dgm:prSet presAssocID="{798E7AC9-2F1C-4E2D-BE92-83D0B5C2EEEA}" presName="nodeFollowingNodes" presStyleLbl="node1" presStyleIdx="3" presStyleCnt="7">
        <dgm:presLayoutVars>
          <dgm:bulletEnabled val="1"/>
        </dgm:presLayoutVars>
      </dgm:prSet>
      <dgm:spPr>
        <a:prstGeom prst="roundRect">
          <a:avLst/>
        </a:prstGeom>
      </dgm:spPr>
    </dgm:pt>
    <dgm:pt modelId="{4A041FBD-6F85-4C85-8538-288949A5444C}" type="pres">
      <dgm:prSet presAssocID="{8DDD28F7-0670-4D9C-BE90-8A8AEF586933}" presName="nodeFollowingNodes" presStyleLbl="node1" presStyleIdx="4" presStyleCnt="7">
        <dgm:presLayoutVars>
          <dgm:bulletEnabled val="1"/>
        </dgm:presLayoutVars>
      </dgm:prSet>
      <dgm:spPr>
        <a:prstGeom prst="roundRect">
          <a:avLst/>
        </a:prstGeom>
      </dgm:spPr>
    </dgm:pt>
    <dgm:pt modelId="{7CFA5BB3-AFA1-437E-AA32-96692671CC06}" type="pres">
      <dgm:prSet presAssocID="{650C87AB-DDF0-4A5F-9626-0C38ACA511BB}" presName="nodeFollowingNodes" presStyleLbl="node1" presStyleIdx="5" presStyleCnt="7">
        <dgm:presLayoutVars>
          <dgm:bulletEnabled val="1"/>
        </dgm:presLayoutVars>
      </dgm:prSet>
      <dgm:spPr>
        <a:prstGeom prst="roundRect">
          <a:avLst/>
        </a:prstGeom>
      </dgm:spPr>
    </dgm:pt>
    <dgm:pt modelId="{70CB878F-E3D0-4353-8530-6850BF040AD3}" type="pres">
      <dgm:prSet presAssocID="{0AAC7526-D98A-4F72-9EE8-5900FFCE5324}" presName="nodeFollowingNodes" presStyleLbl="node1" presStyleIdx="6" presStyleCnt="7">
        <dgm:presLayoutVars>
          <dgm:bulletEnabled val="1"/>
        </dgm:presLayoutVars>
      </dgm:prSet>
      <dgm:spPr>
        <a:prstGeom prst="roundRect">
          <a:avLst/>
        </a:prstGeom>
      </dgm:spPr>
    </dgm:pt>
  </dgm:ptLst>
  <dgm:cxnLst>
    <dgm:cxn modelId="{20B76B05-0557-47EF-A82B-AD1A0278D37A}" type="presOf" srcId="{00CD74AF-4A4A-441C-A0B8-187973F0EED2}" destId="{A5D46706-8D81-4333-81D0-ECF283967DAC}" srcOrd="0" destOrd="0" presId="urn:microsoft.com/office/officeart/2005/8/layout/cycle3"/>
    <dgm:cxn modelId="{8E66051D-C579-42B6-9509-847070512D66}" type="presOf" srcId="{84597DC2-03BD-4A94-BCF7-88BA0FBAF062}" destId="{343E43C4-C615-4E5F-975D-4C6640B987A0}" srcOrd="0" destOrd="0" presId="urn:microsoft.com/office/officeart/2005/8/layout/cycle3"/>
    <dgm:cxn modelId="{D3C65D21-11F8-4EBF-B58B-FDE1862D4F85}" srcId="{84597DC2-03BD-4A94-BCF7-88BA0FBAF062}" destId="{8DDD28F7-0670-4D9C-BE90-8A8AEF586933}" srcOrd="4" destOrd="0" parTransId="{33D9B5C7-7864-4BDF-B55B-C6D6FF1F2200}" sibTransId="{54D6B44F-33EF-4388-9FC8-0E32877DC446}"/>
    <dgm:cxn modelId="{34B30A48-D8F7-4931-B183-86198FB59202}" type="presOf" srcId="{0AAC7526-D98A-4F72-9EE8-5900FFCE5324}" destId="{70CB878F-E3D0-4353-8530-6850BF040AD3}" srcOrd="0" destOrd="0" presId="urn:microsoft.com/office/officeart/2005/8/layout/cycle3"/>
    <dgm:cxn modelId="{DDA2C76B-F36C-411E-9A49-609739F1F510}" srcId="{84597DC2-03BD-4A94-BCF7-88BA0FBAF062}" destId="{798E7AC9-2F1C-4E2D-BE92-83D0B5C2EEEA}" srcOrd="3" destOrd="0" parTransId="{14AEB136-4670-4AEB-ACD0-F0AF05ACB1C5}" sibTransId="{0C8667C6-4D42-4750-81BB-A784A738E876}"/>
    <dgm:cxn modelId="{46991F6E-203B-4110-92F0-27F4D19B989D}" srcId="{84597DC2-03BD-4A94-BCF7-88BA0FBAF062}" destId="{650C87AB-DDF0-4A5F-9626-0C38ACA511BB}" srcOrd="5" destOrd="0" parTransId="{57D8537A-FC51-4244-8423-5FAA67504BFD}" sibTransId="{FD292451-7391-45E6-81CA-F16B03D3DDD9}"/>
    <dgm:cxn modelId="{7148E174-F6AD-4750-8474-0E7E1A3573BB}" type="presOf" srcId="{8DDD28F7-0670-4D9C-BE90-8A8AEF586933}" destId="{4A041FBD-6F85-4C85-8538-288949A5444C}" srcOrd="0" destOrd="0" presId="urn:microsoft.com/office/officeart/2005/8/layout/cycle3"/>
    <dgm:cxn modelId="{5CCEC057-C4B4-4054-880C-6C4DF639E113}" type="presOf" srcId="{9A4001CA-C300-4508-AF60-EEAB6E4184CB}" destId="{E157A25B-5ACE-4132-8EBB-11099DBFB075}" srcOrd="0" destOrd="0" presId="urn:microsoft.com/office/officeart/2005/8/layout/cycle3"/>
    <dgm:cxn modelId="{7051AF87-0040-40AD-81C7-ADE3493C94D8}" srcId="{84597DC2-03BD-4A94-BCF7-88BA0FBAF062}" destId="{9A4001CA-C300-4508-AF60-EEAB6E4184CB}" srcOrd="2" destOrd="0" parTransId="{FAB446E5-FBD2-4025-8EF6-5B3DB745E236}" sibTransId="{C51888AC-515D-42AA-ADD7-8F1C87C26FC5}"/>
    <dgm:cxn modelId="{29683B9B-09C6-42A7-8B83-571C77F90677}" type="presOf" srcId="{650C87AB-DDF0-4A5F-9626-0C38ACA511BB}" destId="{7CFA5BB3-AFA1-437E-AA32-96692671CC06}" srcOrd="0" destOrd="0" presId="urn:microsoft.com/office/officeart/2005/8/layout/cycle3"/>
    <dgm:cxn modelId="{3B4CFB9C-088B-474D-A933-DCA558EB9A8C}" type="presOf" srcId="{455A2BE6-2D1C-4397-A115-5A7719EC82F3}" destId="{5D7D7AA2-FD78-4D9E-8E65-7DF004EFCFB2}" srcOrd="0" destOrd="0" presId="urn:microsoft.com/office/officeart/2005/8/layout/cycle3"/>
    <dgm:cxn modelId="{8BAAE6AC-07F9-434D-9850-076B7F958682}" type="presOf" srcId="{798E7AC9-2F1C-4E2D-BE92-83D0B5C2EEEA}" destId="{AE85FA29-C227-4E01-AFC9-5FE6CE449FAA}" srcOrd="0" destOrd="0" presId="urn:microsoft.com/office/officeart/2005/8/layout/cycle3"/>
    <dgm:cxn modelId="{8DBE05AD-FE9E-421C-883E-6F01486BF210}" srcId="{84597DC2-03BD-4A94-BCF7-88BA0FBAF062}" destId="{0AAC7526-D98A-4F72-9EE8-5900FFCE5324}" srcOrd="6" destOrd="0" parTransId="{3845776B-5FF8-49AE-9378-9DFF6AC40473}" sibTransId="{A38F8686-586F-4335-BA5F-55D14B95E6F3}"/>
    <dgm:cxn modelId="{D7A39DF2-2104-4108-9C0E-AFF0EC5E3346}" type="presOf" srcId="{73B7BFBA-D22C-4994-9E25-0F30E6C41C82}" destId="{A00A6E35-B9C0-4F28-B36B-E36D0C989F70}" srcOrd="0" destOrd="0" presId="urn:microsoft.com/office/officeart/2005/8/layout/cycle3"/>
    <dgm:cxn modelId="{16349CFB-ED7C-4C87-8E4E-17412D6EE73D}" srcId="{84597DC2-03BD-4A94-BCF7-88BA0FBAF062}" destId="{455A2BE6-2D1C-4397-A115-5A7719EC82F3}" srcOrd="0" destOrd="0" parTransId="{70500963-22A9-40A1-9A19-26A6E6D1D148}" sibTransId="{00CD74AF-4A4A-441C-A0B8-187973F0EED2}"/>
    <dgm:cxn modelId="{4832F1FC-C185-4FEA-B96A-605AFB1D58A0}" srcId="{84597DC2-03BD-4A94-BCF7-88BA0FBAF062}" destId="{73B7BFBA-D22C-4994-9E25-0F30E6C41C82}" srcOrd="1" destOrd="0" parTransId="{ED402EB6-8214-435B-A412-07C936BE29FC}" sibTransId="{D360ED78-9721-4D52-ACF9-7A417645851F}"/>
    <dgm:cxn modelId="{79D18507-015F-432B-A6F5-78465B585E85}" type="presParOf" srcId="{343E43C4-C615-4E5F-975D-4C6640B987A0}" destId="{4B170193-A837-4AE5-AB4D-B9A6EDD09B68}" srcOrd="0" destOrd="0" presId="urn:microsoft.com/office/officeart/2005/8/layout/cycle3"/>
    <dgm:cxn modelId="{19AA8C20-BF69-430A-A492-716637456F4A}" type="presParOf" srcId="{4B170193-A837-4AE5-AB4D-B9A6EDD09B68}" destId="{5D7D7AA2-FD78-4D9E-8E65-7DF004EFCFB2}" srcOrd="0" destOrd="0" presId="urn:microsoft.com/office/officeart/2005/8/layout/cycle3"/>
    <dgm:cxn modelId="{4FE654A2-07E2-4CCA-B497-3994D41730F0}" type="presParOf" srcId="{4B170193-A837-4AE5-AB4D-B9A6EDD09B68}" destId="{A5D46706-8D81-4333-81D0-ECF283967DAC}" srcOrd="1" destOrd="0" presId="urn:microsoft.com/office/officeart/2005/8/layout/cycle3"/>
    <dgm:cxn modelId="{DC6D52BA-E412-4AB5-85CB-C231A6ECF154}" type="presParOf" srcId="{4B170193-A837-4AE5-AB4D-B9A6EDD09B68}" destId="{A00A6E35-B9C0-4F28-B36B-E36D0C989F70}" srcOrd="2" destOrd="0" presId="urn:microsoft.com/office/officeart/2005/8/layout/cycle3"/>
    <dgm:cxn modelId="{5D99EC04-D052-4E6D-B959-9F60DF4BCDFC}" type="presParOf" srcId="{4B170193-A837-4AE5-AB4D-B9A6EDD09B68}" destId="{E157A25B-5ACE-4132-8EBB-11099DBFB075}" srcOrd="3" destOrd="0" presId="urn:microsoft.com/office/officeart/2005/8/layout/cycle3"/>
    <dgm:cxn modelId="{4D91B467-8FC2-456F-8E8E-B656AA5A9BA2}" type="presParOf" srcId="{4B170193-A837-4AE5-AB4D-B9A6EDD09B68}" destId="{AE85FA29-C227-4E01-AFC9-5FE6CE449FAA}" srcOrd="4" destOrd="0" presId="urn:microsoft.com/office/officeart/2005/8/layout/cycle3"/>
    <dgm:cxn modelId="{1368307E-599F-4C5A-9E91-2DD035436DA8}" type="presParOf" srcId="{4B170193-A837-4AE5-AB4D-B9A6EDD09B68}" destId="{4A041FBD-6F85-4C85-8538-288949A5444C}" srcOrd="5" destOrd="0" presId="urn:microsoft.com/office/officeart/2005/8/layout/cycle3"/>
    <dgm:cxn modelId="{9A3CCE9C-4E9F-4F4B-A5AA-3B30D57B780E}" type="presParOf" srcId="{4B170193-A837-4AE5-AB4D-B9A6EDD09B68}" destId="{7CFA5BB3-AFA1-437E-AA32-96692671CC06}" srcOrd="6" destOrd="0" presId="urn:microsoft.com/office/officeart/2005/8/layout/cycle3"/>
    <dgm:cxn modelId="{6DC9DC0E-C055-4DA3-8F8E-B85410B6B6F6}" type="presParOf" srcId="{4B170193-A837-4AE5-AB4D-B9A6EDD09B68}" destId="{70CB878F-E3D0-4353-8530-6850BF040AD3}" srcOrd="7"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2EE519-BB51-40A5-9836-D9FF5BCD77F9}" type="doc">
      <dgm:prSet loTypeId="urn:microsoft.com/office/officeart/2005/8/layout/arrow2" loCatId="process" qsTypeId="urn:microsoft.com/office/officeart/2005/8/quickstyle/simple1" qsCatId="simple" csTypeId="urn:microsoft.com/office/officeart/2005/8/colors/accent1_2" csCatId="accent1" phldr="1"/>
      <dgm:spPr/>
    </dgm:pt>
    <dgm:pt modelId="{E8AA3B74-BD75-4BDA-922B-C8B9BD356682}">
      <dgm:prSet phldrT="[Text]"/>
      <dgm:spPr/>
      <dgm:t>
        <a:bodyPr/>
        <a:lstStyle/>
        <a:p>
          <a:r>
            <a:rPr lang="en-GB"/>
            <a:t>Work in Progress</a:t>
          </a:r>
        </a:p>
      </dgm:t>
    </dgm:pt>
    <dgm:pt modelId="{F87C8530-38E9-4CEF-BA09-2CE7B6A811AC}" type="parTrans" cxnId="{85E03FA2-D616-4E77-A99C-4D05760D1B62}">
      <dgm:prSet/>
      <dgm:spPr/>
      <dgm:t>
        <a:bodyPr/>
        <a:lstStyle/>
        <a:p>
          <a:endParaRPr lang="en-GB"/>
        </a:p>
      </dgm:t>
    </dgm:pt>
    <dgm:pt modelId="{6F15F14A-253F-4CCC-98E3-8E51939B0126}" type="sibTrans" cxnId="{85E03FA2-D616-4E77-A99C-4D05760D1B62}">
      <dgm:prSet/>
      <dgm:spPr/>
      <dgm:t>
        <a:bodyPr/>
        <a:lstStyle/>
        <a:p>
          <a:endParaRPr lang="en-GB"/>
        </a:p>
      </dgm:t>
    </dgm:pt>
    <dgm:pt modelId="{35FE9D82-73B9-4A5D-9A8E-AC54188E588F}">
      <dgm:prSet phldrT="[Text]"/>
      <dgm:spPr/>
      <dgm:t>
        <a:bodyPr/>
        <a:lstStyle/>
        <a:p>
          <a:r>
            <a:rPr lang="en-GB"/>
            <a:t>Pending</a:t>
          </a:r>
        </a:p>
      </dgm:t>
    </dgm:pt>
    <dgm:pt modelId="{BDB095BD-FE5C-4BD4-8B57-6D279D5E6C90}" type="parTrans" cxnId="{31323670-D8FA-441F-826F-5199FE9932D6}">
      <dgm:prSet/>
      <dgm:spPr/>
      <dgm:t>
        <a:bodyPr/>
        <a:lstStyle/>
        <a:p>
          <a:endParaRPr lang="en-GB"/>
        </a:p>
      </dgm:t>
    </dgm:pt>
    <dgm:pt modelId="{780687BF-B89E-4C9C-869F-E3BF32422A44}" type="sibTrans" cxnId="{31323670-D8FA-441F-826F-5199FE9932D6}">
      <dgm:prSet/>
      <dgm:spPr/>
      <dgm:t>
        <a:bodyPr/>
        <a:lstStyle/>
        <a:p>
          <a:endParaRPr lang="en-GB"/>
        </a:p>
      </dgm:t>
    </dgm:pt>
    <dgm:pt modelId="{DC48FD0D-BE50-408A-AD38-AA51A1C8ECAC}">
      <dgm:prSet phldrT="[Text]"/>
      <dgm:spPr/>
      <dgm:t>
        <a:bodyPr/>
        <a:lstStyle/>
        <a:p>
          <a:r>
            <a:rPr lang="en-GB"/>
            <a:t>Live</a:t>
          </a:r>
        </a:p>
      </dgm:t>
    </dgm:pt>
    <dgm:pt modelId="{BC6879ED-89DC-48EF-825B-450774675139}" type="parTrans" cxnId="{22FC31F1-0D05-43B6-9EC3-7EF243C1395B}">
      <dgm:prSet/>
      <dgm:spPr/>
      <dgm:t>
        <a:bodyPr/>
        <a:lstStyle/>
        <a:p>
          <a:endParaRPr lang="en-GB"/>
        </a:p>
      </dgm:t>
    </dgm:pt>
    <dgm:pt modelId="{D4FABD47-4DAC-4C39-A59E-F96F032DE87B}" type="sibTrans" cxnId="{22FC31F1-0D05-43B6-9EC3-7EF243C1395B}">
      <dgm:prSet/>
      <dgm:spPr/>
      <dgm:t>
        <a:bodyPr/>
        <a:lstStyle/>
        <a:p>
          <a:endParaRPr lang="en-GB"/>
        </a:p>
      </dgm:t>
    </dgm:pt>
    <dgm:pt modelId="{6115418B-23BB-44F1-B776-135AFE6DAEEE}">
      <dgm:prSet phldrT="[Text]"/>
      <dgm:spPr/>
      <dgm:t>
        <a:bodyPr/>
        <a:lstStyle/>
        <a:p>
          <a:r>
            <a:rPr lang="en-GB"/>
            <a:t>Historic</a:t>
          </a:r>
        </a:p>
      </dgm:t>
    </dgm:pt>
    <dgm:pt modelId="{517CB250-015D-4250-8D92-E9B4EDF76F34}" type="parTrans" cxnId="{15C4C321-C4DE-4D2B-9E9B-37647A758607}">
      <dgm:prSet/>
      <dgm:spPr/>
      <dgm:t>
        <a:bodyPr/>
        <a:lstStyle/>
        <a:p>
          <a:endParaRPr lang="en-GB"/>
        </a:p>
      </dgm:t>
    </dgm:pt>
    <dgm:pt modelId="{F225B198-1A66-46E0-A782-E0414F555361}" type="sibTrans" cxnId="{15C4C321-C4DE-4D2B-9E9B-37647A758607}">
      <dgm:prSet/>
      <dgm:spPr/>
      <dgm:t>
        <a:bodyPr/>
        <a:lstStyle/>
        <a:p>
          <a:endParaRPr lang="en-GB"/>
        </a:p>
      </dgm:t>
    </dgm:pt>
    <dgm:pt modelId="{2DD31AA0-2FF7-469D-9AFA-DA98E39A9B5E}" type="pres">
      <dgm:prSet presAssocID="{602EE519-BB51-40A5-9836-D9FF5BCD77F9}" presName="arrowDiagram" presStyleCnt="0">
        <dgm:presLayoutVars>
          <dgm:chMax val="5"/>
          <dgm:dir/>
          <dgm:resizeHandles val="exact"/>
        </dgm:presLayoutVars>
      </dgm:prSet>
      <dgm:spPr/>
    </dgm:pt>
    <dgm:pt modelId="{E7898C83-1AEA-483A-9A7C-785BFEBF09CF}" type="pres">
      <dgm:prSet presAssocID="{602EE519-BB51-40A5-9836-D9FF5BCD77F9}" presName="arrow" presStyleLbl="bgShp" presStyleIdx="0" presStyleCnt="1" custLinFactNeighborX="-11552" custLinFactNeighborY="19499"/>
      <dgm:spPr/>
    </dgm:pt>
    <dgm:pt modelId="{585796EF-E7CA-4515-A73B-D024B923F559}" type="pres">
      <dgm:prSet presAssocID="{602EE519-BB51-40A5-9836-D9FF5BCD77F9}" presName="arrowDiagram4" presStyleCnt="0"/>
      <dgm:spPr/>
    </dgm:pt>
    <dgm:pt modelId="{7CF9C000-57B1-44F8-93D6-3E1750BA9C91}" type="pres">
      <dgm:prSet presAssocID="{E8AA3B74-BD75-4BDA-922B-C8B9BD356682}" presName="bullet4a" presStyleLbl="node1" presStyleIdx="0" presStyleCnt="4"/>
      <dgm:spPr/>
    </dgm:pt>
    <dgm:pt modelId="{042267D7-155F-46CF-8481-F50ABE8C929D}" type="pres">
      <dgm:prSet presAssocID="{E8AA3B74-BD75-4BDA-922B-C8B9BD356682}" presName="textBox4a" presStyleLbl="revTx" presStyleIdx="0" presStyleCnt="4">
        <dgm:presLayoutVars>
          <dgm:bulletEnabled val="1"/>
        </dgm:presLayoutVars>
      </dgm:prSet>
      <dgm:spPr/>
    </dgm:pt>
    <dgm:pt modelId="{52FF26D7-BD4D-4E6E-9F2F-42C3C7D492E0}" type="pres">
      <dgm:prSet presAssocID="{35FE9D82-73B9-4A5D-9A8E-AC54188E588F}" presName="bullet4b" presStyleLbl="node1" presStyleIdx="1" presStyleCnt="4"/>
      <dgm:spPr/>
    </dgm:pt>
    <dgm:pt modelId="{2DF62861-068A-4EA2-B7A2-75E584A63BCD}" type="pres">
      <dgm:prSet presAssocID="{35FE9D82-73B9-4A5D-9A8E-AC54188E588F}" presName="textBox4b" presStyleLbl="revTx" presStyleIdx="1" presStyleCnt="4">
        <dgm:presLayoutVars>
          <dgm:bulletEnabled val="1"/>
        </dgm:presLayoutVars>
      </dgm:prSet>
      <dgm:spPr/>
    </dgm:pt>
    <dgm:pt modelId="{F40149BE-F1F5-4CD0-827C-D158C8E733C1}" type="pres">
      <dgm:prSet presAssocID="{DC48FD0D-BE50-408A-AD38-AA51A1C8ECAC}" presName="bullet4c" presStyleLbl="node1" presStyleIdx="2" presStyleCnt="4"/>
      <dgm:spPr/>
    </dgm:pt>
    <dgm:pt modelId="{B11E6E01-6DEA-4DD0-98B6-BE49BCA7C734}" type="pres">
      <dgm:prSet presAssocID="{DC48FD0D-BE50-408A-AD38-AA51A1C8ECAC}" presName="textBox4c" presStyleLbl="revTx" presStyleIdx="2" presStyleCnt="4">
        <dgm:presLayoutVars>
          <dgm:bulletEnabled val="1"/>
        </dgm:presLayoutVars>
      </dgm:prSet>
      <dgm:spPr/>
    </dgm:pt>
    <dgm:pt modelId="{09D29B72-1513-4828-949A-276FE6D45D5F}" type="pres">
      <dgm:prSet presAssocID="{6115418B-23BB-44F1-B776-135AFE6DAEEE}" presName="bullet4d" presStyleLbl="node1" presStyleIdx="3" presStyleCnt="4"/>
      <dgm:spPr/>
    </dgm:pt>
    <dgm:pt modelId="{C4F105FD-E140-4930-960E-404B66D13485}" type="pres">
      <dgm:prSet presAssocID="{6115418B-23BB-44F1-B776-135AFE6DAEEE}" presName="textBox4d" presStyleLbl="revTx" presStyleIdx="3" presStyleCnt="4">
        <dgm:presLayoutVars>
          <dgm:bulletEnabled val="1"/>
        </dgm:presLayoutVars>
      </dgm:prSet>
      <dgm:spPr/>
    </dgm:pt>
  </dgm:ptLst>
  <dgm:cxnLst>
    <dgm:cxn modelId="{15C4C321-C4DE-4D2B-9E9B-37647A758607}" srcId="{602EE519-BB51-40A5-9836-D9FF5BCD77F9}" destId="{6115418B-23BB-44F1-B776-135AFE6DAEEE}" srcOrd="3" destOrd="0" parTransId="{517CB250-015D-4250-8D92-E9B4EDF76F34}" sibTransId="{F225B198-1A66-46E0-A782-E0414F555361}"/>
    <dgm:cxn modelId="{31323670-D8FA-441F-826F-5199FE9932D6}" srcId="{602EE519-BB51-40A5-9836-D9FF5BCD77F9}" destId="{35FE9D82-73B9-4A5D-9A8E-AC54188E588F}" srcOrd="1" destOrd="0" parTransId="{BDB095BD-FE5C-4BD4-8B57-6D279D5E6C90}" sibTransId="{780687BF-B89E-4C9C-869F-E3BF32422A44}"/>
    <dgm:cxn modelId="{9126A681-5ADE-429A-90D5-3CE97C39C31F}" type="presOf" srcId="{35FE9D82-73B9-4A5D-9A8E-AC54188E588F}" destId="{2DF62861-068A-4EA2-B7A2-75E584A63BCD}" srcOrd="0" destOrd="0" presId="urn:microsoft.com/office/officeart/2005/8/layout/arrow2"/>
    <dgm:cxn modelId="{5ED5DF99-47F9-472C-AB53-241927E9BD9C}" type="presOf" srcId="{DC48FD0D-BE50-408A-AD38-AA51A1C8ECAC}" destId="{B11E6E01-6DEA-4DD0-98B6-BE49BCA7C734}" srcOrd="0" destOrd="0" presId="urn:microsoft.com/office/officeart/2005/8/layout/arrow2"/>
    <dgm:cxn modelId="{85E03FA2-D616-4E77-A99C-4D05760D1B62}" srcId="{602EE519-BB51-40A5-9836-D9FF5BCD77F9}" destId="{E8AA3B74-BD75-4BDA-922B-C8B9BD356682}" srcOrd="0" destOrd="0" parTransId="{F87C8530-38E9-4CEF-BA09-2CE7B6A811AC}" sibTransId="{6F15F14A-253F-4CCC-98E3-8E51939B0126}"/>
    <dgm:cxn modelId="{AF23DFBC-97B3-4C82-96C6-83F892DAF6DF}" type="presOf" srcId="{602EE519-BB51-40A5-9836-D9FF5BCD77F9}" destId="{2DD31AA0-2FF7-469D-9AFA-DA98E39A9B5E}" srcOrd="0" destOrd="0" presId="urn:microsoft.com/office/officeart/2005/8/layout/arrow2"/>
    <dgm:cxn modelId="{4A67B2BF-A14A-4EC3-9B95-EC98AB1EF132}" type="presOf" srcId="{E8AA3B74-BD75-4BDA-922B-C8B9BD356682}" destId="{042267D7-155F-46CF-8481-F50ABE8C929D}" srcOrd="0" destOrd="0" presId="urn:microsoft.com/office/officeart/2005/8/layout/arrow2"/>
    <dgm:cxn modelId="{22FC31F1-0D05-43B6-9EC3-7EF243C1395B}" srcId="{602EE519-BB51-40A5-9836-D9FF5BCD77F9}" destId="{DC48FD0D-BE50-408A-AD38-AA51A1C8ECAC}" srcOrd="2" destOrd="0" parTransId="{BC6879ED-89DC-48EF-825B-450774675139}" sibTransId="{D4FABD47-4DAC-4C39-A59E-F96F032DE87B}"/>
    <dgm:cxn modelId="{8675E7F5-3F22-49C9-A006-CCD684B0F0F8}" type="presOf" srcId="{6115418B-23BB-44F1-B776-135AFE6DAEEE}" destId="{C4F105FD-E140-4930-960E-404B66D13485}" srcOrd="0" destOrd="0" presId="urn:microsoft.com/office/officeart/2005/8/layout/arrow2"/>
    <dgm:cxn modelId="{4FE9136B-975B-4E7B-AA50-F22FE4169E19}" type="presParOf" srcId="{2DD31AA0-2FF7-469D-9AFA-DA98E39A9B5E}" destId="{E7898C83-1AEA-483A-9A7C-785BFEBF09CF}" srcOrd="0" destOrd="0" presId="urn:microsoft.com/office/officeart/2005/8/layout/arrow2"/>
    <dgm:cxn modelId="{3C845D73-F457-4EFA-B8C7-CADE296C9E80}" type="presParOf" srcId="{2DD31AA0-2FF7-469D-9AFA-DA98E39A9B5E}" destId="{585796EF-E7CA-4515-A73B-D024B923F559}" srcOrd="1" destOrd="0" presId="urn:microsoft.com/office/officeart/2005/8/layout/arrow2"/>
    <dgm:cxn modelId="{ABC76310-0D07-4FE8-B3D4-0C7AB5495CCD}" type="presParOf" srcId="{585796EF-E7CA-4515-A73B-D024B923F559}" destId="{7CF9C000-57B1-44F8-93D6-3E1750BA9C91}" srcOrd="0" destOrd="0" presId="urn:microsoft.com/office/officeart/2005/8/layout/arrow2"/>
    <dgm:cxn modelId="{F11F09CC-8A3D-4735-88EB-ED7C1EA87DB4}" type="presParOf" srcId="{585796EF-E7CA-4515-A73B-D024B923F559}" destId="{042267D7-155F-46CF-8481-F50ABE8C929D}" srcOrd="1" destOrd="0" presId="urn:microsoft.com/office/officeart/2005/8/layout/arrow2"/>
    <dgm:cxn modelId="{EE4DCADE-D459-4635-8635-93417B8F97C3}" type="presParOf" srcId="{585796EF-E7CA-4515-A73B-D024B923F559}" destId="{52FF26D7-BD4D-4E6E-9F2F-42C3C7D492E0}" srcOrd="2" destOrd="0" presId="urn:microsoft.com/office/officeart/2005/8/layout/arrow2"/>
    <dgm:cxn modelId="{AB8A12E0-005D-407D-8C6D-53891A46CB4B}" type="presParOf" srcId="{585796EF-E7CA-4515-A73B-D024B923F559}" destId="{2DF62861-068A-4EA2-B7A2-75E584A63BCD}" srcOrd="3" destOrd="0" presId="urn:microsoft.com/office/officeart/2005/8/layout/arrow2"/>
    <dgm:cxn modelId="{1BA8C786-80C7-4B38-8793-87A40D38E84D}" type="presParOf" srcId="{585796EF-E7CA-4515-A73B-D024B923F559}" destId="{F40149BE-F1F5-4CD0-827C-D158C8E733C1}" srcOrd="4" destOrd="0" presId="urn:microsoft.com/office/officeart/2005/8/layout/arrow2"/>
    <dgm:cxn modelId="{C1A91972-CD1E-4900-B516-8A3BCF41DC39}" type="presParOf" srcId="{585796EF-E7CA-4515-A73B-D024B923F559}" destId="{B11E6E01-6DEA-4DD0-98B6-BE49BCA7C734}" srcOrd="5" destOrd="0" presId="urn:microsoft.com/office/officeart/2005/8/layout/arrow2"/>
    <dgm:cxn modelId="{013CFBD6-166F-47B5-84D2-C646530AA4C8}" type="presParOf" srcId="{585796EF-E7CA-4515-A73B-D024B923F559}" destId="{09D29B72-1513-4828-949A-276FE6D45D5F}" srcOrd="6" destOrd="0" presId="urn:microsoft.com/office/officeart/2005/8/layout/arrow2"/>
    <dgm:cxn modelId="{E1EA645A-9596-4D69-BC2B-674C7BAF96A0}" type="presParOf" srcId="{585796EF-E7CA-4515-A73B-D024B923F559}" destId="{C4F105FD-E140-4930-960E-404B66D13485}" srcOrd="7" destOrd="0" presId="urn:microsoft.com/office/officeart/2005/8/layout/arrow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E96263-0681-4AC3-B454-2372A125B4D5}">
      <dsp:nvSpPr>
        <dsp:cNvPr id="0" name=""/>
        <dsp:cNvSpPr/>
      </dsp:nvSpPr>
      <dsp:spPr>
        <a:xfrm rot="2563220">
          <a:off x="1352410" y="2965198"/>
          <a:ext cx="524165" cy="65214"/>
        </a:xfrm>
        <a:custGeom>
          <a:avLst/>
          <a:gdLst/>
          <a:ahLst/>
          <a:cxnLst/>
          <a:rect l="0" t="0" r="0" b="0"/>
          <a:pathLst>
            <a:path>
              <a:moveTo>
                <a:pt x="0" y="32607"/>
              </a:moveTo>
              <a:lnTo>
                <a:pt x="524165" y="326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B13CA6-A830-461E-BE6E-458FF0056764}">
      <dsp:nvSpPr>
        <dsp:cNvPr id="0" name=""/>
        <dsp:cNvSpPr/>
      </dsp:nvSpPr>
      <dsp:spPr>
        <a:xfrm rot="49140">
          <a:off x="1421918" y="2259553"/>
          <a:ext cx="571501" cy="65214"/>
        </a:xfrm>
        <a:custGeom>
          <a:avLst/>
          <a:gdLst/>
          <a:ahLst/>
          <a:cxnLst/>
          <a:rect l="0" t="0" r="0" b="0"/>
          <a:pathLst>
            <a:path>
              <a:moveTo>
                <a:pt x="0" y="32607"/>
              </a:moveTo>
              <a:lnTo>
                <a:pt x="571501" y="326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D26E41-3FD3-4926-9CB6-4080D702A360}">
      <dsp:nvSpPr>
        <dsp:cNvPr id="0" name=""/>
        <dsp:cNvSpPr/>
      </dsp:nvSpPr>
      <dsp:spPr>
        <a:xfrm rot="19104114">
          <a:off x="1344829" y="1524648"/>
          <a:ext cx="611607" cy="65214"/>
        </a:xfrm>
        <a:custGeom>
          <a:avLst/>
          <a:gdLst/>
          <a:ahLst/>
          <a:cxnLst/>
          <a:rect l="0" t="0" r="0" b="0"/>
          <a:pathLst>
            <a:path>
              <a:moveTo>
                <a:pt x="0" y="32607"/>
              </a:moveTo>
              <a:lnTo>
                <a:pt x="611607" y="326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A6ED05-4ADB-4CD0-A718-931F8E9B8F98}">
      <dsp:nvSpPr>
        <dsp:cNvPr id="0" name=""/>
        <dsp:cNvSpPr/>
      </dsp:nvSpPr>
      <dsp:spPr>
        <a:xfrm>
          <a:off x="34161" y="1422855"/>
          <a:ext cx="1671689" cy="1671689"/>
        </a:xfrm>
        <a:prstGeom prst="ellipse">
          <a:avLst/>
        </a:prstGeom>
        <a:solidFill>
          <a:schemeClr val="accent3"/>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71A639-4C85-4DEB-A062-CDECEF03270B}">
      <dsp:nvSpPr>
        <dsp:cNvPr id="0" name=""/>
        <dsp:cNvSpPr/>
      </dsp:nvSpPr>
      <dsp:spPr>
        <a:xfrm>
          <a:off x="1761321" y="575672"/>
          <a:ext cx="935824" cy="935824"/>
        </a:xfrm>
        <a:prstGeom prst="ellipse">
          <a:avLst/>
        </a:prstGeom>
        <a:solidFill>
          <a:schemeClr val="accent4"/>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Users</a:t>
          </a:r>
        </a:p>
      </dsp:txBody>
      <dsp:txXfrm>
        <a:off x="1898369" y="712720"/>
        <a:ext cx="661728" cy="661728"/>
      </dsp:txXfrm>
    </dsp:sp>
    <dsp:sp modelId="{ED7DF706-79CE-40AB-842B-A167608F1CC4}">
      <dsp:nvSpPr>
        <dsp:cNvPr id="0" name=""/>
        <dsp:cNvSpPr/>
      </dsp:nvSpPr>
      <dsp:spPr>
        <a:xfrm>
          <a:off x="1993339" y="1801907"/>
          <a:ext cx="1003013" cy="1003013"/>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pporting Teams</a:t>
          </a:r>
        </a:p>
      </dsp:txBody>
      <dsp:txXfrm>
        <a:off x="2140227" y="1948795"/>
        <a:ext cx="709237" cy="709237"/>
      </dsp:txXfrm>
    </dsp:sp>
    <dsp:sp modelId="{30E1C293-EBF9-4CCA-82EF-FB500F5115B1}">
      <dsp:nvSpPr>
        <dsp:cNvPr id="0" name=""/>
        <dsp:cNvSpPr/>
      </dsp:nvSpPr>
      <dsp:spPr>
        <a:xfrm>
          <a:off x="1673975" y="3014334"/>
          <a:ext cx="1003013" cy="1003013"/>
        </a:xfrm>
        <a:prstGeom prst="ellips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External</a:t>
          </a:r>
        </a:p>
      </dsp:txBody>
      <dsp:txXfrm>
        <a:off x="1820863" y="3161222"/>
        <a:ext cx="709237" cy="7092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D46706-8D81-4333-81D0-ECF283967DAC}">
      <dsp:nvSpPr>
        <dsp:cNvPr id="0" name=""/>
        <dsp:cNvSpPr/>
      </dsp:nvSpPr>
      <dsp:spPr>
        <a:xfrm>
          <a:off x="1097556" y="-33933"/>
          <a:ext cx="5377261" cy="5377261"/>
        </a:xfrm>
        <a:prstGeom prst="circularArrow">
          <a:avLst>
            <a:gd name="adj1" fmla="val 5544"/>
            <a:gd name="adj2" fmla="val 330680"/>
            <a:gd name="adj3" fmla="val 14504174"/>
            <a:gd name="adj4" fmla="val 16956870"/>
            <a:gd name="adj5" fmla="val 5757"/>
          </a:avLst>
        </a:prstGeom>
        <a:solidFill>
          <a:srgbClr val="C0504D">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5D7D7AA2-FD78-4D9E-8E65-7DF004EFCFB2}">
      <dsp:nvSpPr>
        <dsp:cNvPr id="0" name=""/>
        <dsp:cNvSpPr/>
      </dsp:nvSpPr>
      <dsp:spPr>
        <a:xfrm>
          <a:off x="2945017" y="2589"/>
          <a:ext cx="1682339" cy="841169"/>
        </a:xfrm>
        <a:prstGeom prst="roundRect">
          <a:avLst/>
        </a:prstGeom>
        <a:solidFill>
          <a:srgbClr val="FF000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1</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Discovery Phase</a:t>
          </a:r>
        </a:p>
      </dsp:txBody>
      <dsp:txXfrm>
        <a:off x="2986079" y="43651"/>
        <a:ext cx="1600215" cy="759045"/>
      </dsp:txXfrm>
    </dsp:sp>
    <dsp:sp modelId="{A00A6E35-B9C0-4F28-B36B-E36D0C989F70}">
      <dsp:nvSpPr>
        <dsp:cNvPr id="0" name=""/>
        <dsp:cNvSpPr/>
      </dsp:nvSpPr>
      <dsp:spPr>
        <a:xfrm>
          <a:off x="4737816" y="865955"/>
          <a:ext cx="1682339" cy="841169"/>
        </a:xfrm>
        <a:prstGeom prst="roundRect">
          <a:avLst/>
        </a:prstGeom>
        <a:solidFill>
          <a:srgbClr val="0000FF"/>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2</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Assortment Process</a:t>
          </a:r>
        </a:p>
      </dsp:txBody>
      <dsp:txXfrm>
        <a:off x="4778878" y="907017"/>
        <a:ext cx="1600215" cy="759045"/>
      </dsp:txXfrm>
    </dsp:sp>
    <dsp:sp modelId="{E157A25B-5ACE-4132-8EBB-11099DBFB075}">
      <dsp:nvSpPr>
        <dsp:cNvPr id="0" name=""/>
        <dsp:cNvSpPr/>
      </dsp:nvSpPr>
      <dsp:spPr>
        <a:xfrm>
          <a:off x="5180600" y="2805921"/>
          <a:ext cx="1682339" cy="841169"/>
        </a:xfrm>
        <a:prstGeom prst="roundRect">
          <a:avLst/>
        </a:prstGeom>
        <a:solidFill>
          <a:srgbClr val="8064A2">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3</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Data Process</a:t>
          </a:r>
          <a:br>
            <a:rPr lang="en-US" sz="1300" b="1" kern="1200" dirty="0">
              <a:solidFill>
                <a:sysClr val="window" lastClr="FFFFFF"/>
              </a:solidFill>
              <a:latin typeface="Calibri"/>
              <a:ea typeface="+mn-ea"/>
              <a:cs typeface="+mn-cs"/>
            </a:rPr>
          </a:br>
          <a:endParaRPr lang="en-US" sz="1300" b="1" kern="1200" dirty="0">
            <a:solidFill>
              <a:sysClr val="window" lastClr="FFFFFF"/>
            </a:solidFill>
            <a:latin typeface="Calibri"/>
            <a:ea typeface="+mn-ea"/>
            <a:cs typeface="+mn-cs"/>
          </a:endParaRPr>
        </a:p>
      </dsp:txBody>
      <dsp:txXfrm>
        <a:off x="5221662" y="2846983"/>
        <a:ext cx="1600215" cy="759045"/>
      </dsp:txXfrm>
    </dsp:sp>
    <dsp:sp modelId="{AE85FA29-C227-4E01-AFC9-5FE6CE449FAA}">
      <dsp:nvSpPr>
        <dsp:cNvPr id="0" name=""/>
        <dsp:cNvSpPr/>
      </dsp:nvSpPr>
      <dsp:spPr>
        <a:xfrm>
          <a:off x="3939945" y="4361654"/>
          <a:ext cx="1682339" cy="841169"/>
        </a:xfrm>
        <a:prstGeom prst="roundRect">
          <a:avLst/>
        </a:prstGeom>
        <a:solidFill>
          <a:srgbClr val="00B05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4 </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Planogram Development Process</a:t>
          </a:r>
        </a:p>
      </dsp:txBody>
      <dsp:txXfrm>
        <a:off x="3981007" y="4402716"/>
        <a:ext cx="1600215" cy="759045"/>
      </dsp:txXfrm>
    </dsp:sp>
    <dsp:sp modelId="{4A041FBD-6F85-4C85-8538-288949A5444C}">
      <dsp:nvSpPr>
        <dsp:cNvPr id="0" name=""/>
        <dsp:cNvSpPr/>
      </dsp:nvSpPr>
      <dsp:spPr>
        <a:xfrm>
          <a:off x="1950089" y="4361654"/>
          <a:ext cx="1682339" cy="841169"/>
        </a:xfrm>
        <a:prstGeom prst="roundRect">
          <a:avLst/>
        </a:prstGeom>
        <a:solidFill>
          <a:srgbClr val="FF990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5 </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Merchandising Process</a:t>
          </a:r>
        </a:p>
      </dsp:txBody>
      <dsp:txXfrm>
        <a:off x="1991151" y="4402716"/>
        <a:ext cx="1600215" cy="759045"/>
      </dsp:txXfrm>
    </dsp:sp>
    <dsp:sp modelId="{7CFA5BB3-AFA1-437E-AA32-96692671CC06}">
      <dsp:nvSpPr>
        <dsp:cNvPr id="0" name=""/>
        <dsp:cNvSpPr/>
      </dsp:nvSpPr>
      <dsp:spPr>
        <a:xfrm>
          <a:off x="709434" y="2805921"/>
          <a:ext cx="1682339" cy="841169"/>
        </a:xfrm>
        <a:prstGeom prst="roundRect">
          <a:avLst/>
        </a:prstGeom>
        <a:solidFill>
          <a:srgbClr val="C0000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6</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Planogram Execution Process</a:t>
          </a:r>
        </a:p>
      </dsp:txBody>
      <dsp:txXfrm>
        <a:off x="750496" y="2846983"/>
        <a:ext cx="1600215" cy="759045"/>
      </dsp:txXfrm>
    </dsp:sp>
    <dsp:sp modelId="{70CB878F-E3D0-4353-8530-6850BF040AD3}">
      <dsp:nvSpPr>
        <dsp:cNvPr id="0" name=""/>
        <dsp:cNvSpPr/>
      </dsp:nvSpPr>
      <dsp:spPr>
        <a:xfrm>
          <a:off x="1152219" y="865955"/>
          <a:ext cx="1682339" cy="841169"/>
        </a:xfrm>
        <a:prstGeom prst="roundRect">
          <a:avLst/>
        </a:prstGeom>
        <a:solidFill>
          <a:srgbClr val="00B0F0"/>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ysClr val="window" lastClr="FFFFFF"/>
              </a:solidFill>
              <a:latin typeface="Calibri"/>
              <a:ea typeface="+mn-ea"/>
              <a:cs typeface="+mn-cs"/>
            </a:rPr>
            <a:t>Phase 7</a:t>
          </a:r>
          <a:br>
            <a:rPr lang="en-US" sz="1300" b="1" kern="1200" dirty="0">
              <a:solidFill>
                <a:sysClr val="window" lastClr="FFFFFF"/>
              </a:solidFill>
              <a:latin typeface="Calibri"/>
              <a:ea typeface="+mn-ea"/>
              <a:cs typeface="+mn-cs"/>
            </a:rPr>
          </a:br>
          <a:r>
            <a:rPr lang="en-US" sz="1300" b="1" kern="1200" dirty="0">
              <a:solidFill>
                <a:sysClr val="window" lastClr="FFFFFF"/>
              </a:solidFill>
              <a:latin typeface="Calibri"/>
              <a:ea typeface="+mn-ea"/>
              <a:cs typeface="+mn-cs"/>
            </a:rPr>
            <a:t>Communication Process</a:t>
          </a:r>
        </a:p>
      </dsp:txBody>
      <dsp:txXfrm>
        <a:off x="1193281" y="907017"/>
        <a:ext cx="1600215" cy="7590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898C83-1AEA-483A-9A7C-785BFEBF09CF}">
      <dsp:nvSpPr>
        <dsp:cNvPr id="0" name=""/>
        <dsp:cNvSpPr/>
      </dsp:nvSpPr>
      <dsp:spPr>
        <a:xfrm>
          <a:off x="0" y="0"/>
          <a:ext cx="3738942" cy="2336838"/>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F9C000-57B1-44F8-93D6-3E1750BA9C91}">
      <dsp:nvSpPr>
        <dsp:cNvPr id="0" name=""/>
        <dsp:cNvSpPr/>
      </dsp:nvSpPr>
      <dsp:spPr>
        <a:xfrm>
          <a:off x="371838" y="1737673"/>
          <a:ext cx="85995" cy="859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267D7-155F-46CF-8481-F50ABE8C929D}">
      <dsp:nvSpPr>
        <dsp:cNvPr id="0" name=""/>
        <dsp:cNvSpPr/>
      </dsp:nvSpPr>
      <dsp:spPr>
        <a:xfrm>
          <a:off x="414836" y="1780671"/>
          <a:ext cx="639359" cy="55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567" tIns="0" rIns="0" bIns="0" numCol="1" spcCol="1270" anchor="t" anchorCtr="0">
          <a:noAutofit/>
        </a:bodyPr>
        <a:lstStyle/>
        <a:p>
          <a:pPr marL="0" lvl="0" indent="0" algn="l" defTabSz="577850">
            <a:lnSpc>
              <a:spcPct val="90000"/>
            </a:lnSpc>
            <a:spcBef>
              <a:spcPct val="0"/>
            </a:spcBef>
            <a:spcAft>
              <a:spcPct val="35000"/>
            </a:spcAft>
            <a:buNone/>
          </a:pPr>
          <a:r>
            <a:rPr lang="en-GB" sz="1300" kern="1200"/>
            <a:t>Work in Progress</a:t>
          </a:r>
        </a:p>
      </dsp:txBody>
      <dsp:txXfrm>
        <a:off x="414836" y="1780671"/>
        <a:ext cx="639359" cy="556167"/>
      </dsp:txXfrm>
    </dsp:sp>
    <dsp:sp modelId="{52FF26D7-BD4D-4E6E-9F2F-42C3C7D492E0}">
      <dsp:nvSpPr>
        <dsp:cNvPr id="0" name=""/>
        <dsp:cNvSpPr/>
      </dsp:nvSpPr>
      <dsp:spPr>
        <a:xfrm>
          <a:off x="979416" y="1194124"/>
          <a:ext cx="149557" cy="14955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F62861-068A-4EA2-B7A2-75E584A63BCD}">
      <dsp:nvSpPr>
        <dsp:cNvPr id="0" name=""/>
        <dsp:cNvSpPr/>
      </dsp:nvSpPr>
      <dsp:spPr>
        <a:xfrm>
          <a:off x="1054195" y="1268903"/>
          <a:ext cx="785177" cy="1067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48" tIns="0" rIns="0" bIns="0" numCol="1" spcCol="1270" anchor="t" anchorCtr="0">
          <a:noAutofit/>
        </a:bodyPr>
        <a:lstStyle/>
        <a:p>
          <a:pPr marL="0" lvl="0" indent="0" algn="l" defTabSz="577850">
            <a:lnSpc>
              <a:spcPct val="90000"/>
            </a:lnSpc>
            <a:spcBef>
              <a:spcPct val="0"/>
            </a:spcBef>
            <a:spcAft>
              <a:spcPct val="35000"/>
            </a:spcAft>
            <a:buNone/>
          </a:pPr>
          <a:r>
            <a:rPr lang="en-GB" sz="1300" kern="1200"/>
            <a:t>Pending</a:t>
          </a:r>
        </a:p>
      </dsp:txBody>
      <dsp:txXfrm>
        <a:off x="1054195" y="1268903"/>
        <a:ext cx="785177" cy="1067935"/>
      </dsp:txXfrm>
    </dsp:sp>
    <dsp:sp modelId="{F40149BE-F1F5-4CD0-827C-D158C8E733C1}">
      <dsp:nvSpPr>
        <dsp:cNvPr id="0" name=""/>
        <dsp:cNvSpPr/>
      </dsp:nvSpPr>
      <dsp:spPr>
        <a:xfrm>
          <a:off x="1755247" y="793590"/>
          <a:ext cx="198163" cy="1981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1E6E01-6DEA-4DD0-98B6-BE49BCA7C734}">
      <dsp:nvSpPr>
        <dsp:cNvPr id="0" name=""/>
        <dsp:cNvSpPr/>
      </dsp:nvSpPr>
      <dsp:spPr>
        <a:xfrm>
          <a:off x="1854329" y="892672"/>
          <a:ext cx="785177" cy="14441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003" tIns="0" rIns="0" bIns="0" numCol="1" spcCol="1270" anchor="t" anchorCtr="0">
          <a:noAutofit/>
        </a:bodyPr>
        <a:lstStyle/>
        <a:p>
          <a:pPr marL="0" lvl="0" indent="0" algn="l" defTabSz="577850">
            <a:lnSpc>
              <a:spcPct val="90000"/>
            </a:lnSpc>
            <a:spcBef>
              <a:spcPct val="0"/>
            </a:spcBef>
            <a:spcAft>
              <a:spcPct val="35000"/>
            </a:spcAft>
            <a:buNone/>
          </a:pPr>
          <a:r>
            <a:rPr lang="en-GB" sz="1300" kern="1200"/>
            <a:t>Live</a:t>
          </a:r>
        </a:p>
      </dsp:txBody>
      <dsp:txXfrm>
        <a:off x="1854329" y="892672"/>
        <a:ext cx="785177" cy="1444166"/>
      </dsp:txXfrm>
    </dsp:sp>
    <dsp:sp modelId="{09D29B72-1513-4828-949A-276FE6D45D5F}">
      <dsp:nvSpPr>
        <dsp:cNvPr id="0" name=""/>
        <dsp:cNvSpPr/>
      </dsp:nvSpPr>
      <dsp:spPr>
        <a:xfrm>
          <a:off x="2600248" y="528592"/>
          <a:ext cx="265464" cy="2654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105FD-E140-4930-960E-404B66D13485}">
      <dsp:nvSpPr>
        <dsp:cNvPr id="0" name=""/>
        <dsp:cNvSpPr/>
      </dsp:nvSpPr>
      <dsp:spPr>
        <a:xfrm>
          <a:off x="2732980" y="661325"/>
          <a:ext cx="785177" cy="1675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664" tIns="0" rIns="0" bIns="0" numCol="1" spcCol="1270" anchor="t" anchorCtr="0">
          <a:noAutofit/>
        </a:bodyPr>
        <a:lstStyle/>
        <a:p>
          <a:pPr marL="0" lvl="0" indent="0" algn="l" defTabSz="577850">
            <a:lnSpc>
              <a:spcPct val="90000"/>
            </a:lnSpc>
            <a:spcBef>
              <a:spcPct val="0"/>
            </a:spcBef>
            <a:spcAft>
              <a:spcPct val="35000"/>
            </a:spcAft>
            <a:buNone/>
          </a:pPr>
          <a:r>
            <a:rPr lang="en-GB" sz="1300" kern="1200"/>
            <a:t>Historic</a:t>
          </a:r>
        </a:p>
      </dsp:txBody>
      <dsp:txXfrm>
        <a:off x="2732980" y="661325"/>
        <a:ext cx="785177" cy="1675513"/>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74F84AF-21D9-4C15-9164-B27A30D17C3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6A183C-C3C0-46F8-9CC1-B2DABE6D4C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A5D284-C396-4221-8A26-8237C4038298}" type="datetimeFigureOut">
              <a:rPr lang="en-US" smtClean="0"/>
              <a:t>1/28/2021</a:t>
            </a:fld>
            <a:endParaRPr lang="en-US"/>
          </a:p>
        </p:txBody>
      </p:sp>
      <p:sp>
        <p:nvSpPr>
          <p:cNvPr id="4" name="Footer Placeholder 3">
            <a:extLst>
              <a:ext uri="{FF2B5EF4-FFF2-40B4-BE49-F238E27FC236}">
                <a16:creationId xmlns:a16="http://schemas.microsoft.com/office/drawing/2014/main" id="{3FE7F56B-C40F-45BA-A2EB-8A9F442CF34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73F6ADC-F8D1-4859-A0FB-238997FA6D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5119683-88B5-4FBF-8175-961375720917}" type="slidenum">
              <a:rPr lang="en-US" smtClean="0"/>
              <a:t>‹#›</a:t>
            </a:fld>
            <a:endParaRPr lang="en-US"/>
          </a:p>
        </p:txBody>
      </p:sp>
    </p:spTree>
    <p:extLst>
      <p:ext uri="{BB962C8B-B14F-4D97-AF65-F5344CB8AC3E}">
        <p14:creationId xmlns:p14="http://schemas.microsoft.com/office/powerpoint/2010/main" val="27986928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FDB715-BF16-A346-B382-2140B9E6B749}" type="datetimeFigureOut">
              <a:rPr lang="en-US" smtClean="0"/>
              <a:t>1/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D3ABBB-FAAE-1F49-A076-3F43AB6B07C7}" type="slidenum">
              <a:rPr lang="en-US" smtClean="0"/>
              <a:t>‹#›</a:t>
            </a:fld>
            <a:endParaRPr lang="en-US"/>
          </a:p>
        </p:txBody>
      </p:sp>
    </p:spTree>
    <p:extLst>
      <p:ext uri="{BB962C8B-B14F-4D97-AF65-F5344CB8AC3E}">
        <p14:creationId xmlns:p14="http://schemas.microsoft.com/office/powerpoint/2010/main" val="1403507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29584">
              <a:defRPr/>
            </a:pPr>
            <a:fld id="{7BD3ABBB-FAAE-1F49-A076-3F43AB6B07C7}" type="slidenum">
              <a:rPr lang="en-US">
                <a:solidFill>
                  <a:prstClr val="black"/>
                </a:solidFill>
                <a:latin typeface="Calibri" panose="020F0502020204030204"/>
              </a:rPr>
              <a:pPr defTabSz="92958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225463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B10DF5-3CCB-4345-8280-E206B97037A6}" type="slidenum">
              <a:rPr lang="en-US"/>
              <a:pPr/>
              <a:t>5</a:t>
            </a:fld>
            <a:endParaRPr lang="en-US"/>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p:txBody>
          <a:bodyPr/>
          <a:lstStyle/>
          <a:p>
            <a:r>
              <a:rPr lang="en-US" dirty="0"/>
              <a:t>Review BY understanding of the current state</a:t>
            </a:r>
          </a:p>
        </p:txBody>
      </p:sp>
    </p:spTree>
    <p:extLst>
      <p:ext uri="{BB962C8B-B14F-4D97-AF65-F5344CB8AC3E}">
        <p14:creationId xmlns:p14="http://schemas.microsoft.com/office/powerpoint/2010/main" val="3436985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59AFB88-6EA5-4FD9-B7FA-9D47078D1319}" type="slidenum">
              <a:rPr lang="en-US"/>
              <a:pPr/>
              <a:t>6</a:t>
            </a:fld>
            <a:endParaRPr lang="en-US"/>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p:txBody>
          <a:bodyPr/>
          <a:lstStyle/>
          <a:p>
            <a:r>
              <a:rPr lang="en-US" dirty="0"/>
              <a:t>Review BY understanding of the current state</a:t>
            </a:r>
          </a:p>
          <a:p>
            <a:endParaRPr lang="en-US" dirty="0"/>
          </a:p>
        </p:txBody>
      </p:sp>
    </p:spTree>
    <p:extLst>
      <p:ext uri="{BB962C8B-B14F-4D97-AF65-F5344CB8AC3E}">
        <p14:creationId xmlns:p14="http://schemas.microsoft.com/office/powerpoint/2010/main" val="1630478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A9B79A-6B49-44F7-97B2-6F9FB3BFBF76}" type="slidenum">
              <a:rPr lang="en-US"/>
              <a:pPr/>
              <a:t>7</a:t>
            </a:fld>
            <a:endParaRPr lang="en-US"/>
          </a:p>
        </p:txBody>
      </p:sp>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p:txBody>
          <a:bodyPr/>
          <a:lstStyle/>
          <a:p>
            <a:r>
              <a:rPr lang="en-US" dirty="0"/>
              <a:t>Review BY understanding of the project</a:t>
            </a:r>
          </a:p>
        </p:txBody>
      </p:sp>
    </p:spTree>
    <p:extLst>
      <p:ext uri="{BB962C8B-B14F-4D97-AF65-F5344CB8AC3E}">
        <p14:creationId xmlns:p14="http://schemas.microsoft.com/office/powerpoint/2010/main" val="2906760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a:p>
            <a:r>
              <a:rPr lang="en-US" b="1" dirty="0"/>
              <a:t>Track talk: </a:t>
            </a:r>
          </a:p>
          <a:p>
            <a:r>
              <a:rPr lang="en-US" b="1" dirty="0"/>
              <a:t>This</a:t>
            </a:r>
            <a:r>
              <a:rPr lang="en-US" b="1" baseline="0" dirty="0"/>
              <a:t> is a journey, a partnership.  It is more than selling them a products but selling the strategy and the roadmap and understanding at what points they are at in the curve, how do we understand and move them to advanced capabilities.  We are not talking about dragging out sales cycles but engaging and enabling, then bringing along to the next phase in the roadmap and enabling greater opportunities and solutions to solve the next journey in their evolving business journey.  Emerging technology, emerging trends and how BY supports that journey with them.   Gartner indicated recently that there is a 60% positive ROI in Personalization technologies…we have them!</a:t>
            </a:r>
            <a:endParaRPr lang="en-US" b="1" dirty="0"/>
          </a:p>
          <a:p>
            <a:endParaRPr lang="en-US" b="1" dirty="0"/>
          </a:p>
          <a:p>
            <a:endParaRPr lang="en-US" b="1" dirty="0"/>
          </a:p>
          <a:p>
            <a:r>
              <a:rPr lang="en-US" b="1" dirty="0"/>
              <a:t>Fundamental</a:t>
            </a:r>
            <a:r>
              <a:rPr lang="en-US" dirty="0"/>
              <a:t> – Planogram builders, one-size</a:t>
            </a:r>
            <a:r>
              <a:rPr lang="en-US" baseline="0" dirty="0"/>
              <a:t> fits all</a:t>
            </a:r>
            <a:endParaRPr lang="en-US" dirty="0"/>
          </a:p>
          <a:p>
            <a:r>
              <a:rPr lang="en-US" b="1" dirty="0"/>
              <a:t>Discipline</a:t>
            </a:r>
            <a:r>
              <a:rPr lang="en-US" dirty="0"/>
              <a:t> – Centralized,</a:t>
            </a:r>
            <a:r>
              <a:rPr lang="en-US" baseline="0" dirty="0"/>
              <a:t> knowledge base and i</a:t>
            </a:r>
            <a:r>
              <a:rPr lang="en-US" dirty="0"/>
              <a:t>ntegrations, process and organizational</a:t>
            </a:r>
            <a:r>
              <a:rPr lang="en-US" baseline="0" dirty="0"/>
              <a:t> efficiency</a:t>
            </a:r>
          </a:p>
          <a:p>
            <a:r>
              <a:rPr lang="en-US" b="1" baseline="0" dirty="0"/>
              <a:t>Personalize</a:t>
            </a:r>
            <a:r>
              <a:rPr lang="en-US" baseline="0" dirty="0"/>
              <a:t> – Customer segments and targeted localization, based on POS history</a:t>
            </a:r>
          </a:p>
          <a:p>
            <a:r>
              <a:rPr lang="en-US" b="1" baseline="0" dirty="0"/>
              <a:t>Collaborate</a:t>
            </a:r>
            <a:r>
              <a:rPr lang="en-US" baseline="0" dirty="0"/>
              <a:t>  - Anticipate</a:t>
            </a:r>
            <a:r>
              <a:rPr lang="en-US" dirty="0"/>
              <a:t> consumer trends, </a:t>
            </a:r>
            <a:r>
              <a:rPr lang="en-US" baseline="0" dirty="0"/>
              <a:t>Joint business planning, including pricing, revenue, promotion, inventory</a:t>
            </a:r>
          </a:p>
          <a:p>
            <a:r>
              <a:rPr lang="en-US" b="1" baseline="0" dirty="0"/>
              <a:t>Continuous</a:t>
            </a:r>
            <a:r>
              <a:rPr lang="en-US" baseline="0" dirty="0"/>
              <a:t> - Continuous category management, heads-up to forecasted sub-optimal assortments and space plans, </a:t>
            </a:r>
            <a:r>
              <a:rPr lang="en-US" dirty="0">
                <a:cs typeface="Times New Roman" panose="02020603050405020304" pitchFamily="18" charset="0"/>
              </a:rPr>
              <a:t>enable faster response to changing conditions </a:t>
            </a:r>
          </a:p>
          <a:p>
            <a:r>
              <a:rPr lang="en-US" b="1" baseline="0" dirty="0"/>
              <a:t>New &amp; Emerging </a:t>
            </a:r>
            <a:r>
              <a:rPr lang="en-US" baseline="0" dirty="0"/>
              <a:t>– </a:t>
            </a:r>
            <a:r>
              <a:rPr lang="en-US" dirty="0"/>
              <a:t>(Big data, Omni-channel, Optimized) Increased insights to customer sentiment – purchase/fulfill my way, improve predictability and optimize performance,</a:t>
            </a:r>
            <a:r>
              <a:rPr lang="en-US" dirty="0">
                <a:cs typeface="Times New Roman" panose="02020603050405020304" pitchFamily="18" charset="0"/>
              </a:rPr>
              <a:t> drive brand loyalty and sales higher, </a:t>
            </a:r>
            <a:r>
              <a:rPr lang="en-US" dirty="0"/>
              <a:t>increase share</a:t>
            </a:r>
          </a:p>
        </p:txBody>
      </p:sp>
      <p:sp>
        <p:nvSpPr>
          <p:cNvPr id="4" name="Slide Number Placeholder 3"/>
          <p:cNvSpPr>
            <a:spLocks noGrp="1"/>
          </p:cNvSpPr>
          <p:nvPr>
            <p:ph type="sldNum" sz="quarter" idx="10"/>
          </p:nvPr>
        </p:nvSpPr>
        <p:spPr/>
        <p:txBody>
          <a:bodyPr/>
          <a:lstStyle/>
          <a:p>
            <a:pPr marL="0" marR="0" lvl="0" indent="0" algn="r" defTabSz="930275" rtl="0" eaLnBrk="1" fontAlgn="base" latinLnBrk="0" hangingPunct="1">
              <a:lnSpc>
                <a:spcPct val="100000"/>
              </a:lnSpc>
              <a:spcBef>
                <a:spcPct val="0"/>
              </a:spcBef>
              <a:spcAft>
                <a:spcPct val="0"/>
              </a:spcAft>
              <a:buClrTx/>
              <a:buSzTx/>
              <a:buFontTx/>
              <a:buNone/>
              <a:tabLst/>
              <a:defRPr/>
            </a:pPr>
            <a:fld id="{CBB0C7A9-CC1D-4E34-A6FE-C14591FD505B}" type="slidenum">
              <a:rPr kumimoji="0" lang="en-US" sz="1200" b="0" i="0" u="none" strike="noStrike" kern="1200" cap="none" spc="0" normalizeH="0" baseline="0" noProof="0" smtClean="0">
                <a:ln>
                  <a:noFill/>
                </a:ln>
                <a:solidFill>
                  <a:srgbClr val="000000"/>
                </a:solidFill>
                <a:effectLst/>
                <a:uLnTx/>
                <a:uFillTx/>
                <a:latin typeface="Times New Roman" pitchFamily="-105" charset="0"/>
                <a:ea typeface="ＭＳ Ｐゴシック" pitchFamily="-105" charset="-128"/>
              </a:rPr>
              <a:pPr marL="0" marR="0" lvl="0" indent="0" algn="r" defTabSz="930275"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Times New Roman" pitchFamily="-105" charset="0"/>
              <a:ea typeface="ＭＳ Ｐゴシック" pitchFamily="-105" charset="-128"/>
            </a:endParaRPr>
          </a:p>
        </p:txBody>
      </p:sp>
    </p:spTree>
    <p:extLst>
      <p:ext uri="{BB962C8B-B14F-4D97-AF65-F5344CB8AC3E}">
        <p14:creationId xmlns:p14="http://schemas.microsoft.com/office/powerpoint/2010/main" val="1757309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p>
            <a:fld id="{4B4904C6-D1C6-4B92-89E7-86E272E83D19}" type="slidenum">
              <a:rPr lang="en-US" smtClean="0">
                <a:solidFill>
                  <a:prstClr val="black"/>
                </a:solidFill>
                <a:latin typeface="Arial" pitchFamily="34" charset="0"/>
              </a:rPr>
              <a:pPr/>
              <a:t>16</a:t>
            </a:fld>
            <a:endParaRPr lang="en-US" dirty="0">
              <a:solidFill>
                <a:prstClr val="black"/>
              </a:solidFill>
              <a:latin typeface="Arial" pitchFamily="34"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w="9525"/>
        </p:spPr>
        <p:txBody>
          <a:bodyPr/>
          <a:lstStyle/>
          <a:p>
            <a:pPr eaLnBrk="1" hangingPunct="1"/>
            <a:r>
              <a:rPr lang="en-US" dirty="0">
                <a:latin typeface="Arial" pitchFamily="34" charset="0"/>
              </a:rPr>
              <a:t>Phase 1 through</a:t>
            </a:r>
            <a:r>
              <a:rPr lang="en-US" baseline="0" dirty="0">
                <a:latin typeface="Arial" pitchFamily="34" charset="0"/>
              </a:rPr>
              <a:t> 3 is known as the Pre-Work phase</a:t>
            </a:r>
          </a:p>
          <a:p>
            <a:pPr marL="228555" indent="-228555">
              <a:spcBef>
                <a:spcPct val="45000"/>
              </a:spcBef>
              <a:buClr>
                <a:srgbClr val="000099"/>
              </a:buClr>
              <a:buBlip>
                <a:blip r:embed="rId3"/>
              </a:buBlip>
              <a:tabLst>
                <a:tab pos="7707423" algn="r"/>
              </a:tabLst>
              <a:defRPr/>
            </a:pPr>
            <a:r>
              <a:rPr lang="en-US" dirty="0"/>
              <a:t>Phase 1:  Discovery Process</a:t>
            </a:r>
          </a:p>
          <a:p>
            <a:pPr marL="685669" lvl="1" indent="-395212">
              <a:tabLst>
                <a:tab pos="7707423" algn="r"/>
              </a:tabLst>
              <a:defRPr/>
            </a:pPr>
            <a:r>
              <a:rPr lang="en-US" dirty="0"/>
              <a:t>Scope Document </a:t>
            </a:r>
          </a:p>
          <a:p>
            <a:pPr marL="685669" lvl="1" indent="-395212">
              <a:spcBef>
                <a:spcPct val="45000"/>
              </a:spcBef>
              <a:tabLst>
                <a:tab pos="7707423" algn="r"/>
              </a:tabLst>
              <a:defRPr/>
            </a:pPr>
            <a:r>
              <a:rPr lang="en-US" dirty="0"/>
              <a:t>Project Timeline and Expectations</a:t>
            </a:r>
          </a:p>
          <a:p>
            <a:pPr marL="685669" lvl="1" indent="-395212">
              <a:spcBef>
                <a:spcPct val="45000"/>
              </a:spcBef>
              <a:tabLst>
                <a:tab pos="7707423" algn="r"/>
              </a:tabLst>
              <a:defRPr/>
            </a:pPr>
            <a:r>
              <a:rPr lang="en-US" dirty="0"/>
              <a:t>Project Checklist</a:t>
            </a:r>
          </a:p>
          <a:p>
            <a:pPr marL="685669" lvl="1" indent="-395212">
              <a:tabLst>
                <a:tab pos="7707423" algn="r"/>
              </a:tabLst>
              <a:defRPr/>
            </a:pPr>
            <a:r>
              <a:rPr lang="en-US" dirty="0"/>
              <a:t>Project Pre-work</a:t>
            </a:r>
          </a:p>
          <a:p>
            <a:pPr marL="685669" lvl="1" indent="-395212">
              <a:tabLst>
                <a:tab pos="7707423" algn="r"/>
              </a:tabLst>
              <a:defRPr/>
            </a:pPr>
            <a:endParaRPr lang="en-US" dirty="0">
              <a:latin typeface="Arial" pitchFamily="34" charset="0"/>
            </a:endParaRPr>
          </a:p>
          <a:p>
            <a:pPr marL="228555" indent="-228555">
              <a:spcBef>
                <a:spcPct val="20000"/>
              </a:spcBef>
              <a:buClr>
                <a:schemeClr val="tx2"/>
              </a:buClr>
              <a:buBlip>
                <a:blip r:embed="rId3"/>
              </a:buBlip>
              <a:tabLst>
                <a:tab pos="7707423" algn="r"/>
              </a:tabLst>
            </a:pPr>
            <a:r>
              <a:rPr lang="en-US" sz="1800" dirty="0">
                <a:latin typeface="Myriad Pro"/>
              </a:rPr>
              <a:t>Phase 2:  Assortment Process</a:t>
            </a:r>
          </a:p>
          <a:p>
            <a:pPr marL="685669" lvl="1" indent="-222208">
              <a:spcBef>
                <a:spcPct val="20000"/>
              </a:spcBef>
              <a:buClr>
                <a:schemeClr val="tx2"/>
              </a:buClr>
              <a:buFont typeface="Arial" pitchFamily="34" charset="0"/>
              <a:buChar char="-"/>
              <a:tabLst>
                <a:tab pos="7707423" algn="r"/>
              </a:tabLst>
            </a:pPr>
            <a:r>
              <a:rPr lang="en-US" sz="1800" dirty="0">
                <a:latin typeface="Myriad Pro"/>
              </a:rPr>
              <a:t>Identify assortment opportunity using DPS assortment tools (Rich Mix) </a:t>
            </a:r>
          </a:p>
          <a:p>
            <a:pPr marL="685669" lvl="1" indent="-222208">
              <a:spcBef>
                <a:spcPct val="20000"/>
              </a:spcBef>
              <a:buClr>
                <a:schemeClr val="tx2"/>
              </a:buClr>
              <a:buFont typeface="Arial" pitchFamily="34" charset="0"/>
              <a:buChar char="-"/>
              <a:tabLst>
                <a:tab pos="7707423" algn="r"/>
              </a:tabLst>
            </a:pPr>
            <a:r>
              <a:rPr lang="en-US" sz="1800" dirty="0">
                <a:latin typeface="Myriad Pro"/>
              </a:rPr>
              <a:t>New Item Process</a:t>
            </a:r>
          </a:p>
          <a:p>
            <a:pPr marL="685669" lvl="1" indent="-395212">
              <a:tabLst>
                <a:tab pos="7707423" algn="r"/>
              </a:tabLst>
              <a:defRPr/>
            </a:pPr>
            <a:endParaRPr lang="en-US" dirty="0">
              <a:latin typeface="Arial" pitchFamily="34" charset="0"/>
            </a:endParaRPr>
          </a:p>
        </p:txBody>
      </p:sp>
    </p:spTree>
    <p:extLst>
      <p:ext uri="{BB962C8B-B14F-4D97-AF65-F5344CB8AC3E}">
        <p14:creationId xmlns:p14="http://schemas.microsoft.com/office/powerpoint/2010/main" val="2323672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CA" dirty="0"/>
              <a:t>Understand this model and you understand 80% of IKB (think 80/20 rule)</a:t>
            </a:r>
          </a:p>
          <a:p>
            <a:pPr>
              <a:buFontTx/>
              <a:buChar char="-"/>
            </a:pPr>
            <a:r>
              <a:rPr lang="en-CA" dirty="0"/>
              <a:t>Governs business process as well as report building and application interaction</a:t>
            </a:r>
          </a:p>
          <a:p>
            <a:pPr>
              <a:buFontTx/>
              <a:buChar char="-"/>
            </a:pPr>
            <a:r>
              <a:rPr lang="en-CA" dirty="0"/>
              <a:t>Identify differences between performance objects and position/section objects</a:t>
            </a:r>
          </a:p>
          <a:p>
            <a:endParaRPr lang="en-US" dirty="0"/>
          </a:p>
        </p:txBody>
      </p:sp>
      <p:sp>
        <p:nvSpPr>
          <p:cNvPr id="4" name="Slide Number Placeholder 3"/>
          <p:cNvSpPr>
            <a:spLocks noGrp="1"/>
          </p:cNvSpPr>
          <p:nvPr>
            <p:ph type="sldNum" sz="quarter" idx="10"/>
          </p:nvPr>
        </p:nvSpPr>
        <p:spPr/>
        <p:txBody>
          <a:bodyPr/>
          <a:lstStyle/>
          <a:p>
            <a:fld id="{D7F35A51-5A73-9F4F-ADB9-8889740432DE}" type="slidenum">
              <a:rPr lang="en-US" smtClean="0"/>
              <a:t>17</a:t>
            </a:fld>
            <a:endParaRPr lang="en-US" dirty="0"/>
          </a:p>
        </p:txBody>
      </p:sp>
    </p:spTree>
    <p:extLst>
      <p:ext uri="{BB962C8B-B14F-4D97-AF65-F5344CB8AC3E}">
        <p14:creationId xmlns:p14="http://schemas.microsoft.com/office/powerpoint/2010/main" val="139465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What sets us apart…</a:t>
            </a:r>
          </a:p>
          <a:p>
            <a:r>
              <a:rPr lang="en-US" sz="1800" dirty="0"/>
              <a:t>We focus on days of supply methodology</a:t>
            </a:r>
            <a:r>
              <a:rPr lang="en-US" sz="1800" baseline="0" dirty="0"/>
              <a:t> vs traditional space to sales analysis</a:t>
            </a:r>
          </a:p>
          <a:p>
            <a:r>
              <a:rPr lang="en-US" sz="1800" baseline="0" dirty="0"/>
              <a:t>Inventory Dollars – importance of increasing turns</a:t>
            </a:r>
          </a:p>
          <a:p>
            <a:r>
              <a:rPr lang="en-US" sz="1800" baseline="0" dirty="0"/>
              <a:t>**Financial Advantage of increasing cash flow with increased turns, reducing inventory</a:t>
            </a:r>
          </a:p>
          <a:p>
            <a:r>
              <a:rPr lang="en-US" sz="1800" baseline="0" dirty="0"/>
              <a:t>Not just about optimizing the space</a:t>
            </a:r>
          </a:p>
        </p:txBody>
      </p:sp>
      <p:sp>
        <p:nvSpPr>
          <p:cNvPr id="4" name="Slide Number Placeholder 3"/>
          <p:cNvSpPr>
            <a:spLocks noGrp="1"/>
          </p:cNvSpPr>
          <p:nvPr>
            <p:ph type="sldNum" sz="quarter" idx="10"/>
          </p:nvPr>
        </p:nvSpPr>
        <p:spPr/>
        <p:txBody>
          <a:bodyPr/>
          <a:lstStyle/>
          <a:p>
            <a:fld id="{D7F35A51-5A73-9F4F-ADB9-8889740432DE}" type="slidenum">
              <a:rPr lang="en-US" smtClean="0"/>
              <a:t>24</a:t>
            </a:fld>
            <a:endParaRPr lang="en-US" dirty="0"/>
          </a:p>
        </p:txBody>
      </p:sp>
    </p:spTree>
    <p:extLst>
      <p:ext uri="{BB962C8B-B14F-4D97-AF65-F5344CB8AC3E}">
        <p14:creationId xmlns:p14="http://schemas.microsoft.com/office/powerpoint/2010/main" val="292175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4515" y="1847088"/>
            <a:ext cx="11005118" cy="4297680"/>
          </a:xfrm>
          <a:prstGeom prst="rect">
            <a:avLst/>
          </a:prstGeom>
        </p:spPr>
        <p:txBody>
          <a:bodyPr vert="horz" lIns="0" tIns="45720" rIns="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a:extLst>
              <a:ext uri="{FF2B5EF4-FFF2-40B4-BE49-F238E27FC236}">
                <a16:creationId xmlns:a16="http://schemas.microsoft.com/office/drawing/2014/main" id="{F0C21AFE-997D-CD4C-B4E4-B031DEAFAE84}"/>
              </a:ext>
            </a:extLst>
          </p:cNvPr>
          <p:cNvSpPr>
            <a:spLocks noGrp="1"/>
          </p:cNvSpPr>
          <p:nvPr>
            <p:ph type="sldNum" sz="quarter" idx="10"/>
          </p:nvPr>
        </p:nvSpPr>
        <p:spPr/>
        <p:txBody>
          <a:bodyPr/>
          <a:lstStyle/>
          <a:p>
            <a:fld id="{523A240F-EAFE-E84F-B44C-6D7A08E0E409}" type="slidenum">
              <a:rPr lang="en-US" smtClean="0"/>
              <a:t>‹#›</a:t>
            </a:fld>
            <a:endParaRPr lang="en-US"/>
          </a:p>
        </p:txBody>
      </p:sp>
      <p:sp>
        <p:nvSpPr>
          <p:cNvPr id="7" name="Title 6">
            <a:extLst>
              <a:ext uri="{FF2B5EF4-FFF2-40B4-BE49-F238E27FC236}">
                <a16:creationId xmlns:a16="http://schemas.microsoft.com/office/drawing/2014/main" id="{CDD07094-7AEC-EC42-A494-EC2FD0C187C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47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CC18E0B5-829F-DA4D-A88F-F79010E86195}"/>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6" name="TextBox 5">
            <a:extLst>
              <a:ext uri="{FF2B5EF4-FFF2-40B4-BE49-F238E27FC236}">
                <a16:creationId xmlns:a16="http://schemas.microsoft.com/office/drawing/2014/main" id="{8244AC0E-6C14-4C5D-8A0F-A7E713DB589C}"/>
              </a:ext>
            </a:extLst>
          </p:cNvPr>
          <p:cNvSpPr txBox="1"/>
          <p:nvPr userDrawn="1"/>
        </p:nvSpPr>
        <p:spPr>
          <a:xfrm>
            <a:off x="1058789" y="6627168"/>
            <a:ext cx="2435916" cy="230832"/>
          </a:xfrm>
          <a:prstGeom prst="rect">
            <a:avLst/>
          </a:prstGeom>
        </p:spPr>
        <p:txBody>
          <a:bodyPr lIns="0" rIns="0"/>
          <a:lstStyle>
            <a:defPPr>
              <a:defRPr lang="en-US"/>
            </a:defPPr>
            <a:lvl1pPr algn="r">
              <a:defRPr sz="900"/>
            </a:lvl1pPr>
          </a:lstStyle>
          <a:p>
            <a:pPr lvl="0" algn="l"/>
            <a:r>
              <a:rPr lang="en-US" sz="800">
                <a:solidFill>
                  <a:schemeClr val="bg1"/>
                </a:solidFill>
              </a:rPr>
              <a:t>Copyright © 2020 Blue Yonder Group, Inc.</a:t>
            </a:r>
            <a:endParaRPr lang="en-US" sz="800" dirty="0">
              <a:solidFill>
                <a:schemeClr val="bg1"/>
              </a:solidFill>
            </a:endParaRPr>
          </a:p>
        </p:txBody>
      </p:sp>
    </p:spTree>
    <p:extLst>
      <p:ext uri="{BB962C8B-B14F-4D97-AF65-F5344CB8AC3E}">
        <p14:creationId xmlns:p14="http://schemas.microsoft.com/office/powerpoint/2010/main" val="61752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Divider Blue Dot">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computer, large, table, laptop&#10;&#10;Description automatically generated">
            <a:extLst>
              <a:ext uri="{FF2B5EF4-FFF2-40B4-BE49-F238E27FC236}">
                <a16:creationId xmlns:a16="http://schemas.microsoft.com/office/drawing/2014/main" id="{B7486139-07EA-3240-855D-576BAACEB66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93"/>
            <a:ext cx="12192000" cy="6856214"/>
          </a:xfrm>
          <a:prstGeom prst="rect">
            <a:avLst/>
          </a:prstGeom>
        </p:spPr>
      </p:pic>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tx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67829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Divider Dark Blue Dot">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able&#10;&#10;Description automatically generated">
            <a:extLst>
              <a:ext uri="{FF2B5EF4-FFF2-40B4-BE49-F238E27FC236}">
                <a16:creationId xmlns:a16="http://schemas.microsoft.com/office/drawing/2014/main" id="{8DF0B7C2-15AA-5740-AB3B-BB7CF644B79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93"/>
            <a:ext cx="12192000" cy="6856214"/>
          </a:xfrm>
          <a:prstGeom prst="rect">
            <a:avLst/>
          </a:prstGeom>
        </p:spPr>
      </p:pic>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tx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7030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Divider Green Dot">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white, large, door, light&#10;&#10;Description automatically generated">
            <a:extLst>
              <a:ext uri="{FF2B5EF4-FFF2-40B4-BE49-F238E27FC236}">
                <a16:creationId xmlns:a16="http://schemas.microsoft.com/office/drawing/2014/main" id="{3569A233-FBD0-2641-AFC7-B51A3CF194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93"/>
            <a:ext cx="12192000" cy="6856214"/>
          </a:xfrm>
          <a:prstGeom prst="rect">
            <a:avLst/>
          </a:prstGeom>
        </p:spPr>
      </p:pic>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tx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149888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tx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361311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Divider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bg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269639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A9383D3-14F5-E845-A85C-02CABD2A4C89}"/>
              </a:ext>
            </a:extLst>
          </p:cNvPr>
          <p:cNvSpPr>
            <a:spLocks noGrp="1"/>
          </p:cNvSpPr>
          <p:nvPr>
            <p:ph type="pic" sz="quarter" idx="10" hasCustomPrompt="1"/>
          </p:nvPr>
        </p:nvSpPr>
        <p:spPr>
          <a:xfrm>
            <a:off x="-1" y="0"/>
            <a:ext cx="12192000" cy="6858000"/>
          </a:xfrm>
          <a:solidFill>
            <a:schemeClr val="bg1">
              <a:lumMod val="95000"/>
            </a:schemeClr>
          </a:solidFill>
        </p:spPr>
        <p:txBody>
          <a:bodyPr/>
          <a:lstStyle>
            <a:lvl1pPr marL="0" indent="0" algn="ctr">
              <a:buNone/>
              <a:defRPr sz="1400">
                <a:solidFill>
                  <a:srgbClr val="FF0000"/>
                </a:solidFill>
              </a:defRPr>
            </a:lvl1pPr>
          </a:lstStyle>
          <a:p>
            <a:r>
              <a:rPr lang="en-US" dirty="0"/>
              <a:t>Select picture placeholder and bring to front. Click on icon to add picture. Once picture is formatted send to back.</a:t>
            </a:r>
          </a:p>
        </p:txBody>
      </p:sp>
      <p:sp>
        <p:nvSpPr>
          <p:cNvPr id="2" name="Title 1"/>
          <p:cNvSpPr>
            <a:spLocks noGrp="1"/>
          </p:cNvSpPr>
          <p:nvPr>
            <p:ph type="title" hasCustomPrompt="1"/>
          </p:nvPr>
        </p:nvSpPr>
        <p:spPr>
          <a:xfrm>
            <a:off x="626129" y="2442491"/>
            <a:ext cx="5948218" cy="1554480"/>
          </a:xfrm>
        </p:spPr>
        <p:txBody>
          <a:bodyPr anchor="t"/>
          <a:lstStyle>
            <a:lvl1pPr algn="l">
              <a:lnSpc>
                <a:spcPct val="90000"/>
              </a:lnSpc>
              <a:defRPr sz="5000" b="1" cap="none">
                <a:solidFill>
                  <a:schemeClr val="bg1"/>
                </a:solidFill>
              </a:defRPr>
            </a:lvl1pPr>
          </a:lstStyle>
          <a:p>
            <a:r>
              <a:rPr lang="en-US" dirty="0"/>
              <a:t>Click to edit divider</a:t>
            </a:r>
          </a:p>
        </p:txBody>
      </p:sp>
      <p:sp>
        <p:nvSpPr>
          <p:cNvPr id="3" name="Text Placeholder 2"/>
          <p:cNvSpPr>
            <a:spLocks noGrp="1"/>
          </p:cNvSpPr>
          <p:nvPr>
            <p:ph type="body" idx="1" hasCustomPrompt="1"/>
          </p:nvPr>
        </p:nvSpPr>
        <p:spPr>
          <a:xfrm>
            <a:off x="626129" y="4155711"/>
            <a:ext cx="5948218" cy="1092936"/>
          </a:xfrm>
          <a:prstGeom prst="rect">
            <a:avLst/>
          </a:prstGeom>
        </p:spPr>
        <p:txBody>
          <a:bodyPr tIns="0" bIns="0" anchor="t"/>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ubtitle</a:t>
            </a:r>
          </a:p>
        </p:txBody>
      </p:sp>
    </p:spTree>
    <p:extLst>
      <p:ext uri="{BB962C8B-B14F-4D97-AF65-F5344CB8AC3E}">
        <p14:creationId xmlns:p14="http://schemas.microsoft.com/office/powerpoint/2010/main" val="285078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9361" y="1882090"/>
            <a:ext cx="6402467" cy="2211358"/>
          </a:xfrm>
        </p:spPr>
        <p:txBody>
          <a:bodyPr anchor="t"/>
          <a:lstStyle>
            <a:lvl1pPr algn="l">
              <a:lnSpc>
                <a:spcPct val="100000"/>
              </a:lnSpc>
              <a:defRPr sz="4400" b="1" cap="none">
                <a:solidFill>
                  <a:schemeClr val="accent2"/>
                </a:solidFill>
              </a:defRPr>
            </a:lvl1pPr>
          </a:lstStyle>
          <a:p>
            <a:r>
              <a:rPr lang="en-US" dirty="0"/>
              <a:t>Click to edit divider</a:t>
            </a:r>
          </a:p>
        </p:txBody>
      </p:sp>
      <p:sp>
        <p:nvSpPr>
          <p:cNvPr id="3" name="Text Placeholder 2"/>
          <p:cNvSpPr>
            <a:spLocks noGrp="1"/>
          </p:cNvSpPr>
          <p:nvPr>
            <p:ph type="body" idx="1" hasCustomPrompt="1"/>
          </p:nvPr>
        </p:nvSpPr>
        <p:spPr>
          <a:xfrm>
            <a:off x="2719361" y="4326523"/>
            <a:ext cx="6402467" cy="922124"/>
          </a:xfrm>
          <a:prstGeom prst="rect">
            <a:avLst/>
          </a:prstGeom>
        </p:spPr>
        <p:txBody>
          <a:bodyPr tIns="0" bIns="0" anchor="t"/>
          <a:lstStyle>
            <a:lvl1pPr marL="171450" indent="-171450">
              <a:buClrTx/>
              <a:buFont typeface="System Font Regular"/>
              <a:buChar char="–"/>
              <a:tabLst/>
              <a:defRPr sz="2000" b="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quote source</a:t>
            </a:r>
          </a:p>
        </p:txBody>
      </p:sp>
      <p:sp>
        <p:nvSpPr>
          <p:cNvPr id="6" name="Slide Number Placeholder 5">
            <a:extLst>
              <a:ext uri="{FF2B5EF4-FFF2-40B4-BE49-F238E27FC236}">
                <a16:creationId xmlns:a16="http://schemas.microsoft.com/office/drawing/2014/main" id="{057840A2-84A7-604C-9296-20A7C350D7B6}"/>
              </a:ext>
            </a:extLst>
          </p:cNvPr>
          <p:cNvSpPr>
            <a:spLocks noGrp="1"/>
          </p:cNvSpPr>
          <p:nvPr>
            <p:ph type="sldNum" sz="quarter" idx="10"/>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273350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Quote Cya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9361" y="1882090"/>
            <a:ext cx="6402467" cy="2211358"/>
          </a:xfrm>
        </p:spPr>
        <p:txBody>
          <a:bodyPr anchor="t"/>
          <a:lstStyle>
            <a:lvl1pPr algn="l">
              <a:lnSpc>
                <a:spcPct val="100000"/>
              </a:lnSpc>
              <a:defRPr sz="4400" b="1" cap="none">
                <a:solidFill>
                  <a:schemeClr val="accent2"/>
                </a:solidFill>
              </a:defRPr>
            </a:lvl1pPr>
          </a:lstStyle>
          <a:p>
            <a:r>
              <a:rPr lang="en-US" dirty="0"/>
              <a:t>Click to edit divider</a:t>
            </a:r>
          </a:p>
        </p:txBody>
      </p:sp>
      <p:sp>
        <p:nvSpPr>
          <p:cNvPr id="3" name="Text Placeholder 2"/>
          <p:cNvSpPr>
            <a:spLocks noGrp="1"/>
          </p:cNvSpPr>
          <p:nvPr>
            <p:ph type="body" idx="1" hasCustomPrompt="1"/>
          </p:nvPr>
        </p:nvSpPr>
        <p:spPr>
          <a:xfrm>
            <a:off x="2719361" y="4326523"/>
            <a:ext cx="6402467" cy="922124"/>
          </a:xfrm>
          <a:prstGeom prst="rect">
            <a:avLst/>
          </a:prstGeom>
        </p:spPr>
        <p:txBody>
          <a:bodyPr tIns="0" bIns="0" anchor="t"/>
          <a:lstStyle>
            <a:lvl1pPr marL="171450" indent="-171450">
              <a:buClrTx/>
              <a:buFont typeface="System Font Regular"/>
              <a:buChar char="–"/>
              <a:tabLst/>
              <a:defRPr sz="2000" b="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quote source</a:t>
            </a:r>
          </a:p>
        </p:txBody>
      </p:sp>
      <p:sp>
        <p:nvSpPr>
          <p:cNvPr id="6" name="Slide Number Placeholder 5">
            <a:extLst>
              <a:ext uri="{FF2B5EF4-FFF2-40B4-BE49-F238E27FC236}">
                <a16:creationId xmlns:a16="http://schemas.microsoft.com/office/drawing/2014/main" id="{057840A2-84A7-604C-9296-20A7C350D7B6}"/>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Freeform 8">
            <a:extLst>
              <a:ext uri="{FF2B5EF4-FFF2-40B4-BE49-F238E27FC236}">
                <a16:creationId xmlns:a16="http://schemas.microsoft.com/office/drawing/2014/main" id="{B3FE2378-500F-409D-984A-EF61A67FCCE4}"/>
              </a:ext>
            </a:extLst>
          </p:cNvPr>
          <p:cNvSpPr>
            <a:spLocks noEditPoints="1"/>
          </p:cNvSpPr>
          <p:nvPr userDrawn="1"/>
        </p:nvSpPr>
        <p:spPr bwMode="auto">
          <a:xfrm>
            <a:off x="456072" y="6349220"/>
            <a:ext cx="419302" cy="420625"/>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Box 7">
            <a:extLst>
              <a:ext uri="{FF2B5EF4-FFF2-40B4-BE49-F238E27FC236}">
                <a16:creationId xmlns:a16="http://schemas.microsoft.com/office/drawing/2014/main" id="{A0F49061-B070-4D1D-A9D6-66AC06DE9DB5}"/>
              </a:ext>
            </a:extLst>
          </p:cNvPr>
          <p:cNvSpPr txBox="1"/>
          <p:nvPr userDrawn="1"/>
        </p:nvSpPr>
        <p:spPr>
          <a:xfrm>
            <a:off x="1058789" y="6627168"/>
            <a:ext cx="2435916" cy="230832"/>
          </a:xfrm>
          <a:prstGeom prst="rect">
            <a:avLst/>
          </a:prstGeom>
        </p:spPr>
        <p:txBody>
          <a:bodyPr lIns="0" rIns="0"/>
          <a:lstStyle>
            <a:defPPr>
              <a:defRPr lang="en-US"/>
            </a:defPPr>
            <a:lvl1pPr algn="r">
              <a:defRPr sz="900"/>
            </a:lvl1pPr>
          </a:lstStyle>
          <a:p>
            <a:pPr lvl="0" algn="l"/>
            <a:r>
              <a:rPr lang="en-US" sz="800">
                <a:solidFill>
                  <a:schemeClr val="bg1"/>
                </a:solidFill>
              </a:rPr>
              <a:t>Copyright © 2020 Blue Yonder Group, Inc.</a:t>
            </a:r>
            <a:endParaRPr lang="en-US" sz="800" dirty="0">
              <a:solidFill>
                <a:schemeClr val="bg1"/>
              </a:solidFill>
            </a:endParaRPr>
          </a:p>
        </p:txBody>
      </p:sp>
    </p:spTree>
    <p:extLst>
      <p:ext uri="{BB962C8B-B14F-4D97-AF65-F5344CB8AC3E}">
        <p14:creationId xmlns:p14="http://schemas.microsoft.com/office/powerpoint/2010/main" val="3959823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Quote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19361" y="1882090"/>
            <a:ext cx="6402467" cy="2211358"/>
          </a:xfrm>
        </p:spPr>
        <p:txBody>
          <a:bodyPr anchor="t"/>
          <a:lstStyle>
            <a:lvl1pPr algn="l">
              <a:lnSpc>
                <a:spcPct val="100000"/>
              </a:lnSpc>
              <a:defRPr sz="4400" b="1" cap="none">
                <a:solidFill>
                  <a:schemeClr val="bg1"/>
                </a:solidFill>
              </a:defRPr>
            </a:lvl1pPr>
          </a:lstStyle>
          <a:p>
            <a:r>
              <a:rPr lang="en-US" dirty="0"/>
              <a:t>Click to edit divider</a:t>
            </a:r>
          </a:p>
        </p:txBody>
      </p:sp>
      <p:sp>
        <p:nvSpPr>
          <p:cNvPr id="3" name="Text Placeholder 2"/>
          <p:cNvSpPr>
            <a:spLocks noGrp="1"/>
          </p:cNvSpPr>
          <p:nvPr>
            <p:ph type="body" idx="1" hasCustomPrompt="1"/>
          </p:nvPr>
        </p:nvSpPr>
        <p:spPr>
          <a:xfrm>
            <a:off x="2719361" y="4326523"/>
            <a:ext cx="6402467" cy="922124"/>
          </a:xfrm>
          <a:prstGeom prst="rect">
            <a:avLst/>
          </a:prstGeom>
        </p:spPr>
        <p:txBody>
          <a:bodyPr tIns="0" bIns="0" anchor="t"/>
          <a:lstStyle>
            <a:lvl1pPr marL="171450" indent="-171450">
              <a:buClrTx/>
              <a:buFont typeface="System Font Regular"/>
              <a:buChar char="–"/>
              <a:tabLst/>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quote source</a:t>
            </a:r>
          </a:p>
        </p:txBody>
      </p:sp>
      <p:sp>
        <p:nvSpPr>
          <p:cNvPr id="6" name="Slide Number Placeholder 5">
            <a:extLst>
              <a:ext uri="{FF2B5EF4-FFF2-40B4-BE49-F238E27FC236}">
                <a16:creationId xmlns:a16="http://schemas.microsoft.com/office/drawing/2014/main" id="{057840A2-84A7-604C-9296-20A7C350D7B6}"/>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Freeform 8">
            <a:extLst>
              <a:ext uri="{FF2B5EF4-FFF2-40B4-BE49-F238E27FC236}">
                <a16:creationId xmlns:a16="http://schemas.microsoft.com/office/drawing/2014/main" id="{A684D90C-685D-4B5A-B323-B0FD28312BB2}"/>
              </a:ext>
            </a:extLst>
          </p:cNvPr>
          <p:cNvSpPr>
            <a:spLocks noEditPoints="1"/>
          </p:cNvSpPr>
          <p:nvPr userDrawn="1"/>
        </p:nvSpPr>
        <p:spPr bwMode="auto">
          <a:xfrm>
            <a:off x="456072" y="6349220"/>
            <a:ext cx="419302" cy="420625"/>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Box 7">
            <a:extLst>
              <a:ext uri="{FF2B5EF4-FFF2-40B4-BE49-F238E27FC236}">
                <a16:creationId xmlns:a16="http://schemas.microsoft.com/office/drawing/2014/main" id="{C1B6ABDE-7A0F-49C6-8D68-3D985B8BC844}"/>
              </a:ext>
            </a:extLst>
          </p:cNvPr>
          <p:cNvSpPr txBox="1"/>
          <p:nvPr userDrawn="1"/>
        </p:nvSpPr>
        <p:spPr>
          <a:xfrm>
            <a:off x="1058789" y="6627168"/>
            <a:ext cx="2435916" cy="230832"/>
          </a:xfrm>
          <a:prstGeom prst="rect">
            <a:avLst/>
          </a:prstGeom>
        </p:spPr>
        <p:txBody>
          <a:bodyPr lIns="0" rIns="0"/>
          <a:lstStyle>
            <a:defPPr>
              <a:defRPr lang="en-US"/>
            </a:defPPr>
            <a:lvl1pPr algn="r">
              <a:defRPr sz="900"/>
            </a:lvl1pPr>
          </a:lstStyle>
          <a:p>
            <a:pPr lvl="0" algn="l"/>
            <a:r>
              <a:rPr lang="en-US" sz="800">
                <a:solidFill>
                  <a:schemeClr val="bg1"/>
                </a:solidFill>
              </a:rPr>
              <a:t>Copyright © 2020 Blue Yonder Group, Inc.</a:t>
            </a:r>
            <a:endParaRPr lang="en-US" sz="800" dirty="0">
              <a:solidFill>
                <a:schemeClr val="bg1"/>
              </a:solidFill>
            </a:endParaRPr>
          </a:p>
        </p:txBody>
      </p:sp>
    </p:spTree>
    <p:extLst>
      <p:ext uri="{BB962C8B-B14F-4D97-AF65-F5344CB8AC3E}">
        <p14:creationId xmlns:p14="http://schemas.microsoft.com/office/powerpoint/2010/main" val="35931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 Imag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E2B2C88A-B3AB-6642-B681-5D6870C706C1}"/>
              </a:ext>
            </a:extLst>
          </p:cNvPr>
          <p:cNvSpPr>
            <a:spLocks noGrp="1"/>
          </p:cNvSpPr>
          <p:nvPr>
            <p:ph type="pic" sz="quarter" idx="11" hasCustomPrompt="1"/>
          </p:nvPr>
        </p:nvSpPr>
        <p:spPr>
          <a:xfrm>
            <a:off x="0" y="0"/>
            <a:ext cx="12191998" cy="5354856"/>
          </a:xfrm>
          <a:custGeom>
            <a:avLst/>
            <a:gdLst>
              <a:gd name="connsiteX0" fmla="*/ 0 w 12188823"/>
              <a:gd name="connsiteY0" fmla="*/ 0 h 5354856"/>
              <a:gd name="connsiteX1" fmla="*/ 12188823 w 12188823"/>
              <a:gd name="connsiteY1" fmla="*/ 0 h 5354856"/>
              <a:gd name="connsiteX2" fmla="*/ 12188823 w 12188823"/>
              <a:gd name="connsiteY2" fmla="*/ 2883325 h 5354856"/>
              <a:gd name="connsiteX3" fmla="*/ 11670890 w 12188823"/>
              <a:gd name="connsiteY3" fmla="*/ 3144472 h 5354856"/>
              <a:gd name="connsiteX4" fmla="*/ 9422296 w 12188823"/>
              <a:gd name="connsiteY4" fmla="*/ 4104861 h 5354856"/>
              <a:gd name="connsiteX5" fmla="*/ 2623930 w 12188823"/>
              <a:gd name="connsiteY5" fmla="*/ 5354856 h 5354856"/>
              <a:gd name="connsiteX6" fmla="*/ 63066 w 12188823"/>
              <a:gd name="connsiteY6" fmla="*/ 5249182 h 5354856"/>
              <a:gd name="connsiteX7" fmla="*/ 0 w 12188823"/>
              <a:gd name="connsiteY7" fmla="*/ 5242429 h 535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3" h="5354856">
                <a:moveTo>
                  <a:pt x="0" y="0"/>
                </a:moveTo>
                <a:lnTo>
                  <a:pt x="12188823" y="0"/>
                </a:lnTo>
                <a:lnTo>
                  <a:pt x="12188823" y="2883325"/>
                </a:lnTo>
                <a:lnTo>
                  <a:pt x="11670890" y="3144472"/>
                </a:lnTo>
                <a:cubicBezTo>
                  <a:pt x="10971293" y="3489839"/>
                  <a:pt x="10223811" y="3830144"/>
                  <a:pt x="9422296" y="4104861"/>
                </a:cubicBezTo>
                <a:cubicBezTo>
                  <a:pt x="7705961" y="4707828"/>
                  <a:pt x="5678539" y="5268029"/>
                  <a:pt x="2623930" y="5354856"/>
                </a:cubicBezTo>
                <a:cubicBezTo>
                  <a:pt x="1228210" y="5349389"/>
                  <a:pt x="485594" y="5292237"/>
                  <a:pt x="63066" y="5249182"/>
                </a:cubicBezTo>
                <a:lnTo>
                  <a:pt x="0" y="5242429"/>
                </a:lnTo>
                <a:close/>
              </a:path>
            </a:pathLst>
          </a:custGeom>
          <a:solidFill>
            <a:schemeClr val="bg1">
              <a:lumMod val="95000"/>
            </a:schemeClr>
          </a:solidFill>
        </p:spPr>
        <p:txBody>
          <a:bodyPr wrap="square">
            <a:noAutofit/>
          </a:bodyPr>
          <a:lstStyle>
            <a:lvl1pPr marL="0" indent="0" algn="ctr">
              <a:buNone/>
              <a:defRPr sz="1400">
                <a:solidFill>
                  <a:srgbClr val="FF0000"/>
                </a:solidFill>
              </a:defRPr>
            </a:lvl1pPr>
          </a:lstStyle>
          <a:p>
            <a:r>
              <a:rPr lang="en-US" dirty="0"/>
              <a:t>Select picture placeholder and bring to front. Click on icon to add picture. Once picture is formatted send to back.</a:t>
            </a:r>
          </a:p>
        </p:txBody>
      </p:sp>
      <p:sp>
        <p:nvSpPr>
          <p:cNvPr id="2" name="Title 1"/>
          <p:cNvSpPr>
            <a:spLocks noGrp="1"/>
          </p:cNvSpPr>
          <p:nvPr>
            <p:ph type="ctrTitle" hasCustomPrompt="1"/>
          </p:nvPr>
        </p:nvSpPr>
        <p:spPr>
          <a:xfrm>
            <a:off x="632267" y="607553"/>
            <a:ext cx="7473891" cy="2104232"/>
          </a:xfrm>
        </p:spPr>
        <p:txBody>
          <a:bodyPr anchor="b"/>
          <a:lstStyle>
            <a:lvl1pPr>
              <a:lnSpc>
                <a:spcPct val="90000"/>
              </a:lnSpc>
              <a:defRPr sz="5400" b="1">
                <a:solidFill>
                  <a:schemeClr val="bg1"/>
                </a:solidFill>
              </a:defRPr>
            </a:lvl1pPr>
          </a:lstStyle>
          <a:p>
            <a:r>
              <a:rPr lang="en-US" dirty="0"/>
              <a:t>Click to edit presentation title</a:t>
            </a:r>
          </a:p>
        </p:txBody>
      </p:sp>
      <p:sp>
        <p:nvSpPr>
          <p:cNvPr id="3" name="Subtitle 2"/>
          <p:cNvSpPr>
            <a:spLocks noGrp="1"/>
          </p:cNvSpPr>
          <p:nvPr>
            <p:ph type="subTitle" idx="1" hasCustomPrompt="1"/>
          </p:nvPr>
        </p:nvSpPr>
        <p:spPr>
          <a:xfrm>
            <a:off x="619990" y="3000467"/>
            <a:ext cx="7473891" cy="423063"/>
          </a:xfrm>
          <a:prstGeom prst="rect">
            <a:avLst/>
          </a:prstGeom>
        </p:spPr>
        <p:txBody>
          <a:bodyPr/>
          <a:lstStyle>
            <a:lvl1pPr marL="0" indent="0" algn="l">
              <a:buNone/>
              <a:defRPr sz="20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sp>
        <p:nvSpPr>
          <p:cNvPr id="10" name="Text Placeholder 9"/>
          <p:cNvSpPr>
            <a:spLocks noGrp="1"/>
          </p:cNvSpPr>
          <p:nvPr>
            <p:ph type="body" sz="quarter" idx="10" hasCustomPrompt="1"/>
          </p:nvPr>
        </p:nvSpPr>
        <p:spPr>
          <a:xfrm>
            <a:off x="619990" y="3434473"/>
            <a:ext cx="4343829" cy="781587"/>
          </a:xfrm>
          <a:prstGeom prst="rect">
            <a:avLst/>
          </a:prstGeom>
        </p:spPr>
        <p:txBody>
          <a:bodyPr vert="horz" lIns="0" tIns="45720" rIns="0" bIns="45720" rtlCol="0">
            <a:noAutofit/>
          </a:bodyPr>
          <a:lstStyle>
            <a:lvl1pPr marL="169863" indent="-169863">
              <a:spcBef>
                <a:spcPts val="0"/>
              </a:spcBef>
              <a:buNone/>
              <a:defRPr lang="en-US" sz="1400" b="0" smtClean="0">
                <a:solidFill>
                  <a:schemeClr val="bg1"/>
                </a:solidFill>
              </a:defRPr>
            </a:lvl1pPr>
            <a:lvl2pPr>
              <a:defRPr lang="en-US" sz="1400" smtClean="0">
                <a:solidFill>
                  <a:schemeClr val="tx1">
                    <a:tint val="75000"/>
                  </a:schemeClr>
                </a:solidFill>
              </a:defRPr>
            </a:lvl2pPr>
            <a:lvl3pPr>
              <a:defRPr lang="en-US" sz="1400" smtClean="0">
                <a:solidFill>
                  <a:schemeClr val="tx1">
                    <a:tint val="75000"/>
                  </a:schemeClr>
                </a:solidFill>
              </a:defRPr>
            </a:lvl3pPr>
            <a:lvl4pPr>
              <a:defRPr lang="en-US" sz="1400" smtClean="0">
                <a:solidFill>
                  <a:schemeClr val="tx1">
                    <a:tint val="75000"/>
                  </a:schemeClr>
                </a:solidFill>
              </a:defRPr>
            </a:lvl4pPr>
            <a:lvl5pPr>
              <a:defRPr lang="en-US" sz="1400">
                <a:solidFill>
                  <a:schemeClr val="tx1">
                    <a:tint val="75000"/>
                  </a:schemeClr>
                </a:solidFill>
              </a:defRPr>
            </a:lvl5pPr>
          </a:lstStyle>
          <a:p>
            <a:pPr marL="0" lvl="0" indent="0"/>
            <a:r>
              <a:rPr lang="en-US" dirty="0"/>
              <a:t>Name, Title, Date</a:t>
            </a:r>
          </a:p>
        </p:txBody>
      </p:sp>
      <p:grpSp>
        <p:nvGrpSpPr>
          <p:cNvPr id="15" name="Group 14">
            <a:extLst>
              <a:ext uri="{FF2B5EF4-FFF2-40B4-BE49-F238E27FC236}">
                <a16:creationId xmlns:a16="http://schemas.microsoft.com/office/drawing/2014/main" id="{1CD53DD1-F091-461F-B294-40E3CB7350F6}"/>
              </a:ext>
            </a:extLst>
          </p:cNvPr>
          <p:cNvGrpSpPr/>
          <p:nvPr userDrawn="1"/>
        </p:nvGrpSpPr>
        <p:grpSpPr>
          <a:xfrm>
            <a:off x="9097298" y="5848510"/>
            <a:ext cx="2727495" cy="662722"/>
            <a:chOff x="4721225" y="3724275"/>
            <a:chExt cx="7121525" cy="1730375"/>
          </a:xfrm>
          <a:solidFill>
            <a:schemeClr val="accent1"/>
          </a:solidFill>
        </p:grpSpPr>
        <p:sp>
          <p:nvSpPr>
            <p:cNvPr id="9" name="Freeform 5">
              <a:extLst>
                <a:ext uri="{FF2B5EF4-FFF2-40B4-BE49-F238E27FC236}">
                  <a16:creationId xmlns:a16="http://schemas.microsoft.com/office/drawing/2014/main" id="{4FBDAB62-BCD6-49CC-B57B-AA2D8A331E37}"/>
                </a:ext>
              </a:extLst>
            </p:cNvPr>
            <p:cNvSpPr>
              <a:spLocks noEditPoints="1"/>
            </p:cNvSpPr>
            <p:nvPr userDrawn="1"/>
          </p:nvSpPr>
          <p:spPr bwMode="auto">
            <a:xfrm>
              <a:off x="9864725" y="4995863"/>
              <a:ext cx="228600" cy="114300"/>
            </a:xfrm>
            <a:custGeom>
              <a:avLst/>
              <a:gdLst>
                <a:gd name="T0" fmla="*/ 56 w 144"/>
                <a:gd name="T1" fmla="*/ 12 h 72"/>
                <a:gd name="T2" fmla="*/ 34 w 144"/>
                <a:gd name="T3" fmla="*/ 12 h 72"/>
                <a:gd name="T4" fmla="*/ 34 w 144"/>
                <a:gd name="T5" fmla="*/ 72 h 72"/>
                <a:gd name="T6" fmla="*/ 22 w 144"/>
                <a:gd name="T7" fmla="*/ 72 h 72"/>
                <a:gd name="T8" fmla="*/ 22 w 144"/>
                <a:gd name="T9" fmla="*/ 12 h 72"/>
                <a:gd name="T10" fmla="*/ 0 w 144"/>
                <a:gd name="T11" fmla="*/ 12 h 72"/>
                <a:gd name="T12" fmla="*/ 0 w 144"/>
                <a:gd name="T13" fmla="*/ 0 h 72"/>
                <a:gd name="T14" fmla="*/ 56 w 144"/>
                <a:gd name="T15" fmla="*/ 0 h 72"/>
                <a:gd name="T16" fmla="*/ 56 w 144"/>
                <a:gd name="T17" fmla="*/ 12 h 72"/>
                <a:gd name="T18" fmla="*/ 144 w 144"/>
                <a:gd name="T19" fmla="*/ 72 h 72"/>
                <a:gd name="T20" fmla="*/ 133 w 144"/>
                <a:gd name="T21" fmla="*/ 72 h 72"/>
                <a:gd name="T22" fmla="*/ 133 w 144"/>
                <a:gd name="T23" fmla="*/ 12 h 72"/>
                <a:gd name="T24" fmla="*/ 113 w 144"/>
                <a:gd name="T25" fmla="*/ 72 h 72"/>
                <a:gd name="T26" fmla="*/ 103 w 144"/>
                <a:gd name="T27" fmla="*/ 72 h 72"/>
                <a:gd name="T28" fmla="*/ 82 w 144"/>
                <a:gd name="T29" fmla="*/ 12 h 72"/>
                <a:gd name="T30" fmla="*/ 82 w 144"/>
                <a:gd name="T31" fmla="*/ 72 h 72"/>
                <a:gd name="T32" fmla="*/ 71 w 144"/>
                <a:gd name="T33" fmla="*/ 72 h 72"/>
                <a:gd name="T34" fmla="*/ 71 w 144"/>
                <a:gd name="T35" fmla="*/ 0 h 72"/>
                <a:gd name="T36" fmla="*/ 90 w 144"/>
                <a:gd name="T37" fmla="*/ 0 h 72"/>
                <a:gd name="T38" fmla="*/ 108 w 144"/>
                <a:gd name="T39" fmla="*/ 55 h 72"/>
                <a:gd name="T40" fmla="*/ 126 w 144"/>
                <a:gd name="T41" fmla="*/ 0 h 72"/>
                <a:gd name="T42" fmla="*/ 144 w 144"/>
                <a:gd name="T43" fmla="*/ 0 h 72"/>
                <a:gd name="T44" fmla="*/ 144 w 144"/>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72">
                  <a:moveTo>
                    <a:pt x="56" y="12"/>
                  </a:moveTo>
                  <a:lnTo>
                    <a:pt x="34" y="12"/>
                  </a:lnTo>
                  <a:lnTo>
                    <a:pt x="34" y="72"/>
                  </a:lnTo>
                  <a:lnTo>
                    <a:pt x="22" y="72"/>
                  </a:lnTo>
                  <a:lnTo>
                    <a:pt x="22" y="12"/>
                  </a:lnTo>
                  <a:lnTo>
                    <a:pt x="0" y="12"/>
                  </a:lnTo>
                  <a:lnTo>
                    <a:pt x="0" y="0"/>
                  </a:lnTo>
                  <a:lnTo>
                    <a:pt x="56" y="0"/>
                  </a:lnTo>
                  <a:lnTo>
                    <a:pt x="56" y="12"/>
                  </a:lnTo>
                  <a:close/>
                  <a:moveTo>
                    <a:pt x="144" y="72"/>
                  </a:moveTo>
                  <a:lnTo>
                    <a:pt x="133" y="72"/>
                  </a:lnTo>
                  <a:lnTo>
                    <a:pt x="133" y="12"/>
                  </a:lnTo>
                  <a:lnTo>
                    <a:pt x="113" y="72"/>
                  </a:lnTo>
                  <a:lnTo>
                    <a:pt x="103" y="72"/>
                  </a:lnTo>
                  <a:lnTo>
                    <a:pt x="82" y="12"/>
                  </a:lnTo>
                  <a:lnTo>
                    <a:pt x="82" y="72"/>
                  </a:lnTo>
                  <a:lnTo>
                    <a:pt x="71" y="72"/>
                  </a:lnTo>
                  <a:lnTo>
                    <a:pt x="71" y="0"/>
                  </a:lnTo>
                  <a:lnTo>
                    <a:pt x="90" y="0"/>
                  </a:lnTo>
                  <a:lnTo>
                    <a:pt x="108" y="55"/>
                  </a:lnTo>
                  <a:lnTo>
                    <a:pt x="126" y="0"/>
                  </a:lnTo>
                  <a:lnTo>
                    <a:pt x="144" y="0"/>
                  </a:lnTo>
                  <a:lnTo>
                    <a:pt x="14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2" name="Freeform 6">
              <a:extLst>
                <a:ext uri="{FF2B5EF4-FFF2-40B4-BE49-F238E27FC236}">
                  <a16:creationId xmlns:a16="http://schemas.microsoft.com/office/drawing/2014/main" id="{1E1E56E4-3DB4-4966-BFE6-6D7903AEA6EC}"/>
                </a:ext>
              </a:extLst>
            </p:cNvPr>
            <p:cNvSpPr>
              <a:spLocks noEditPoints="1"/>
            </p:cNvSpPr>
            <p:nvPr userDrawn="1"/>
          </p:nvSpPr>
          <p:spPr bwMode="auto">
            <a:xfrm>
              <a:off x="6038850" y="4994275"/>
              <a:ext cx="3835400" cy="460375"/>
            </a:xfrm>
            <a:custGeom>
              <a:avLst/>
              <a:gdLst>
                <a:gd name="T0" fmla="*/ 80 w 1491"/>
                <a:gd name="T1" fmla="*/ 11 h 179"/>
                <a:gd name="T2" fmla="*/ 72 w 1491"/>
                <a:gd name="T3" fmla="*/ 61 h 179"/>
                <a:gd name="T4" fmla="*/ 163 w 1491"/>
                <a:gd name="T5" fmla="*/ 129 h 179"/>
                <a:gd name="T6" fmla="*/ 102 w 1491"/>
                <a:gd name="T7" fmla="*/ 39 h 179"/>
                <a:gd name="T8" fmla="*/ 147 w 1491"/>
                <a:gd name="T9" fmla="*/ 39 h 179"/>
                <a:gd name="T10" fmla="*/ 197 w 1491"/>
                <a:gd name="T11" fmla="*/ 1 h 179"/>
                <a:gd name="T12" fmla="*/ 218 w 1491"/>
                <a:gd name="T13" fmla="*/ 131 h 179"/>
                <a:gd name="T14" fmla="*/ 228 w 1491"/>
                <a:gd name="T15" fmla="*/ 33 h 179"/>
                <a:gd name="T16" fmla="*/ 260 w 1491"/>
                <a:gd name="T17" fmla="*/ 14 h 179"/>
                <a:gd name="T18" fmla="*/ 278 w 1491"/>
                <a:gd name="T19" fmla="*/ 53 h 179"/>
                <a:gd name="T20" fmla="*/ 228 w 1491"/>
                <a:gd name="T21" fmla="*/ 33 h 179"/>
                <a:gd name="T22" fmla="*/ 291 w 1491"/>
                <a:gd name="T23" fmla="*/ 10 h 179"/>
                <a:gd name="T24" fmla="*/ 308 w 1491"/>
                <a:gd name="T25" fmla="*/ 125 h 179"/>
                <a:gd name="T26" fmla="*/ 327 w 1491"/>
                <a:gd name="T27" fmla="*/ 1 h 179"/>
                <a:gd name="T28" fmla="*/ 359 w 1491"/>
                <a:gd name="T29" fmla="*/ 117 h 179"/>
                <a:gd name="T30" fmla="*/ 327 w 1491"/>
                <a:gd name="T31" fmla="*/ 1 h 179"/>
                <a:gd name="T32" fmla="*/ 395 w 1491"/>
                <a:gd name="T33" fmla="*/ 119 h 179"/>
                <a:gd name="T34" fmla="*/ 371 w 1491"/>
                <a:gd name="T35" fmla="*/ 103 h 179"/>
                <a:gd name="T36" fmla="*/ 455 w 1491"/>
                <a:gd name="T37" fmla="*/ 171 h 179"/>
                <a:gd name="T38" fmla="*/ 513 w 1491"/>
                <a:gd name="T39" fmla="*/ 132 h 179"/>
                <a:gd name="T40" fmla="*/ 468 w 1491"/>
                <a:gd name="T41" fmla="*/ 39 h 179"/>
                <a:gd name="T42" fmla="*/ 513 w 1491"/>
                <a:gd name="T43" fmla="*/ 39 h 179"/>
                <a:gd name="T44" fmla="*/ 583 w 1491"/>
                <a:gd name="T45" fmla="*/ 37 h 179"/>
                <a:gd name="T46" fmla="*/ 543 w 1491"/>
                <a:gd name="T47" fmla="*/ 88 h 179"/>
                <a:gd name="T48" fmla="*/ 558 w 1491"/>
                <a:gd name="T49" fmla="*/ 84 h 179"/>
                <a:gd name="T50" fmla="*/ 608 w 1491"/>
                <a:gd name="T51" fmla="*/ 84 h 179"/>
                <a:gd name="T52" fmla="*/ 638 w 1491"/>
                <a:gd name="T53" fmla="*/ 39 h 179"/>
                <a:gd name="T54" fmla="*/ 699 w 1491"/>
                <a:gd name="T55" fmla="*/ 117 h 179"/>
                <a:gd name="T56" fmla="*/ 734 w 1491"/>
                <a:gd name="T57" fmla="*/ 42 h 179"/>
                <a:gd name="T58" fmla="*/ 764 w 1491"/>
                <a:gd name="T59" fmla="*/ 52 h 179"/>
                <a:gd name="T60" fmla="*/ 734 w 1491"/>
                <a:gd name="T61" fmla="*/ 42 h 179"/>
                <a:gd name="T62" fmla="*/ 909 w 1491"/>
                <a:gd name="T63" fmla="*/ 88 h 179"/>
                <a:gd name="T64" fmla="*/ 832 w 1491"/>
                <a:gd name="T65" fmla="*/ 179 h 179"/>
                <a:gd name="T66" fmla="*/ 848 w 1491"/>
                <a:gd name="T67" fmla="*/ 54 h 179"/>
                <a:gd name="T68" fmla="*/ 893 w 1491"/>
                <a:gd name="T69" fmla="*/ 83 h 179"/>
                <a:gd name="T70" fmla="*/ 1001 w 1491"/>
                <a:gd name="T71" fmla="*/ 88 h 179"/>
                <a:gd name="T72" fmla="*/ 986 w 1491"/>
                <a:gd name="T73" fmla="*/ 84 h 179"/>
                <a:gd name="T74" fmla="*/ 961 w 1491"/>
                <a:gd name="T75" fmla="*/ 120 h 179"/>
                <a:gd name="T76" fmla="*/ 1030 w 1491"/>
                <a:gd name="T77" fmla="*/ 11 h 179"/>
                <a:gd name="T78" fmla="*/ 1030 w 1491"/>
                <a:gd name="T79" fmla="*/ 53 h 179"/>
                <a:gd name="T80" fmla="*/ 1071 w 1491"/>
                <a:gd name="T81" fmla="*/ 128 h 179"/>
                <a:gd name="T82" fmla="*/ 1156 w 1491"/>
                <a:gd name="T83" fmla="*/ 92 h 179"/>
                <a:gd name="T84" fmla="*/ 1150 w 1491"/>
                <a:gd name="T85" fmla="*/ 115 h 179"/>
                <a:gd name="T86" fmla="*/ 1076 w 1491"/>
                <a:gd name="T87" fmla="*/ 83 h 179"/>
                <a:gd name="T88" fmla="*/ 1092 w 1491"/>
                <a:gd name="T89" fmla="*/ 80 h 179"/>
                <a:gd name="T90" fmla="*/ 1092 w 1491"/>
                <a:gd name="T91" fmla="*/ 79 h 179"/>
                <a:gd name="T92" fmla="*/ 1248 w 1491"/>
                <a:gd name="T93" fmla="*/ 77 h 179"/>
                <a:gd name="T94" fmla="*/ 1208 w 1491"/>
                <a:gd name="T95" fmla="*/ 52 h 179"/>
                <a:gd name="T96" fmla="*/ 1172 w 1491"/>
                <a:gd name="T97" fmla="*/ 42 h 179"/>
                <a:gd name="T98" fmla="*/ 1314 w 1491"/>
                <a:gd name="T99" fmla="*/ 39 h 179"/>
                <a:gd name="T100" fmla="*/ 1295 w 1491"/>
                <a:gd name="T101" fmla="*/ 120 h 179"/>
                <a:gd name="T102" fmla="*/ 1263 w 1491"/>
                <a:gd name="T103" fmla="*/ 100 h 179"/>
                <a:gd name="T104" fmla="*/ 1340 w 1491"/>
                <a:gd name="T105" fmla="*/ 20 h 179"/>
                <a:gd name="T106" fmla="*/ 1348 w 1491"/>
                <a:gd name="T107" fmla="*/ 39 h 179"/>
                <a:gd name="T108" fmla="*/ 1333 w 1491"/>
                <a:gd name="T109" fmla="*/ 39 h 179"/>
                <a:gd name="T110" fmla="*/ 1361 w 1491"/>
                <a:gd name="T111" fmla="*/ 103 h 179"/>
                <a:gd name="T112" fmla="*/ 1398 w 1491"/>
                <a:gd name="T113" fmla="*/ 52 h 179"/>
                <a:gd name="T114" fmla="*/ 1437 w 1491"/>
                <a:gd name="T115" fmla="*/ 71 h 179"/>
                <a:gd name="T116" fmla="*/ 1376 w 1491"/>
                <a:gd name="T117" fmla="*/ 104 h 179"/>
                <a:gd name="T118" fmla="*/ 1454 w 1491"/>
                <a:gd name="T119" fmla="*/ 1 h 179"/>
                <a:gd name="T120" fmla="*/ 1487 w 1491"/>
                <a:gd name="T121" fmla="*/ 117 h 179"/>
                <a:gd name="T122" fmla="*/ 1454 w 1491"/>
                <a:gd name="T123" fmla="*/ 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1" h="179">
                  <a:moveTo>
                    <a:pt x="17" y="132"/>
                  </a:moveTo>
                  <a:cubicBezTo>
                    <a:pt x="0" y="132"/>
                    <a:pt x="0" y="132"/>
                    <a:pt x="0" y="132"/>
                  </a:cubicBezTo>
                  <a:cubicBezTo>
                    <a:pt x="0" y="11"/>
                    <a:pt x="0" y="11"/>
                    <a:pt x="0" y="11"/>
                  </a:cubicBezTo>
                  <a:cubicBezTo>
                    <a:pt x="80" y="11"/>
                    <a:pt x="80" y="11"/>
                    <a:pt x="80" y="11"/>
                  </a:cubicBezTo>
                  <a:cubicBezTo>
                    <a:pt x="80" y="26"/>
                    <a:pt x="80" y="26"/>
                    <a:pt x="80" y="26"/>
                  </a:cubicBezTo>
                  <a:cubicBezTo>
                    <a:pt x="17" y="26"/>
                    <a:pt x="17" y="26"/>
                    <a:pt x="17" y="26"/>
                  </a:cubicBezTo>
                  <a:cubicBezTo>
                    <a:pt x="17" y="61"/>
                    <a:pt x="17" y="61"/>
                    <a:pt x="17" y="61"/>
                  </a:cubicBezTo>
                  <a:cubicBezTo>
                    <a:pt x="72" y="61"/>
                    <a:pt x="72" y="61"/>
                    <a:pt x="72" y="61"/>
                  </a:cubicBezTo>
                  <a:cubicBezTo>
                    <a:pt x="72" y="76"/>
                    <a:pt x="72" y="76"/>
                    <a:pt x="72" y="76"/>
                  </a:cubicBezTo>
                  <a:cubicBezTo>
                    <a:pt x="17" y="76"/>
                    <a:pt x="17" y="76"/>
                    <a:pt x="17" y="76"/>
                  </a:cubicBezTo>
                  <a:lnTo>
                    <a:pt x="17" y="132"/>
                  </a:lnTo>
                  <a:close/>
                  <a:moveTo>
                    <a:pt x="163" y="129"/>
                  </a:moveTo>
                  <a:cubicBezTo>
                    <a:pt x="153" y="132"/>
                    <a:pt x="142" y="134"/>
                    <a:pt x="126" y="134"/>
                  </a:cubicBezTo>
                  <a:cubicBezTo>
                    <a:pt x="103" y="134"/>
                    <a:pt x="86" y="124"/>
                    <a:pt x="86" y="94"/>
                  </a:cubicBezTo>
                  <a:cubicBezTo>
                    <a:pt x="86" y="39"/>
                    <a:pt x="86" y="39"/>
                    <a:pt x="86" y="39"/>
                  </a:cubicBezTo>
                  <a:cubicBezTo>
                    <a:pt x="102" y="39"/>
                    <a:pt x="102" y="39"/>
                    <a:pt x="102" y="39"/>
                  </a:cubicBezTo>
                  <a:cubicBezTo>
                    <a:pt x="102" y="95"/>
                    <a:pt x="102" y="95"/>
                    <a:pt x="102" y="95"/>
                  </a:cubicBezTo>
                  <a:cubicBezTo>
                    <a:pt x="102" y="115"/>
                    <a:pt x="112" y="120"/>
                    <a:pt x="126" y="120"/>
                  </a:cubicBezTo>
                  <a:cubicBezTo>
                    <a:pt x="136" y="120"/>
                    <a:pt x="141" y="119"/>
                    <a:pt x="147" y="117"/>
                  </a:cubicBezTo>
                  <a:cubicBezTo>
                    <a:pt x="147" y="39"/>
                    <a:pt x="147" y="39"/>
                    <a:pt x="147" y="39"/>
                  </a:cubicBezTo>
                  <a:cubicBezTo>
                    <a:pt x="163" y="39"/>
                    <a:pt x="163" y="39"/>
                    <a:pt x="163" y="39"/>
                  </a:cubicBezTo>
                  <a:lnTo>
                    <a:pt x="163" y="129"/>
                  </a:lnTo>
                  <a:close/>
                  <a:moveTo>
                    <a:pt x="182" y="1"/>
                  </a:moveTo>
                  <a:cubicBezTo>
                    <a:pt x="197" y="1"/>
                    <a:pt x="197" y="1"/>
                    <a:pt x="197" y="1"/>
                  </a:cubicBezTo>
                  <a:cubicBezTo>
                    <a:pt x="197" y="103"/>
                    <a:pt x="197" y="103"/>
                    <a:pt x="197" y="103"/>
                  </a:cubicBezTo>
                  <a:cubicBezTo>
                    <a:pt x="197" y="116"/>
                    <a:pt x="201" y="119"/>
                    <a:pt x="206" y="119"/>
                  </a:cubicBezTo>
                  <a:cubicBezTo>
                    <a:pt x="210" y="119"/>
                    <a:pt x="212" y="118"/>
                    <a:pt x="214" y="117"/>
                  </a:cubicBezTo>
                  <a:cubicBezTo>
                    <a:pt x="218" y="131"/>
                    <a:pt x="218" y="131"/>
                    <a:pt x="218" y="131"/>
                  </a:cubicBezTo>
                  <a:cubicBezTo>
                    <a:pt x="214" y="133"/>
                    <a:pt x="211" y="134"/>
                    <a:pt x="204" y="134"/>
                  </a:cubicBezTo>
                  <a:cubicBezTo>
                    <a:pt x="192" y="134"/>
                    <a:pt x="182" y="126"/>
                    <a:pt x="182" y="103"/>
                  </a:cubicBezTo>
                  <a:lnTo>
                    <a:pt x="182" y="1"/>
                  </a:lnTo>
                  <a:close/>
                  <a:moveTo>
                    <a:pt x="228" y="33"/>
                  </a:moveTo>
                  <a:cubicBezTo>
                    <a:pt x="228" y="8"/>
                    <a:pt x="242" y="0"/>
                    <a:pt x="260" y="0"/>
                  </a:cubicBezTo>
                  <a:cubicBezTo>
                    <a:pt x="270" y="0"/>
                    <a:pt x="278" y="2"/>
                    <a:pt x="284" y="5"/>
                  </a:cubicBezTo>
                  <a:cubicBezTo>
                    <a:pt x="279" y="19"/>
                    <a:pt x="279" y="19"/>
                    <a:pt x="279" y="19"/>
                  </a:cubicBezTo>
                  <a:cubicBezTo>
                    <a:pt x="274" y="16"/>
                    <a:pt x="268" y="14"/>
                    <a:pt x="260" y="14"/>
                  </a:cubicBezTo>
                  <a:cubicBezTo>
                    <a:pt x="250" y="14"/>
                    <a:pt x="244" y="19"/>
                    <a:pt x="244" y="33"/>
                  </a:cubicBezTo>
                  <a:cubicBezTo>
                    <a:pt x="244" y="39"/>
                    <a:pt x="244" y="39"/>
                    <a:pt x="244" y="39"/>
                  </a:cubicBezTo>
                  <a:cubicBezTo>
                    <a:pt x="278" y="39"/>
                    <a:pt x="278" y="39"/>
                    <a:pt x="278" y="39"/>
                  </a:cubicBezTo>
                  <a:cubicBezTo>
                    <a:pt x="278" y="53"/>
                    <a:pt x="278" y="53"/>
                    <a:pt x="278" y="53"/>
                  </a:cubicBezTo>
                  <a:cubicBezTo>
                    <a:pt x="244" y="53"/>
                    <a:pt x="244" y="53"/>
                    <a:pt x="244" y="53"/>
                  </a:cubicBezTo>
                  <a:cubicBezTo>
                    <a:pt x="244" y="132"/>
                    <a:pt x="244" y="132"/>
                    <a:pt x="244" y="132"/>
                  </a:cubicBezTo>
                  <a:cubicBezTo>
                    <a:pt x="228" y="132"/>
                    <a:pt x="228" y="132"/>
                    <a:pt x="228" y="132"/>
                  </a:cubicBezTo>
                  <a:lnTo>
                    <a:pt x="228" y="33"/>
                  </a:lnTo>
                  <a:close/>
                  <a:moveTo>
                    <a:pt x="301" y="0"/>
                  </a:moveTo>
                  <a:cubicBezTo>
                    <a:pt x="306" y="0"/>
                    <a:pt x="311" y="5"/>
                    <a:pt x="311" y="10"/>
                  </a:cubicBezTo>
                  <a:cubicBezTo>
                    <a:pt x="311" y="16"/>
                    <a:pt x="306" y="20"/>
                    <a:pt x="301" y="20"/>
                  </a:cubicBezTo>
                  <a:cubicBezTo>
                    <a:pt x="295" y="20"/>
                    <a:pt x="291" y="16"/>
                    <a:pt x="291" y="10"/>
                  </a:cubicBezTo>
                  <a:cubicBezTo>
                    <a:pt x="291" y="5"/>
                    <a:pt x="295" y="0"/>
                    <a:pt x="301" y="0"/>
                  </a:cubicBezTo>
                  <a:close/>
                  <a:moveTo>
                    <a:pt x="293" y="39"/>
                  </a:moveTo>
                  <a:cubicBezTo>
                    <a:pt x="308" y="39"/>
                    <a:pt x="308" y="39"/>
                    <a:pt x="308" y="39"/>
                  </a:cubicBezTo>
                  <a:cubicBezTo>
                    <a:pt x="308" y="125"/>
                    <a:pt x="308" y="125"/>
                    <a:pt x="308" y="125"/>
                  </a:cubicBezTo>
                  <a:cubicBezTo>
                    <a:pt x="308" y="132"/>
                    <a:pt x="308" y="132"/>
                    <a:pt x="308" y="132"/>
                  </a:cubicBezTo>
                  <a:cubicBezTo>
                    <a:pt x="293" y="132"/>
                    <a:pt x="293" y="132"/>
                    <a:pt x="293" y="132"/>
                  </a:cubicBezTo>
                  <a:lnTo>
                    <a:pt x="293" y="39"/>
                  </a:lnTo>
                  <a:close/>
                  <a:moveTo>
                    <a:pt x="327" y="1"/>
                  </a:moveTo>
                  <a:cubicBezTo>
                    <a:pt x="342" y="1"/>
                    <a:pt x="342" y="1"/>
                    <a:pt x="342" y="1"/>
                  </a:cubicBezTo>
                  <a:cubicBezTo>
                    <a:pt x="342" y="103"/>
                    <a:pt x="342" y="103"/>
                    <a:pt x="342" y="103"/>
                  </a:cubicBezTo>
                  <a:cubicBezTo>
                    <a:pt x="342" y="116"/>
                    <a:pt x="346" y="119"/>
                    <a:pt x="351" y="119"/>
                  </a:cubicBezTo>
                  <a:cubicBezTo>
                    <a:pt x="355" y="119"/>
                    <a:pt x="357" y="118"/>
                    <a:pt x="359" y="117"/>
                  </a:cubicBezTo>
                  <a:cubicBezTo>
                    <a:pt x="363" y="131"/>
                    <a:pt x="363" y="131"/>
                    <a:pt x="363" y="131"/>
                  </a:cubicBezTo>
                  <a:cubicBezTo>
                    <a:pt x="360" y="133"/>
                    <a:pt x="356" y="134"/>
                    <a:pt x="350" y="134"/>
                  </a:cubicBezTo>
                  <a:cubicBezTo>
                    <a:pt x="337" y="134"/>
                    <a:pt x="327" y="126"/>
                    <a:pt x="327" y="103"/>
                  </a:cubicBezTo>
                  <a:lnTo>
                    <a:pt x="327" y="1"/>
                  </a:lnTo>
                  <a:close/>
                  <a:moveTo>
                    <a:pt x="371" y="1"/>
                  </a:moveTo>
                  <a:cubicBezTo>
                    <a:pt x="386" y="1"/>
                    <a:pt x="386" y="1"/>
                    <a:pt x="386" y="1"/>
                  </a:cubicBezTo>
                  <a:cubicBezTo>
                    <a:pt x="386" y="103"/>
                    <a:pt x="386" y="103"/>
                    <a:pt x="386" y="103"/>
                  </a:cubicBezTo>
                  <a:cubicBezTo>
                    <a:pt x="386" y="116"/>
                    <a:pt x="390" y="119"/>
                    <a:pt x="395" y="119"/>
                  </a:cubicBezTo>
                  <a:cubicBezTo>
                    <a:pt x="399" y="119"/>
                    <a:pt x="401" y="118"/>
                    <a:pt x="403" y="117"/>
                  </a:cubicBezTo>
                  <a:cubicBezTo>
                    <a:pt x="407" y="131"/>
                    <a:pt x="407" y="131"/>
                    <a:pt x="407" y="131"/>
                  </a:cubicBezTo>
                  <a:cubicBezTo>
                    <a:pt x="403" y="133"/>
                    <a:pt x="400" y="134"/>
                    <a:pt x="394" y="134"/>
                  </a:cubicBezTo>
                  <a:cubicBezTo>
                    <a:pt x="381" y="134"/>
                    <a:pt x="371" y="126"/>
                    <a:pt x="371" y="103"/>
                  </a:cubicBezTo>
                  <a:lnTo>
                    <a:pt x="371" y="1"/>
                  </a:lnTo>
                  <a:close/>
                  <a:moveTo>
                    <a:pt x="529" y="139"/>
                  </a:moveTo>
                  <a:cubicBezTo>
                    <a:pt x="529" y="168"/>
                    <a:pt x="512" y="179"/>
                    <a:pt x="489" y="179"/>
                  </a:cubicBezTo>
                  <a:cubicBezTo>
                    <a:pt x="475" y="179"/>
                    <a:pt x="465" y="176"/>
                    <a:pt x="455" y="171"/>
                  </a:cubicBezTo>
                  <a:cubicBezTo>
                    <a:pt x="459" y="158"/>
                    <a:pt x="459" y="158"/>
                    <a:pt x="459" y="158"/>
                  </a:cubicBezTo>
                  <a:cubicBezTo>
                    <a:pt x="467" y="162"/>
                    <a:pt x="477" y="165"/>
                    <a:pt x="489" y="165"/>
                  </a:cubicBezTo>
                  <a:cubicBezTo>
                    <a:pt x="504" y="165"/>
                    <a:pt x="513" y="159"/>
                    <a:pt x="513" y="139"/>
                  </a:cubicBezTo>
                  <a:cubicBezTo>
                    <a:pt x="513" y="132"/>
                    <a:pt x="513" y="132"/>
                    <a:pt x="513" y="132"/>
                  </a:cubicBezTo>
                  <a:cubicBezTo>
                    <a:pt x="508" y="133"/>
                    <a:pt x="500" y="134"/>
                    <a:pt x="491" y="134"/>
                  </a:cubicBezTo>
                  <a:cubicBezTo>
                    <a:pt x="470" y="134"/>
                    <a:pt x="452" y="125"/>
                    <a:pt x="452" y="94"/>
                  </a:cubicBezTo>
                  <a:cubicBezTo>
                    <a:pt x="452" y="39"/>
                    <a:pt x="452" y="39"/>
                    <a:pt x="452" y="39"/>
                  </a:cubicBezTo>
                  <a:cubicBezTo>
                    <a:pt x="468" y="39"/>
                    <a:pt x="468" y="39"/>
                    <a:pt x="468" y="39"/>
                  </a:cubicBezTo>
                  <a:cubicBezTo>
                    <a:pt x="468" y="95"/>
                    <a:pt x="468" y="95"/>
                    <a:pt x="468" y="95"/>
                  </a:cubicBezTo>
                  <a:cubicBezTo>
                    <a:pt x="468" y="115"/>
                    <a:pt x="477" y="120"/>
                    <a:pt x="492" y="120"/>
                  </a:cubicBezTo>
                  <a:cubicBezTo>
                    <a:pt x="502" y="120"/>
                    <a:pt x="507" y="119"/>
                    <a:pt x="513" y="117"/>
                  </a:cubicBezTo>
                  <a:cubicBezTo>
                    <a:pt x="513" y="39"/>
                    <a:pt x="513" y="39"/>
                    <a:pt x="513" y="39"/>
                  </a:cubicBezTo>
                  <a:cubicBezTo>
                    <a:pt x="529" y="39"/>
                    <a:pt x="529" y="39"/>
                    <a:pt x="529" y="39"/>
                  </a:cubicBezTo>
                  <a:lnTo>
                    <a:pt x="529" y="139"/>
                  </a:lnTo>
                  <a:close/>
                  <a:moveTo>
                    <a:pt x="543" y="84"/>
                  </a:moveTo>
                  <a:cubicBezTo>
                    <a:pt x="543" y="50"/>
                    <a:pt x="560" y="37"/>
                    <a:pt x="583" y="37"/>
                  </a:cubicBezTo>
                  <a:cubicBezTo>
                    <a:pt x="607" y="37"/>
                    <a:pt x="624" y="50"/>
                    <a:pt x="624" y="84"/>
                  </a:cubicBezTo>
                  <a:cubicBezTo>
                    <a:pt x="624" y="88"/>
                    <a:pt x="624" y="88"/>
                    <a:pt x="624" y="88"/>
                  </a:cubicBezTo>
                  <a:cubicBezTo>
                    <a:pt x="624" y="121"/>
                    <a:pt x="607" y="134"/>
                    <a:pt x="583" y="134"/>
                  </a:cubicBezTo>
                  <a:cubicBezTo>
                    <a:pt x="560" y="134"/>
                    <a:pt x="543" y="121"/>
                    <a:pt x="543" y="88"/>
                  </a:cubicBezTo>
                  <a:lnTo>
                    <a:pt x="543" y="84"/>
                  </a:lnTo>
                  <a:close/>
                  <a:moveTo>
                    <a:pt x="608" y="84"/>
                  </a:moveTo>
                  <a:cubicBezTo>
                    <a:pt x="608" y="60"/>
                    <a:pt x="599" y="52"/>
                    <a:pt x="583" y="52"/>
                  </a:cubicBezTo>
                  <a:cubicBezTo>
                    <a:pt x="568" y="52"/>
                    <a:pt x="558" y="60"/>
                    <a:pt x="558" y="84"/>
                  </a:cubicBezTo>
                  <a:cubicBezTo>
                    <a:pt x="558" y="88"/>
                    <a:pt x="558" y="88"/>
                    <a:pt x="558" y="88"/>
                  </a:cubicBezTo>
                  <a:cubicBezTo>
                    <a:pt x="558" y="112"/>
                    <a:pt x="568" y="120"/>
                    <a:pt x="583" y="120"/>
                  </a:cubicBezTo>
                  <a:cubicBezTo>
                    <a:pt x="599" y="120"/>
                    <a:pt x="608" y="112"/>
                    <a:pt x="608" y="88"/>
                  </a:cubicBezTo>
                  <a:lnTo>
                    <a:pt x="608" y="84"/>
                  </a:lnTo>
                  <a:close/>
                  <a:moveTo>
                    <a:pt x="715" y="129"/>
                  </a:moveTo>
                  <a:cubicBezTo>
                    <a:pt x="705" y="132"/>
                    <a:pt x="694" y="134"/>
                    <a:pt x="678" y="134"/>
                  </a:cubicBezTo>
                  <a:cubicBezTo>
                    <a:pt x="655" y="134"/>
                    <a:pt x="638" y="124"/>
                    <a:pt x="638" y="94"/>
                  </a:cubicBezTo>
                  <a:cubicBezTo>
                    <a:pt x="638" y="39"/>
                    <a:pt x="638" y="39"/>
                    <a:pt x="638" y="39"/>
                  </a:cubicBezTo>
                  <a:cubicBezTo>
                    <a:pt x="654" y="39"/>
                    <a:pt x="654" y="39"/>
                    <a:pt x="654" y="39"/>
                  </a:cubicBezTo>
                  <a:cubicBezTo>
                    <a:pt x="654" y="95"/>
                    <a:pt x="654" y="95"/>
                    <a:pt x="654" y="95"/>
                  </a:cubicBezTo>
                  <a:cubicBezTo>
                    <a:pt x="654" y="115"/>
                    <a:pt x="664" y="120"/>
                    <a:pt x="678" y="120"/>
                  </a:cubicBezTo>
                  <a:cubicBezTo>
                    <a:pt x="688" y="120"/>
                    <a:pt x="693" y="119"/>
                    <a:pt x="699" y="117"/>
                  </a:cubicBezTo>
                  <a:cubicBezTo>
                    <a:pt x="699" y="39"/>
                    <a:pt x="699" y="39"/>
                    <a:pt x="699" y="39"/>
                  </a:cubicBezTo>
                  <a:cubicBezTo>
                    <a:pt x="715" y="39"/>
                    <a:pt x="715" y="39"/>
                    <a:pt x="715" y="39"/>
                  </a:cubicBezTo>
                  <a:lnTo>
                    <a:pt x="715" y="129"/>
                  </a:lnTo>
                  <a:close/>
                  <a:moveTo>
                    <a:pt x="734" y="42"/>
                  </a:moveTo>
                  <a:cubicBezTo>
                    <a:pt x="741" y="40"/>
                    <a:pt x="752" y="37"/>
                    <a:pt x="763" y="37"/>
                  </a:cubicBezTo>
                  <a:cubicBezTo>
                    <a:pt x="772" y="37"/>
                    <a:pt x="778" y="38"/>
                    <a:pt x="783" y="40"/>
                  </a:cubicBezTo>
                  <a:cubicBezTo>
                    <a:pt x="779" y="54"/>
                    <a:pt x="779" y="54"/>
                    <a:pt x="779" y="54"/>
                  </a:cubicBezTo>
                  <a:cubicBezTo>
                    <a:pt x="775" y="53"/>
                    <a:pt x="770" y="52"/>
                    <a:pt x="764" y="52"/>
                  </a:cubicBezTo>
                  <a:cubicBezTo>
                    <a:pt x="756" y="52"/>
                    <a:pt x="753" y="53"/>
                    <a:pt x="749" y="54"/>
                  </a:cubicBezTo>
                  <a:cubicBezTo>
                    <a:pt x="749" y="132"/>
                    <a:pt x="749" y="132"/>
                    <a:pt x="749" y="132"/>
                  </a:cubicBezTo>
                  <a:cubicBezTo>
                    <a:pt x="734" y="132"/>
                    <a:pt x="734" y="132"/>
                    <a:pt x="734" y="132"/>
                  </a:cubicBezTo>
                  <a:lnTo>
                    <a:pt x="734" y="42"/>
                  </a:lnTo>
                  <a:close/>
                  <a:moveTo>
                    <a:pt x="832" y="42"/>
                  </a:moveTo>
                  <a:cubicBezTo>
                    <a:pt x="842" y="38"/>
                    <a:pt x="856" y="37"/>
                    <a:pt x="866" y="37"/>
                  </a:cubicBezTo>
                  <a:cubicBezTo>
                    <a:pt x="891" y="37"/>
                    <a:pt x="909" y="52"/>
                    <a:pt x="909" y="83"/>
                  </a:cubicBezTo>
                  <a:cubicBezTo>
                    <a:pt x="909" y="88"/>
                    <a:pt x="909" y="88"/>
                    <a:pt x="909" y="88"/>
                  </a:cubicBezTo>
                  <a:cubicBezTo>
                    <a:pt x="909" y="120"/>
                    <a:pt x="891" y="134"/>
                    <a:pt x="867" y="134"/>
                  </a:cubicBezTo>
                  <a:cubicBezTo>
                    <a:pt x="859" y="134"/>
                    <a:pt x="853" y="133"/>
                    <a:pt x="848" y="131"/>
                  </a:cubicBezTo>
                  <a:cubicBezTo>
                    <a:pt x="848" y="179"/>
                    <a:pt x="848" y="179"/>
                    <a:pt x="848" y="179"/>
                  </a:cubicBezTo>
                  <a:cubicBezTo>
                    <a:pt x="832" y="179"/>
                    <a:pt x="832" y="179"/>
                    <a:pt x="832" y="179"/>
                  </a:cubicBezTo>
                  <a:lnTo>
                    <a:pt x="832" y="42"/>
                  </a:lnTo>
                  <a:close/>
                  <a:moveTo>
                    <a:pt x="893" y="83"/>
                  </a:moveTo>
                  <a:cubicBezTo>
                    <a:pt x="893" y="59"/>
                    <a:pt x="883" y="52"/>
                    <a:pt x="866" y="52"/>
                  </a:cubicBezTo>
                  <a:cubicBezTo>
                    <a:pt x="857" y="52"/>
                    <a:pt x="852" y="53"/>
                    <a:pt x="848" y="54"/>
                  </a:cubicBezTo>
                  <a:cubicBezTo>
                    <a:pt x="848" y="116"/>
                    <a:pt x="848" y="116"/>
                    <a:pt x="848" y="116"/>
                  </a:cubicBezTo>
                  <a:cubicBezTo>
                    <a:pt x="851" y="118"/>
                    <a:pt x="858" y="120"/>
                    <a:pt x="866" y="120"/>
                  </a:cubicBezTo>
                  <a:cubicBezTo>
                    <a:pt x="882" y="120"/>
                    <a:pt x="893" y="113"/>
                    <a:pt x="893" y="88"/>
                  </a:cubicBezTo>
                  <a:lnTo>
                    <a:pt x="893" y="83"/>
                  </a:lnTo>
                  <a:close/>
                  <a:moveTo>
                    <a:pt x="920" y="84"/>
                  </a:moveTo>
                  <a:cubicBezTo>
                    <a:pt x="920" y="50"/>
                    <a:pt x="937" y="37"/>
                    <a:pt x="961" y="37"/>
                  </a:cubicBezTo>
                  <a:cubicBezTo>
                    <a:pt x="984" y="37"/>
                    <a:pt x="1001" y="50"/>
                    <a:pt x="1001" y="84"/>
                  </a:cubicBezTo>
                  <a:cubicBezTo>
                    <a:pt x="1001" y="88"/>
                    <a:pt x="1001" y="88"/>
                    <a:pt x="1001" y="88"/>
                  </a:cubicBezTo>
                  <a:cubicBezTo>
                    <a:pt x="1001" y="121"/>
                    <a:pt x="984" y="134"/>
                    <a:pt x="961" y="134"/>
                  </a:cubicBezTo>
                  <a:cubicBezTo>
                    <a:pt x="937" y="134"/>
                    <a:pt x="920" y="121"/>
                    <a:pt x="920" y="88"/>
                  </a:cubicBezTo>
                  <a:lnTo>
                    <a:pt x="920" y="84"/>
                  </a:lnTo>
                  <a:close/>
                  <a:moveTo>
                    <a:pt x="986" y="84"/>
                  </a:moveTo>
                  <a:cubicBezTo>
                    <a:pt x="986" y="60"/>
                    <a:pt x="976" y="52"/>
                    <a:pt x="961" y="52"/>
                  </a:cubicBezTo>
                  <a:cubicBezTo>
                    <a:pt x="945" y="52"/>
                    <a:pt x="936" y="60"/>
                    <a:pt x="936" y="84"/>
                  </a:cubicBezTo>
                  <a:cubicBezTo>
                    <a:pt x="936" y="88"/>
                    <a:pt x="936" y="88"/>
                    <a:pt x="936" y="88"/>
                  </a:cubicBezTo>
                  <a:cubicBezTo>
                    <a:pt x="936" y="112"/>
                    <a:pt x="945" y="120"/>
                    <a:pt x="961" y="120"/>
                  </a:cubicBezTo>
                  <a:cubicBezTo>
                    <a:pt x="976" y="120"/>
                    <a:pt x="986" y="112"/>
                    <a:pt x="986" y="88"/>
                  </a:cubicBezTo>
                  <a:lnTo>
                    <a:pt x="986" y="84"/>
                  </a:lnTo>
                  <a:close/>
                  <a:moveTo>
                    <a:pt x="1014" y="11"/>
                  </a:moveTo>
                  <a:cubicBezTo>
                    <a:pt x="1030" y="11"/>
                    <a:pt x="1030" y="11"/>
                    <a:pt x="1030" y="11"/>
                  </a:cubicBezTo>
                  <a:cubicBezTo>
                    <a:pt x="1030" y="39"/>
                    <a:pt x="1030" y="39"/>
                    <a:pt x="1030" y="39"/>
                  </a:cubicBezTo>
                  <a:cubicBezTo>
                    <a:pt x="1065" y="39"/>
                    <a:pt x="1065" y="39"/>
                    <a:pt x="1065" y="39"/>
                  </a:cubicBezTo>
                  <a:cubicBezTo>
                    <a:pt x="1065" y="53"/>
                    <a:pt x="1065" y="53"/>
                    <a:pt x="1065" y="53"/>
                  </a:cubicBezTo>
                  <a:cubicBezTo>
                    <a:pt x="1030" y="53"/>
                    <a:pt x="1030" y="53"/>
                    <a:pt x="1030" y="53"/>
                  </a:cubicBezTo>
                  <a:cubicBezTo>
                    <a:pt x="1030" y="101"/>
                    <a:pt x="1030" y="101"/>
                    <a:pt x="1030" y="101"/>
                  </a:cubicBezTo>
                  <a:cubicBezTo>
                    <a:pt x="1030" y="115"/>
                    <a:pt x="1036" y="120"/>
                    <a:pt x="1046" y="120"/>
                  </a:cubicBezTo>
                  <a:cubicBezTo>
                    <a:pt x="1054" y="120"/>
                    <a:pt x="1061" y="117"/>
                    <a:pt x="1066" y="114"/>
                  </a:cubicBezTo>
                  <a:cubicBezTo>
                    <a:pt x="1071" y="128"/>
                    <a:pt x="1071" y="128"/>
                    <a:pt x="1071" y="128"/>
                  </a:cubicBezTo>
                  <a:cubicBezTo>
                    <a:pt x="1064" y="132"/>
                    <a:pt x="1056" y="134"/>
                    <a:pt x="1046" y="134"/>
                  </a:cubicBezTo>
                  <a:cubicBezTo>
                    <a:pt x="1028" y="134"/>
                    <a:pt x="1014" y="125"/>
                    <a:pt x="1014" y="100"/>
                  </a:cubicBezTo>
                  <a:lnTo>
                    <a:pt x="1014" y="11"/>
                  </a:lnTo>
                  <a:close/>
                  <a:moveTo>
                    <a:pt x="1156" y="92"/>
                  </a:moveTo>
                  <a:cubicBezTo>
                    <a:pt x="1092" y="92"/>
                    <a:pt x="1092" y="92"/>
                    <a:pt x="1092" y="92"/>
                  </a:cubicBezTo>
                  <a:cubicBezTo>
                    <a:pt x="1092" y="93"/>
                    <a:pt x="1092" y="93"/>
                    <a:pt x="1092" y="93"/>
                  </a:cubicBezTo>
                  <a:cubicBezTo>
                    <a:pt x="1092" y="111"/>
                    <a:pt x="1103" y="120"/>
                    <a:pt x="1121" y="120"/>
                  </a:cubicBezTo>
                  <a:cubicBezTo>
                    <a:pt x="1132" y="120"/>
                    <a:pt x="1143" y="117"/>
                    <a:pt x="1150" y="115"/>
                  </a:cubicBezTo>
                  <a:cubicBezTo>
                    <a:pt x="1154" y="128"/>
                    <a:pt x="1154" y="128"/>
                    <a:pt x="1154" y="128"/>
                  </a:cubicBezTo>
                  <a:cubicBezTo>
                    <a:pt x="1145" y="132"/>
                    <a:pt x="1134" y="134"/>
                    <a:pt x="1121" y="134"/>
                  </a:cubicBezTo>
                  <a:cubicBezTo>
                    <a:pt x="1094" y="134"/>
                    <a:pt x="1076" y="120"/>
                    <a:pt x="1076" y="88"/>
                  </a:cubicBezTo>
                  <a:cubicBezTo>
                    <a:pt x="1076" y="83"/>
                    <a:pt x="1076" y="83"/>
                    <a:pt x="1076" y="83"/>
                  </a:cubicBezTo>
                  <a:cubicBezTo>
                    <a:pt x="1076" y="51"/>
                    <a:pt x="1092" y="37"/>
                    <a:pt x="1116" y="37"/>
                  </a:cubicBezTo>
                  <a:cubicBezTo>
                    <a:pt x="1141" y="37"/>
                    <a:pt x="1156" y="51"/>
                    <a:pt x="1156" y="83"/>
                  </a:cubicBezTo>
                  <a:lnTo>
                    <a:pt x="1156" y="92"/>
                  </a:lnTo>
                  <a:close/>
                  <a:moveTo>
                    <a:pt x="1092" y="80"/>
                  </a:moveTo>
                  <a:cubicBezTo>
                    <a:pt x="1141" y="80"/>
                    <a:pt x="1141" y="80"/>
                    <a:pt x="1141" y="80"/>
                  </a:cubicBezTo>
                  <a:cubicBezTo>
                    <a:pt x="1141" y="79"/>
                    <a:pt x="1141" y="79"/>
                    <a:pt x="1141" y="79"/>
                  </a:cubicBezTo>
                  <a:cubicBezTo>
                    <a:pt x="1141" y="60"/>
                    <a:pt x="1131" y="52"/>
                    <a:pt x="1116" y="52"/>
                  </a:cubicBezTo>
                  <a:cubicBezTo>
                    <a:pt x="1102" y="52"/>
                    <a:pt x="1092" y="60"/>
                    <a:pt x="1092" y="79"/>
                  </a:cubicBezTo>
                  <a:lnTo>
                    <a:pt x="1092" y="80"/>
                  </a:lnTo>
                  <a:close/>
                  <a:moveTo>
                    <a:pt x="1172" y="42"/>
                  </a:moveTo>
                  <a:cubicBezTo>
                    <a:pt x="1180" y="39"/>
                    <a:pt x="1193" y="37"/>
                    <a:pt x="1209" y="37"/>
                  </a:cubicBezTo>
                  <a:cubicBezTo>
                    <a:pt x="1231" y="37"/>
                    <a:pt x="1248" y="47"/>
                    <a:pt x="1248" y="77"/>
                  </a:cubicBezTo>
                  <a:cubicBezTo>
                    <a:pt x="1248" y="132"/>
                    <a:pt x="1248" y="132"/>
                    <a:pt x="1248" y="132"/>
                  </a:cubicBezTo>
                  <a:cubicBezTo>
                    <a:pt x="1233" y="132"/>
                    <a:pt x="1233" y="132"/>
                    <a:pt x="1233" y="132"/>
                  </a:cubicBezTo>
                  <a:cubicBezTo>
                    <a:pt x="1233" y="76"/>
                    <a:pt x="1233" y="76"/>
                    <a:pt x="1233" y="76"/>
                  </a:cubicBezTo>
                  <a:cubicBezTo>
                    <a:pt x="1233" y="56"/>
                    <a:pt x="1223" y="52"/>
                    <a:pt x="1208" y="52"/>
                  </a:cubicBezTo>
                  <a:cubicBezTo>
                    <a:pt x="1198" y="52"/>
                    <a:pt x="1193" y="52"/>
                    <a:pt x="1187" y="54"/>
                  </a:cubicBezTo>
                  <a:cubicBezTo>
                    <a:pt x="1187" y="132"/>
                    <a:pt x="1187" y="132"/>
                    <a:pt x="1187" y="132"/>
                  </a:cubicBezTo>
                  <a:cubicBezTo>
                    <a:pt x="1172" y="132"/>
                    <a:pt x="1172" y="132"/>
                    <a:pt x="1172" y="132"/>
                  </a:cubicBezTo>
                  <a:lnTo>
                    <a:pt x="1172" y="42"/>
                  </a:lnTo>
                  <a:close/>
                  <a:moveTo>
                    <a:pt x="1263" y="11"/>
                  </a:moveTo>
                  <a:cubicBezTo>
                    <a:pt x="1279" y="11"/>
                    <a:pt x="1279" y="11"/>
                    <a:pt x="1279" y="11"/>
                  </a:cubicBezTo>
                  <a:cubicBezTo>
                    <a:pt x="1279" y="39"/>
                    <a:pt x="1279" y="39"/>
                    <a:pt x="1279" y="39"/>
                  </a:cubicBezTo>
                  <a:cubicBezTo>
                    <a:pt x="1314" y="39"/>
                    <a:pt x="1314" y="39"/>
                    <a:pt x="1314" y="39"/>
                  </a:cubicBezTo>
                  <a:cubicBezTo>
                    <a:pt x="1314" y="53"/>
                    <a:pt x="1314" y="53"/>
                    <a:pt x="1314" y="53"/>
                  </a:cubicBezTo>
                  <a:cubicBezTo>
                    <a:pt x="1279" y="53"/>
                    <a:pt x="1279" y="53"/>
                    <a:pt x="1279" y="53"/>
                  </a:cubicBezTo>
                  <a:cubicBezTo>
                    <a:pt x="1279" y="101"/>
                    <a:pt x="1279" y="101"/>
                    <a:pt x="1279" y="101"/>
                  </a:cubicBezTo>
                  <a:cubicBezTo>
                    <a:pt x="1279" y="115"/>
                    <a:pt x="1286" y="120"/>
                    <a:pt x="1295" y="120"/>
                  </a:cubicBezTo>
                  <a:cubicBezTo>
                    <a:pt x="1303" y="120"/>
                    <a:pt x="1311" y="117"/>
                    <a:pt x="1316" y="114"/>
                  </a:cubicBezTo>
                  <a:cubicBezTo>
                    <a:pt x="1320" y="128"/>
                    <a:pt x="1320" y="128"/>
                    <a:pt x="1320" y="128"/>
                  </a:cubicBezTo>
                  <a:cubicBezTo>
                    <a:pt x="1314" y="132"/>
                    <a:pt x="1305" y="134"/>
                    <a:pt x="1295" y="134"/>
                  </a:cubicBezTo>
                  <a:cubicBezTo>
                    <a:pt x="1277" y="134"/>
                    <a:pt x="1263" y="125"/>
                    <a:pt x="1263" y="100"/>
                  </a:cubicBezTo>
                  <a:lnTo>
                    <a:pt x="1263" y="11"/>
                  </a:lnTo>
                  <a:close/>
                  <a:moveTo>
                    <a:pt x="1340" y="0"/>
                  </a:moveTo>
                  <a:cubicBezTo>
                    <a:pt x="1346" y="0"/>
                    <a:pt x="1350" y="5"/>
                    <a:pt x="1350" y="10"/>
                  </a:cubicBezTo>
                  <a:cubicBezTo>
                    <a:pt x="1350" y="16"/>
                    <a:pt x="1346" y="20"/>
                    <a:pt x="1340" y="20"/>
                  </a:cubicBezTo>
                  <a:cubicBezTo>
                    <a:pt x="1335" y="20"/>
                    <a:pt x="1331" y="16"/>
                    <a:pt x="1331" y="10"/>
                  </a:cubicBezTo>
                  <a:cubicBezTo>
                    <a:pt x="1331" y="5"/>
                    <a:pt x="1335" y="0"/>
                    <a:pt x="1340" y="0"/>
                  </a:cubicBezTo>
                  <a:close/>
                  <a:moveTo>
                    <a:pt x="1333" y="39"/>
                  </a:moveTo>
                  <a:cubicBezTo>
                    <a:pt x="1348" y="39"/>
                    <a:pt x="1348" y="39"/>
                    <a:pt x="1348" y="39"/>
                  </a:cubicBezTo>
                  <a:cubicBezTo>
                    <a:pt x="1348" y="125"/>
                    <a:pt x="1348" y="125"/>
                    <a:pt x="1348" y="125"/>
                  </a:cubicBezTo>
                  <a:cubicBezTo>
                    <a:pt x="1348" y="132"/>
                    <a:pt x="1348" y="132"/>
                    <a:pt x="1348" y="132"/>
                  </a:cubicBezTo>
                  <a:cubicBezTo>
                    <a:pt x="1333" y="132"/>
                    <a:pt x="1333" y="132"/>
                    <a:pt x="1333" y="132"/>
                  </a:cubicBezTo>
                  <a:lnTo>
                    <a:pt x="1333" y="39"/>
                  </a:lnTo>
                  <a:close/>
                  <a:moveTo>
                    <a:pt x="1437" y="129"/>
                  </a:moveTo>
                  <a:cubicBezTo>
                    <a:pt x="1427" y="132"/>
                    <a:pt x="1415" y="134"/>
                    <a:pt x="1399" y="134"/>
                  </a:cubicBezTo>
                  <a:cubicBezTo>
                    <a:pt x="1378" y="134"/>
                    <a:pt x="1361" y="125"/>
                    <a:pt x="1361" y="104"/>
                  </a:cubicBezTo>
                  <a:cubicBezTo>
                    <a:pt x="1361" y="103"/>
                    <a:pt x="1361" y="103"/>
                    <a:pt x="1361" y="103"/>
                  </a:cubicBezTo>
                  <a:cubicBezTo>
                    <a:pt x="1361" y="85"/>
                    <a:pt x="1378" y="76"/>
                    <a:pt x="1404" y="75"/>
                  </a:cubicBezTo>
                  <a:cubicBezTo>
                    <a:pt x="1410" y="75"/>
                    <a:pt x="1416" y="75"/>
                    <a:pt x="1422" y="74"/>
                  </a:cubicBezTo>
                  <a:cubicBezTo>
                    <a:pt x="1422" y="69"/>
                    <a:pt x="1422" y="69"/>
                    <a:pt x="1422" y="69"/>
                  </a:cubicBezTo>
                  <a:cubicBezTo>
                    <a:pt x="1422" y="56"/>
                    <a:pt x="1412" y="52"/>
                    <a:pt x="1398" y="52"/>
                  </a:cubicBezTo>
                  <a:cubicBezTo>
                    <a:pt x="1386" y="52"/>
                    <a:pt x="1376" y="55"/>
                    <a:pt x="1369" y="58"/>
                  </a:cubicBezTo>
                  <a:cubicBezTo>
                    <a:pt x="1368" y="53"/>
                    <a:pt x="1366" y="48"/>
                    <a:pt x="1365" y="44"/>
                  </a:cubicBezTo>
                  <a:cubicBezTo>
                    <a:pt x="1375" y="40"/>
                    <a:pt x="1385" y="37"/>
                    <a:pt x="1399" y="37"/>
                  </a:cubicBezTo>
                  <a:cubicBezTo>
                    <a:pt x="1421" y="37"/>
                    <a:pt x="1437" y="46"/>
                    <a:pt x="1437" y="71"/>
                  </a:cubicBezTo>
                  <a:lnTo>
                    <a:pt x="1437" y="129"/>
                  </a:lnTo>
                  <a:close/>
                  <a:moveTo>
                    <a:pt x="1422" y="87"/>
                  </a:moveTo>
                  <a:cubicBezTo>
                    <a:pt x="1395" y="88"/>
                    <a:pt x="1376" y="88"/>
                    <a:pt x="1376" y="103"/>
                  </a:cubicBezTo>
                  <a:cubicBezTo>
                    <a:pt x="1376" y="104"/>
                    <a:pt x="1376" y="104"/>
                    <a:pt x="1376" y="104"/>
                  </a:cubicBezTo>
                  <a:cubicBezTo>
                    <a:pt x="1376" y="115"/>
                    <a:pt x="1386" y="120"/>
                    <a:pt x="1399" y="120"/>
                  </a:cubicBezTo>
                  <a:cubicBezTo>
                    <a:pt x="1409" y="120"/>
                    <a:pt x="1415" y="119"/>
                    <a:pt x="1422" y="117"/>
                  </a:cubicBezTo>
                  <a:lnTo>
                    <a:pt x="1422" y="87"/>
                  </a:lnTo>
                  <a:close/>
                  <a:moveTo>
                    <a:pt x="1454" y="1"/>
                  </a:moveTo>
                  <a:cubicBezTo>
                    <a:pt x="1470" y="1"/>
                    <a:pt x="1470" y="1"/>
                    <a:pt x="1470" y="1"/>
                  </a:cubicBezTo>
                  <a:cubicBezTo>
                    <a:pt x="1470" y="103"/>
                    <a:pt x="1470" y="103"/>
                    <a:pt x="1470" y="103"/>
                  </a:cubicBezTo>
                  <a:cubicBezTo>
                    <a:pt x="1470" y="116"/>
                    <a:pt x="1474" y="119"/>
                    <a:pt x="1479" y="119"/>
                  </a:cubicBezTo>
                  <a:cubicBezTo>
                    <a:pt x="1483" y="119"/>
                    <a:pt x="1484" y="118"/>
                    <a:pt x="1487" y="117"/>
                  </a:cubicBezTo>
                  <a:cubicBezTo>
                    <a:pt x="1491" y="131"/>
                    <a:pt x="1491" y="131"/>
                    <a:pt x="1491" y="131"/>
                  </a:cubicBezTo>
                  <a:cubicBezTo>
                    <a:pt x="1487" y="133"/>
                    <a:pt x="1483" y="134"/>
                    <a:pt x="1477" y="134"/>
                  </a:cubicBezTo>
                  <a:cubicBezTo>
                    <a:pt x="1464" y="134"/>
                    <a:pt x="1454" y="126"/>
                    <a:pt x="1454" y="103"/>
                  </a:cubicBezTo>
                  <a:lnTo>
                    <a:pt x="145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 name="Freeform 7">
              <a:extLst>
                <a:ext uri="{FF2B5EF4-FFF2-40B4-BE49-F238E27FC236}">
                  <a16:creationId xmlns:a16="http://schemas.microsoft.com/office/drawing/2014/main" id="{B94901F1-32A7-4DD2-98AE-04323B5F8544}"/>
                </a:ext>
              </a:extLst>
            </p:cNvPr>
            <p:cNvSpPr>
              <a:spLocks noEditPoints="1"/>
            </p:cNvSpPr>
            <p:nvPr userDrawn="1"/>
          </p:nvSpPr>
          <p:spPr bwMode="auto">
            <a:xfrm>
              <a:off x="6038850" y="3760788"/>
              <a:ext cx="5803900" cy="873125"/>
            </a:xfrm>
            <a:custGeom>
              <a:avLst/>
              <a:gdLst>
                <a:gd name="T0" fmla="*/ 184 w 2256"/>
                <a:gd name="T1" fmla="*/ 173 h 339"/>
                <a:gd name="T2" fmla="*/ 0 w 2256"/>
                <a:gd name="T3" fmla="*/ 334 h 339"/>
                <a:gd name="T4" fmla="*/ 50 w 2256"/>
                <a:gd name="T5" fmla="*/ 70 h 339"/>
                <a:gd name="T6" fmla="*/ 174 w 2256"/>
                <a:gd name="T7" fmla="*/ 112 h 339"/>
                <a:gd name="T8" fmla="*/ 50 w 2256"/>
                <a:gd name="T9" fmla="*/ 197 h 339"/>
                <a:gd name="T10" fmla="*/ 184 w 2256"/>
                <a:gd name="T11" fmla="*/ 243 h 339"/>
                <a:gd name="T12" fmla="*/ 279 w 2256"/>
                <a:gd name="T13" fmla="*/ 0 h 339"/>
                <a:gd name="T14" fmla="*/ 347 w 2256"/>
                <a:gd name="T15" fmla="*/ 293 h 339"/>
                <a:gd name="T16" fmla="*/ 341 w 2256"/>
                <a:gd name="T17" fmla="*/ 338 h 339"/>
                <a:gd name="T18" fmla="*/ 608 w 2256"/>
                <a:gd name="T19" fmla="*/ 327 h 339"/>
                <a:gd name="T20" fmla="*/ 407 w 2256"/>
                <a:gd name="T21" fmla="*/ 96 h 339"/>
                <a:gd name="T22" fmla="*/ 512 w 2256"/>
                <a:gd name="T23" fmla="*/ 294 h 339"/>
                <a:gd name="T24" fmla="*/ 608 w 2256"/>
                <a:gd name="T25" fmla="*/ 96 h 339"/>
                <a:gd name="T26" fmla="*/ 705 w 2256"/>
                <a:gd name="T27" fmla="*/ 233 h 339"/>
                <a:gd name="T28" fmla="*/ 849 w 2256"/>
                <a:gd name="T29" fmla="*/ 282 h 339"/>
                <a:gd name="T30" fmla="*/ 657 w 2256"/>
                <a:gd name="T31" fmla="*/ 220 h 339"/>
                <a:gd name="T32" fmla="*/ 867 w 2256"/>
                <a:gd name="T33" fmla="*/ 210 h 339"/>
                <a:gd name="T34" fmla="*/ 818 w 2256"/>
                <a:gd name="T35" fmla="*/ 197 h 339"/>
                <a:gd name="T36" fmla="*/ 705 w 2256"/>
                <a:gd name="T37" fmla="*/ 195 h 339"/>
                <a:gd name="T38" fmla="*/ 1017 w 2256"/>
                <a:gd name="T39" fmla="*/ 334 h 339"/>
                <a:gd name="T40" fmla="*/ 849 w 2256"/>
                <a:gd name="T41" fmla="*/ 24 h 339"/>
                <a:gd name="T42" fmla="*/ 1080 w 2256"/>
                <a:gd name="T43" fmla="*/ 24 h 339"/>
                <a:gd name="T44" fmla="*/ 1107 w 2256"/>
                <a:gd name="T45" fmla="*/ 211 h 339"/>
                <a:gd name="T46" fmla="*/ 1322 w 2256"/>
                <a:gd name="T47" fmla="*/ 219 h 339"/>
                <a:gd name="T48" fmla="*/ 1107 w 2256"/>
                <a:gd name="T49" fmla="*/ 211 h 339"/>
                <a:gd name="T50" fmla="*/ 1154 w 2256"/>
                <a:gd name="T51" fmla="*/ 211 h 339"/>
                <a:gd name="T52" fmla="*/ 1273 w 2256"/>
                <a:gd name="T53" fmla="*/ 219 h 339"/>
                <a:gd name="T54" fmla="*/ 1467 w 2256"/>
                <a:gd name="T55" fmla="*/ 91 h 339"/>
                <a:gd name="T56" fmla="*/ 1522 w 2256"/>
                <a:gd name="T57" fmla="*/ 334 h 339"/>
                <a:gd name="T58" fmla="*/ 1416 w 2256"/>
                <a:gd name="T59" fmla="*/ 140 h 339"/>
                <a:gd name="T60" fmla="*/ 1368 w 2256"/>
                <a:gd name="T61" fmla="*/ 103 h 339"/>
                <a:gd name="T62" fmla="*/ 1613 w 2256"/>
                <a:gd name="T63" fmla="*/ 220 h 339"/>
                <a:gd name="T64" fmla="*/ 1767 w 2256"/>
                <a:gd name="T65" fmla="*/ 98 h 339"/>
                <a:gd name="T66" fmla="*/ 1814 w 2256"/>
                <a:gd name="T67" fmla="*/ 327 h 339"/>
                <a:gd name="T68" fmla="*/ 1767 w 2256"/>
                <a:gd name="T69" fmla="*/ 290 h 339"/>
                <a:gd name="T70" fmla="*/ 1661 w 2256"/>
                <a:gd name="T71" fmla="*/ 210 h 339"/>
                <a:gd name="T72" fmla="*/ 1911 w 2256"/>
                <a:gd name="T73" fmla="*/ 233 h 339"/>
                <a:gd name="T74" fmla="*/ 2054 w 2256"/>
                <a:gd name="T75" fmla="*/ 282 h 339"/>
                <a:gd name="T76" fmla="*/ 1862 w 2256"/>
                <a:gd name="T77" fmla="*/ 220 h 339"/>
                <a:gd name="T78" fmla="*/ 2073 w 2256"/>
                <a:gd name="T79" fmla="*/ 210 h 339"/>
                <a:gd name="T80" fmla="*/ 2025 w 2256"/>
                <a:gd name="T81" fmla="*/ 197 h 339"/>
                <a:gd name="T82" fmla="*/ 1912 w 2256"/>
                <a:gd name="T83" fmla="*/ 195 h 339"/>
                <a:gd name="T84" fmla="*/ 2202 w 2256"/>
                <a:gd name="T85" fmla="*/ 91 h 339"/>
                <a:gd name="T86" fmla="*/ 2205 w 2256"/>
                <a:gd name="T87" fmla="*/ 136 h 339"/>
                <a:gd name="T88" fmla="*/ 2122 w 2256"/>
                <a:gd name="T89"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56" h="339">
                  <a:moveTo>
                    <a:pt x="111" y="24"/>
                  </a:moveTo>
                  <a:cubicBezTo>
                    <a:pt x="192" y="24"/>
                    <a:pt x="224" y="61"/>
                    <a:pt x="224" y="109"/>
                  </a:cubicBezTo>
                  <a:cubicBezTo>
                    <a:pt x="224" y="136"/>
                    <a:pt x="212" y="159"/>
                    <a:pt x="184" y="173"/>
                  </a:cubicBezTo>
                  <a:cubicBezTo>
                    <a:pt x="219" y="188"/>
                    <a:pt x="233" y="215"/>
                    <a:pt x="233" y="246"/>
                  </a:cubicBezTo>
                  <a:cubicBezTo>
                    <a:pt x="233" y="297"/>
                    <a:pt x="201" y="334"/>
                    <a:pt x="117" y="334"/>
                  </a:cubicBezTo>
                  <a:cubicBezTo>
                    <a:pt x="0" y="334"/>
                    <a:pt x="0" y="334"/>
                    <a:pt x="0" y="334"/>
                  </a:cubicBezTo>
                  <a:cubicBezTo>
                    <a:pt x="0" y="24"/>
                    <a:pt x="0" y="24"/>
                    <a:pt x="0" y="24"/>
                  </a:cubicBezTo>
                  <a:lnTo>
                    <a:pt x="111" y="24"/>
                  </a:lnTo>
                  <a:close/>
                  <a:moveTo>
                    <a:pt x="50" y="70"/>
                  </a:moveTo>
                  <a:cubicBezTo>
                    <a:pt x="50" y="154"/>
                    <a:pt x="50" y="154"/>
                    <a:pt x="50" y="154"/>
                  </a:cubicBezTo>
                  <a:cubicBezTo>
                    <a:pt x="111" y="154"/>
                    <a:pt x="111" y="154"/>
                    <a:pt x="111" y="154"/>
                  </a:cubicBezTo>
                  <a:cubicBezTo>
                    <a:pt x="158" y="154"/>
                    <a:pt x="174" y="135"/>
                    <a:pt x="174" y="112"/>
                  </a:cubicBezTo>
                  <a:cubicBezTo>
                    <a:pt x="174" y="87"/>
                    <a:pt x="158" y="70"/>
                    <a:pt x="111" y="70"/>
                  </a:cubicBezTo>
                  <a:lnTo>
                    <a:pt x="50" y="70"/>
                  </a:lnTo>
                  <a:close/>
                  <a:moveTo>
                    <a:pt x="50" y="197"/>
                  </a:moveTo>
                  <a:cubicBezTo>
                    <a:pt x="50" y="289"/>
                    <a:pt x="50" y="289"/>
                    <a:pt x="50" y="289"/>
                  </a:cubicBezTo>
                  <a:cubicBezTo>
                    <a:pt x="117" y="289"/>
                    <a:pt x="117" y="289"/>
                    <a:pt x="117" y="289"/>
                  </a:cubicBezTo>
                  <a:cubicBezTo>
                    <a:pt x="167" y="289"/>
                    <a:pt x="184" y="270"/>
                    <a:pt x="184" y="243"/>
                  </a:cubicBezTo>
                  <a:cubicBezTo>
                    <a:pt x="184" y="216"/>
                    <a:pt x="167" y="197"/>
                    <a:pt x="117" y="197"/>
                  </a:cubicBezTo>
                  <a:lnTo>
                    <a:pt x="50" y="197"/>
                  </a:lnTo>
                  <a:close/>
                  <a:moveTo>
                    <a:pt x="279" y="0"/>
                  </a:moveTo>
                  <a:cubicBezTo>
                    <a:pt x="326" y="0"/>
                    <a:pt x="326" y="0"/>
                    <a:pt x="326" y="0"/>
                  </a:cubicBezTo>
                  <a:cubicBezTo>
                    <a:pt x="326" y="256"/>
                    <a:pt x="326" y="256"/>
                    <a:pt x="326" y="256"/>
                  </a:cubicBezTo>
                  <a:cubicBezTo>
                    <a:pt x="326" y="285"/>
                    <a:pt x="335" y="293"/>
                    <a:pt x="347" y="293"/>
                  </a:cubicBezTo>
                  <a:cubicBezTo>
                    <a:pt x="355" y="293"/>
                    <a:pt x="359" y="292"/>
                    <a:pt x="364" y="290"/>
                  </a:cubicBezTo>
                  <a:cubicBezTo>
                    <a:pt x="377" y="332"/>
                    <a:pt x="377" y="332"/>
                    <a:pt x="377" y="332"/>
                  </a:cubicBezTo>
                  <a:cubicBezTo>
                    <a:pt x="367" y="335"/>
                    <a:pt x="357" y="338"/>
                    <a:pt x="341" y="338"/>
                  </a:cubicBezTo>
                  <a:cubicBezTo>
                    <a:pt x="306" y="338"/>
                    <a:pt x="279" y="317"/>
                    <a:pt x="279" y="256"/>
                  </a:cubicBezTo>
                  <a:lnTo>
                    <a:pt x="279" y="0"/>
                  </a:lnTo>
                  <a:close/>
                  <a:moveTo>
                    <a:pt x="608" y="327"/>
                  </a:moveTo>
                  <a:cubicBezTo>
                    <a:pt x="579" y="334"/>
                    <a:pt x="549" y="339"/>
                    <a:pt x="508" y="339"/>
                  </a:cubicBezTo>
                  <a:cubicBezTo>
                    <a:pt x="450" y="339"/>
                    <a:pt x="407" y="310"/>
                    <a:pt x="407" y="236"/>
                  </a:cubicBezTo>
                  <a:cubicBezTo>
                    <a:pt x="407" y="96"/>
                    <a:pt x="407" y="96"/>
                    <a:pt x="407" y="96"/>
                  </a:cubicBezTo>
                  <a:cubicBezTo>
                    <a:pt x="454" y="96"/>
                    <a:pt x="454" y="96"/>
                    <a:pt x="454" y="96"/>
                  </a:cubicBezTo>
                  <a:cubicBezTo>
                    <a:pt x="454" y="239"/>
                    <a:pt x="454" y="239"/>
                    <a:pt x="454" y="239"/>
                  </a:cubicBezTo>
                  <a:cubicBezTo>
                    <a:pt x="454" y="283"/>
                    <a:pt x="477" y="294"/>
                    <a:pt x="512" y="294"/>
                  </a:cubicBezTo>
                  <a:cubicBezTo>
                    <a:pt x="534" y="294"/>
                    <a:pt x="546" y="293"/>
                    <a:pt x="560" y="290"/>
                  </a:cubicBezTo>
                  <a:cubicBezTo>
                    <a:pt x="560" y="96"/>
                    <a:pt x="560" y="96"/>
                    <a:pt x="560" y="96"/>
                  </a:cubicBezTo>
                  <a:cubicBezTo>
                    <a:pt x="608" y="96"/>
                    <a:pt x="608" y="96"/>
                    <a:pt x="608" y="96"/>
                  </a:cubicBezTo>
                  <a:lnTo>
                    <a:pt x="608" y="327"/>
                  </a:lnTo>
                  <a:close/>
                  <a:moveTo>
                    <a:pt x="867" y="233"/>
                  </a:moveTo>
                  <a:cubicBezTo>
                    <a:pt x="705" y="233"/>
                    <a:pt x="705" y="233"/>
                    <a:pt x="705" y="233"/>
                  </a:cubicBezTo>
                  <a:cubicBezTo>
                    <a:pt x="705" y="235"/>
                    <a:pt x="705" y="235"/>
                    <a:pt x="705" y="235"/>
                  </a:cubicBezTo>
                  <a:cubicBezTo>
                    <a:pt x="705" y="274"/>
                    <a:pt x="731" y="294"/>
                    <a:pt x="773" y="294"/>
                  </a:cubicBezTo>
                  <a:cubicBezTo>
                    <a:pt x="803" y="294"/>
                    <a:pt x="832" y="289"/>
                    <a:pt x="849" y="282"/>
                  </a:cubicBezTo>
                  <a:cubicBezTo>
                    <a:pt x="862" y="325"/>
                    <a:pt x="862" y="325"/>
                    <a:pt x="862" y="325"/>
                  </a:cubicBezTo>
                  <a:cubicBezTo>
                    <a:pt x="838" y="334"/>
                    <a:pt x="808" y="339"/>
                    <a:pt x="773" y="339"/>
                  </a:cubicBezTo>
                  <a:cubicBezTo>
                    <a:pt x="701" y="339"/>
                    <a:pt x="657" y="304"/>
                    <a:pt x="657" y="220"/>
                  </a:cubicBezTo>
                  <a:cubicBezTo>
                    <a:pt x="657" y="210"/>
                    <a:pt x="657" y="210"/>
                    <a:pt x="657" y="210"/>
                  </a:cubicBezTo>
                  <a:cubicBezTo>
                    <a:pt x="657" y="126"/>
                    <a:pt x="698" y="91"/>
                    <a:pt x="762" y="91"/>
                  </a:cubicBezTo>
                  <a:cubicBezTo>
                    <a:pt x="826" y="91"/>
                    <a:pt x="867" y="126"/>
                    <a:pt x="867" y="210"/>
                  </a:cubicBezTo>
                  <a:lnTo>
                    <a:pt x="867" y="233"/>
                  </a:lnTo>
                  <a:close/>
                  <a:moveTo>
                    <a:pt x="705" y="197"/>
                  </a:moveTo>
                  <a:cubicBezTo>
                    <a:pt x="818" y="197"/>
                    <a:pt x="818" y="197"/>
                    <a:pt x="818" y="197"/>
                  </a:cubicBezTo>
                  <a:cubicBezTo>
                    <a:pt x="818" y="195"/>
                    <a:pt x="818" y="195"/>
                    <a:pt x="818" y="195"/>
                  </a:cubicBezTo>
                  <a:cubicBezTo>
                    <a:pt x="818" y="154"/>
                    <a:pt x="797" y="136"/>
                    <a:pt x="762" y="136"/>
                  </a:cubicBezTo>
                  <a:cubicBezTo>
                    <a:pt x="728" y="136"/>
                    <a:pt x="705" y="154"/>
                    <a:pt x="705" y="195"/>
                  </a:cubicBezTo>
                  <a:lnTo>
                    <a:pt x="705" y="197"/>
                  </a:lnTo>
                  <a:close/>
                  <a:moveTo>
                    <a:pt x="1017" y="214"/>
                  </a:moveTo>
                  <a:cubicBezTo>
                    <a:pt x="1017" y="334"/>
                    <a:pt x="1017" y="334"/>
                    <a:pt x="1017" y="334"/>
                  </a:cubicBezTo>
                  <a:cubicBezTo>
                    <a:pt x="967" y="334"/>
                    <a:pt x="967" y="334"/>
                    <a:pt x="967" y="334"/>
                  </a:cubicBezTo>
                  <a:cubicBezTo>
                    <a:pt x="967" y="215"/>
                    <a:pt x="967" y="215"/>
                    <a:pt x="967" y="215"/>
                  </a:cubicBezTo>
                  <a:cubicBezTo>
                    <a:pt x="849" y="24"/>
                    <a:pt x="849" y="24"/>
                    <a:pt x="849" y="24"/>
                  </a:cubicBezTo>
                  <a:cubicBezTo>
                    <a:pt x="904" y="24"/>
                    <a:pt x="904" y="24"/>
                    <a:pt x="904" y="24"/>
                  </a:cubicBezTo>
                  <a:cubicBezTo>
                    <a:pt x="992" y="169"/>
                    <a:pt x="992" y="169"/>
                    <a:pt x="992" y="169"/>
                  </a:cubicBezTo>
                  <a:cubicBezTo>
                    <a:pt x="1080" y="24"/>
                    <a:pt x="1080" y="24"/>
                    <a:pt x="1080" y="24"/>
                  </a:cubicBezTo>
                  <a:cubicBezTo>
                    <a:pt x="1136" y="24"/>
                    <a:pt x="1136" y="24"/>
                    <a:pt x="1136" y="24"/>
                  </a:cubicBezTo>
                  <a:lnTo>
                    <a:pt x="1017" y="214"/>
                  </a:lnTo>
                  <a:close/>
                  <a:moveTo>
                    <a:pt x="1107" y="211"/>
                  </a:moveTo>
                  <a:cubicBezTo>
                    <a:pt x="1107" y="126"/>
                    <a:pt x="1152" y="91"/>
                    <a:pt x="1214" y="91"/>
                  </a:cubicBezTo>
                  <a:cubicBezTo>
                    <a:pt x="1276" y="91"/>
                    <a:pt x="1322" y="126"/>
                    <a:pt x="1322" y="211"/>
                  </a:cubicBezTo>
                  <a:cubicBezTo>
                    <a:pt x="1322" y="219"/>
                    <a:pt x="1322" y="219"/>
                    <a:pt x="1322" y="219"/>
                  </a:cubicBezTo>
                  <a:cubicBezTo>
                    <a:pt x="1322" y="304"/>
                    <a:pt x="1276" y="339"/>
                    <a:pt x="1214" y="339"/>
                  </a:cubicBezTo>
                  <a:cubicBezTo>
                    <a:pt x="1152" y="339"/>
                    <a:pt x="1107" y="304"/>
                    <a:pt x="1107" y="219"/>
                  </a:cubicBezTo>
                  <a:lnTo>
                    <a:pt x="1107" y="211"/>
                  </a:lnTo>
                  <a:close/>
                  <a:moveTo>
                    <a:pt x="1273" y="211"/>
                  </a:moveTo>
                  <a:cubicBezTo>
                    <a:pt x="1273" y="154"/>
                    <a:pt x="1251" y="136"/>
                    <a:pt x="1214" y="136"/>
                  </a:cubicBezTo>
                  <a:cubicBezTo>
                    <a:pt x="1176" y="136"/>
                    <a:pt x="1154" y="154"/>
                    <a:pt x="1154" y="211"/>
                  </a:cubicBezTo>
                  <a:cubicBezTo>
                    <a:pt x="1154" y="219"/>
                    <a:pt x="1154" y="219"/>
                    <a:pt x="1154" y="219"/>
                  </a:cubicBezTo>
                  <a:cubicBezTo>
                    <a:pt x="1154" y="276"/>
                    <a:pt x="1176" y="294"/>
                    <a:pt x="1214" y="294"/>
                  </a:cubicBezTo>
                  <a:cubicBezTo>
                    <a:pt x="1251" y="294"/>
                    <a:pt x="1273" y="276"/>
                    <a:pt x="1273" y="219"/>
                  </a:cubicBezTo>
                  <a:lnTo>
                    <a:pt x="1273" y="211"/>
                  </a:lnTo>
                  <a:close/>
                  <a:moveTo>
                    <a:pt x="1368" y="103"/>
                  </a:moveTo>
                  <a:cubicBezTo>
                    <a:pt x="1391" y="96"/>
                    <a:pt x="1427" y="91"/>
                    <a:pt x="1467" y="91"/>
                  </a:cubicBezTo>
                  <a:cubicBezTo>
                    <a:pt x="1526" y="91"/>
                    <a:pt x="1570" y="120"/>
                    <a:pt x="1570" y="195"/>
                  </a:cubicBezTo>
                  <a:cubicBezTo>
                    <a:pt x="1570" y="334"/>
                    <a:pt x="1570" y="334"/>
                    <a:pt x="1570" y="334"/>
                  </a:cubicBezTo>
                  <a:cubicBezTo>
                    <a:pt x="1522" y="334"/>
                    <a:pt x="1522" y="334"/>
                    <a:pt x="1522" y="334"/>
                  </a:cubicBezTo>
                  <a:cubicBezTo>
                    <a:pt x="1522" y="191"/>
                    <a:pt x="1522" y="191"/>
                    <a:pt x="1522" y="191"/>
                  </a:cubicBezTo>
                  <a:cubicBezTo>
                    <a:pt x="1522" y="147"/>
                    <a:pt x="1499" y="136"/>
                    <a:pt x="1464" y="136"/>
                  </a:cubicBezTo>
                  <a:cubicBezTo>
                    <a:pt x="1442" y="136"/>
                    <a:pt x="1431" y="137"/>
                    <a:pt x="1416" y="140"/>
                  </a:cubicBezTo>
                  <a:cubicBezTo>
                    <a:pt x="1416" y="334"/>
                    <a:pt x="1416" y="334"/>
                    <a:pt x="1416" y="334"/>
                  </a:cubicBezTo>
                  <a:cubicBezTo>
                    <a:pt x="1368" y="334"/>
                    <a:pt x="1368" y="334"/>
                    <a:pt x="1368" y="334"/>
                  </a:cubicBezTo>
                  <a:lnTo>
                    <a:pt x="1368" y="103"/>
                  </a:lnTo>
                  <a:close/>
                  <a:moveTo>
                    <a:pt x="1814" y="327"/>
                  </a:moveTo>
                  <a:cubicBezTo>
                    <a:pt x="1787" y="336"/>
                    <a:pt x="1747" y="339"/>
                    <a:pt x="1724" y="339"/>
                  </a:cubicBezTo>
                  <a:cubicBezTo>
                    <a:pt x="1658" y="339"/>
                    <a:pt x="1613" y="301"/>
                    <a:pt x="1613" y="220"/>
                  </a:cubicBezTo>
                  <a:cubicBezTo>
                    <a:pt x="1613" y="210"/>
                    <a:pt x="1613" y="210"/>
                    <a:pt x="1613" y="210"/>
                  </a:cubicBezTo>
                  <a:cubicBezTo>
                    <a:pt x="1613" y="128"/>
                    <a:pt x="1661" y="91"/>
                    <a:pt x="1725" y="91"/>
                  </a:cubicBezTo>
                  <a:cubicBezTo>
                    <a:pt x="1741" y="91"/>
                    <a:pt x="1756" y="93"/>
                    <a:pt x="1767" y="98"/>
                  </a:cubicBezTo>
                  <a:cubicBezTo>
                    <a:pt x="1767" y="0"/>
                    <a:pt x="1767" y="0"/>
                    <a:pt x="1767" y="0"/>
                  </a:cubicBezTo>
                  <a:cubicBezTo>
                    <a:pt x="1814" y="0"/>
                    <a:pt x="1814" y="0"/>
                    <a:pt x="1814" y="0"/>
                  </a:cubicBezTo>
                  <a:lnTo>
                    <a:pt x="1814" y="327"/>
                  </a:lnTo>
                  <a:close/>
                  <a:moveTo>
                    <a:pt x="1661" y="220"/>
                  </a:moveTo>
                  <a:cubicBezTo>
                    <a:pt x="1661" y="278"/>
                    <a:pt x="1685" y="294"/>
                    <a:pt x="1725" y="294"/>
                  </a:cubicBezTo>
                  <a:cubicBezTo>
                    <a:pt x="1744" y="294"/>
                    <a:pt x="1755" y="293"/>
                    <a:pt x="1767" y="290"/>
                  </a:cubicBezTo>
                  <a:cubicBezTo>
                    <a:pt x="1767" y="144"/>
                    <a:pt x="1767" y="144"/>
                    <a:pt x="1767" y="144"/>
                  </a:cubicBezTo>
                  <a:cubicBezTo>
                    <a:pt x="1761" y="141"/>
                    <a:pt x="1747" y="136"/>
                    <a:pt x="1728" y="136"/>
                  </a:cubicBezTo>
                  <a:cubicBezTo>
                    <a:pt x="1689" y="136"/>
                    <a:pt x="1661" y="151"/>
                    <a:pt x="1661" y="210"/>
                  </a:cubicBezTo>
                  <a:lnTo>
                    <a:pt x="1661" y="220"/>
                  </a:lnTo>
                  <a:close/>
                  <a:moveTo>
                    <a:pt x="2073" y="233"/>
                  </a:moveTo>
                  <a:cubicBezTo>
                    <a:pt x="1911" y="233"/>
                    <a:pt x="1911" y="233"/>
                    <a:pt x="1911" y="233"/>
                  </a:cubicBezTo>
                  <a:cubicBezTo>
                    <a:pt x="1911" y="235"/>
                    <a:pt x="1911" y="235"/>
                    <a:pt x="1911" y="235"/>
                  </a:cubicBezTo>
                  <a:cubicBezTo>
                    <a:pt x="1911" y="274"/>
                    <a:pt x="1937" y="294"/>
                    <a:pt x="1979" y="294"/>
                  </a:cubicBezTo>
                  <a:cubicBezTo>
                    <a:pt x="2009" y="294"/>
                    <a:pt x="2037" y="289"/>
                    <a:pt x="2054" y="282"/>
                  </a:cubicBezTo>
                  <a:cubicBezTo>
                    <a:pt x="2068" y="325"/>
                    <a:pt x="2068" y="325"/>
                    <a:pt x="2068" y="325"/>
                  </a:cubicBezTo>
                  <a:cubicBezTo>
                    <a:pt x="2044" y="334"/>
                    <a:pt x="2013" y="339"/>
                    <a:pt x="1979" y="339"/>
                  </a:cubicBezTo>
                  <a:cubicBezTo>
                    <a:pt x="1907" y="339"/>
                    <a:pt x="1862" y="304"/>
                    <a:pt x="1862" y="220"/>
                  </a:cubicBezTo>
                  <a:cubicBezTo>
                    <a:pt x="1862" y="210"/>
                    <a:pt x="1862" y="210"/>
                    <a:pt x="1862" y="210"/>
                  </a:cubicBezTo>
                  <a:cubicBezTo>
                    <a:pt x="1862" y="126"/>
                    <a:pt x="1903" y="91"/>
                    <a:pt x="1968" y="91"/>
                  </a:cubicBezTo>
                  <a:cubicBezTo>
                    <a:pt x="2032" y="91"/>
                    <a:pt x="2073" y="126"/>
                    <a:pt x="2073" y="210"/>
                  </a:cubicBezTo>
                  <a:lnTo>
                    <a:pt x="2073" y="233"/>
                  </a:lnTo>
                  <a:close/>
                  <a:moveTo>
                    <a:pt x="1912" y="197"/>
                  </a:moveTo>
                  <a:cubicBezTo>
                    <a:pt x="2025" y="197"/>
                    <a:pt x="2025" y="197"/>
                    <a:pt x="2025" y="197"/>
                  </a:cubicBezTo>
                  <a:cubicBezTo>
                    <a:pt x="2025" y="195"/>
                    <a:pt x="2025" y="195"/>
                    <a:pt x="2025" y="195"/>
                  </a:cubicBezTo>
                  <a:cubicBezTo>
                    <a:pt x="2025" y="154"/>
                    <a:pt x="2003" y="136"/>
                    <a:pt x="1969" y="136"/>
                  </a:cubicBezTo>
                  <a:cubicBezTo>
                    <a:pt x="1934" y="136"/>
                    <a:pt x="1912" y="154"/>
                    <a:pt x="1912" y="195"/>
                  </a:cubicBezTo>
                  <a:lnTo>
                    <a:pt x="1912" y="197"/>
                  </a:lnTo>
                  <a:close/>
                  <a:moveTo>
                    <a:pt x="2122" y="103"/>
                  </a:moveTo>
                  <a:cubicBezTo>
                    <a:pt x="2142" y="96"/>
                    <a:pt x="2174" y="91"/>
                    <a:pt x="2202" y="91"/>
                  </a:cubicBezTo>
                  <a:cubicBezTo>
                    <a:pt x="2225" y="91"/>
                    <a:pt x="2240" y="94"/>
                    <a:pt x="2256" y="98"/>
                  </a:cubicBezTo>
                  <a:cubicBezTo>
                    <a:pt x="2242" y="141"/>
                    <a:pt x="2242" y="141"/>
                    <a:pt x="2242" y="141"/>
                  </a:cubicBezTo>
                  <a:cubicBezTo>
                    <a:pt x="2232" y="138"/>
                    <a:pt x="2221" y="136"/>
                    <a:pt x="2205" y="136"/>
                  </a:cubicBezTo>
                  <a:cubicBezTo>
                    <a:pt x="2187" y="136"/>
                    <a:pt x="2178" y="138"/>
                    <a:pt x="2170" y="140"/>
                  </a:cubicBezTo>
                  <a:cubicBezTo>
                    <a:pt x="2170" y="334"/>
                    <a:pt x="2170" y="334"/>
                    <a:pt x="2170" y="334"/>
                  </a:cubicBezTo>
                  <a:cubicBezTo>
                    <a:pt x="2122" y="334"/>
                    <a:pt x="2122" y="334"/>
                    <a:pt x="2122" y="334"/>
                  </a:cubicBezTo>
                  <a:lnTo>
                    <a:pt x="21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4" name="Freeform 8">
              <a:extLst>
                <a:ext uri="{FF2B5EF4-FFF2-40B4-BE49-F238E27FC236}">
                  <a16:creationId xmlns:a16="http://schemas.microsoft.com/office/drawing/2014/main" id="{E75E4D2D-B6C6-4D19-8944-2D21BC577CBF}"/>
                </a:ext>
              </a:extLst>
            </p:cNvPr>
            <p:cNvSpPr>
              <a:spLocks noEditPoints="1"/>
            </p:cNvSpPr>
            <p:nvPr userDrawn="1"/>
          </p:nvSpPr>
          <p:spPr bwMode="auto">
            <a:xfrm>
              <a:off x="4721225" y="3724275"/>
              <a:ext cx="1006475" cy="1009650"/>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
        <p:nvSpPr>
          <p:cNvPr id="16" name="TextBox 15">
            <a:extLst>
              <a:ext uri="{FF2B5EF4-FFF2-40B4-BE49-F238E27FC236}">
                <a16:creationId xmlns:a16="http://schemas.microsoft.com/office/drawing/2014/main" id="{099CEA23-B1EB-4B27-B54F-884521368164}"/>
              </a:ext>
            </a:extLst>
          </p:cNvPr>
          <p:cNvSpPr txBox="1"/>
          <p:nvPr userDrawn="1"/>
        </p:nvSpPr>
        <p:spPr>
          <a:xfrm>
            <a:off x="1058789" y="6627168"/>
            <a:ext cx="2435916" cy="230832"/>
          </a:xfrm>
          <a:prstGeom prst="rect">
            <a:avLst/>
          </a:prstGeom>
        </p:spPr>
        <p:txBody>
          <a:bodyPr lIns="0" rIns="0"/>
          <a:lstStyle>
            <a:defPPr>
              <a:defRPr lang="en-US"/>
            </a:defPPr>
            <a:lvl1pPr algn="r">
              <a:defRPr sz="900"/>
            </a:lvl1pPr>
          </a:lstStyle>
          <a:p>
            <a:pPr lvl="0" algn="l"/>
            <a:r>
              <a:rPr lang="en-US" sz="800" dirty="0"/>
              <a:t>Copyright © 2020 Blue Yonder Group, Inc.</a:t>
            </a:r>
          </a:p>
        </p:txBody>
      </p:sp>
    </p:spTree>
    <p:extLst>
      <p:ext uri="{BB962C8B-B14F-4D97-AF65-F5344CB8AC3E}">
        <p14:creationId xmlns:p14="http://schemas.microsoft.com/office/powerpoint/2010/main" val="312286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logo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42B412-FC5B-2440-8054-16D521DFAE9E}"/>
              </a:ext>
            </a:extLst>
          </p:cNvPr>
          <p:cNvSpPr>
            <a:spLocks noGrp="1"/>
          </p:cNvSpPr>
          <p:nvPr>
            <p:ph type="sldNum" sz="quarter" idx="10"/>
          </p:nvPr>
        </p:nvSpPr>
        <p:spPr/>
        <p:txBody>
          <a:bodyPr/>
          <a:lstStyle/>
          <a:p>
            <a:fld id="{523A240F-EAFE-E84F-B44C-6D7A08E0E409}" type="slidenum">
              <a:rPr lang="en-US" smtClean="0"/>
              <a:t>‹#›</a:t>
            </a:fld>
            <a:endParaRPr lang="en-US"/>
          </a:p>
        </p:txBody>
      </p:sp>
      <p:sp>
        <p:nvSpPr>
          <p:cNvPr id="3" name="Rectangle 2">
            <a:extLst>
              <a:ext uri="{FF2B5EF4-FFF2-40B4-BE49-F238E27FC236}">
                <a16:creationId xmlns:a16="http://schemas.microsoft.com/office/drawing/2014/main" id="{8B0FF653-4704-4259-832F-02119E0607C3}"/>
              </a:ext>
            </a:extLst>
          </p:cNvPr>
          <p:cNvSpPr/>
          <p:nvPr userDrawn="1"/>
        </p:nvSpPr>
        <p:spPr>
          <a:xfrm>
            <a:off x="0" y="-1"/>
            <a:ext cx="12192000" cy="68580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0A9E3690-8232-4F74-B55C-C40A758F9A92}"/>
              </a:ext>
            </a:extLst>
          </p:cNvPr>
          <p:cNvGrpSpPr/>
          <p:nvPr userDrawn="1"/>
        </p:nvGrpSpPr>
        <p:grpSpPr>
          <a:xfrm>
            <a:off x="3477546" y="2830005"/>
            <a:ext cx="5240322" cy="1273284"/>
            <a:chOff x="4721225" y="3724275"/>
            <a:chExt cx="7121525" cy="1730375"/>
          </a:xfrm>
          <a:solidFill>
            <a:schemeClr val="bg1"/>
          </a:solidFill>
        </p:grpSpPr>
        <p:sp>
          <p:nvSpPr>
            <p:cNvPr id="12" name="Freeform 5">
              <a:extLst>
                <a:ext uri="{FF2B5EF4-FFF2-40B4-BE49-F238E27FC236}">
                  <a16:creationId xmlns:a16="http://schemas.microsoft.com/office/drawing/2014/main" id="{C7CC1634-EC1D-482A-A772-9183B17BCA85}"/>
                </a:ext>
              </a:extLst>
            </p:cNvPr>
            <p:cNvSpPr>
              <a:spLocks noEditPoints="1"/>
            </p:cNvSpPr>
            <p:nvPr userDrawn="1"/>
          </p:nvSpPr>
          <p:spPr bwMode="auto">
            <a:xfrm>
              <a:off x="9864725" y="4995863"/>
              <a:ext cx="228600" cy="114300"/>
            </a:xfrm>
            <a:custGeom>
              <a:avLst/>
              <a:gdLst>
                <a:gd name="T0" fmla="*/ 56 w 144"/>
                <a:gd name="T1" fmla="*/ 12 h 72"/>
                <a:gd name="T2" fmla="*/ 34 w 144"/>
                <a:gd name="T3" fmla="*/ 12 h 72"/>
                <a:gd name="T4" fmla="*/ 34 w 144"/>
                <a:gd name="T5" fmla="*/ 72 h 72"/>
                <a:gd name="T6" fmla="*/ 22 w 144"/>
                <a:gd name="T7" fmla="*/ 72 h 72"/>
                <a:gd name="T8" fmla="*/ 22 w 144"/>
                <a:gd name="T9" fmla="*/ 12 h 72"/>
                <a:gd name="T10" fmla="*/ 0 w 144"/>
                <a:gd name="T11" fmla="*/ 12 h 72"/>
                <a:gd name="T12" fmla="*/ 0 w 144"/>
                <a:gd name="T13" fmla="*/ 0 h 72"/>
                <a:gd name="T14" fmla="*/ 56 w 144"/>
                <a:gd name="T15" fmla="*/ 0 h 72"/>
                <a:gd name="T16" fmla="*/ 56 w 144"/>
                <a:gd name="T17" fmla="*/ 12 h 72"/>
                <a:gd name="T18" fmla="*/ 144 w 144"/>
                <a:gd name="T19" fmla="*/ 72 h 72"/>
                <a:gd name="T20" fmla="*/ 133 w 144"/>
                <a:gd name="T21" fmla="*/ 72 h 72"/>
                <a:gd name="T22" fmla="*/ 133 w 144"/>
                <a:gd name="T23" fmla="*/ 12 h 72"/>
                <a:gd name="T24" fmla="*/ 113 w 144"/>
                <a:gd name="T25" fmla="*/ 72 h 72"/>
                <a:gd name="T26" fmla="*/ 103 w 144"/>
                <a:gd name="T27" fmla="*/ 72 h 72"/>
                <a:gd name="T28" fmla="*/ 82 w 144"/>
                <a:gd name="T29" fmla="*/ 12 h 72"/>
                <a:gd name="T30" fmla="*/ 82 w 144"/>
                <a:gd name="T31" fmla="*/ 72 h 72"/>
                <a:gd name="T32" fmla="*/ 71 w 144"/>
                <a:gd name="T33" fmla="*/ 72 h 72"/>
                <a:gd name="T34" fmla="*/ 71 w 144"/>
                <a:gd name="T35" fmla="*/ 0 h 72"/>
                <a:gd name="T36" fmla="*/ 90 w 144"/>
                <a:gd name="T37" fmla="*/ 0 h 72"/>
                <a:gd name="T38" fmla="*/ 108 w 144"/>
                <a:gd name="T39" fmla="*/ 55 h 72"/>
                <a:gd name="T40" fmla="*/ 126 w 144"/>
                <a:gd name="T41" fmla="*/ 0 h 72"/>
                <a:gd name="T42" fmla="*/ 144 w 144"/>
                <a:gd name="T43" fmla="*/ 0 h 72"/>
                <a:gd name="T44" fmla="*/ 144 w 144"/>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72">
                  <a:moveTo>
                    <a:pt x="56" y="12"/>
                  </a:moveTo>
                  <a:lnTo>
                    <a:pt x="34" y="12"/>
                  </a:lnTo>
                  <a:lnTo>
                    <a:pt x="34" y="72"/>
                  </a:lnTo>
                  <a:lnTo>
                    <a:pt x="22" y="72"/>
                  </a:lnTo>
                  <a:lnTo>
                    <a:pt x="22" y="12"/>
                  </a:lnTo>
                  <a:lnTo>
                    <a:pt x="0" y="12"/>
                  </a:lnTo>
                  <a:lnTo>
                    <a:pt x="0" y="0"/>
                  </a:lnTo>
                  <a:lnTo>
                    <a:pt x="56" y="0"/>
                  </a:lnTo>
                  <a:lnTo>
                    <a:pt x="56" y="12"/>
                  </a:lnTo>
                  <a:close/>
                  <a:moveTo>
                    <a:pt x="144" y="72"/>
                  </a:moveTo>
                  <a:lnTo>
                    <a:pt x="133" y="72"/>
                  </a:lnTo>
                  <a:lnTo>
                    <a:pt x="133" y="12"/>
                  </a:lnTo>
                  <a:lnTo>
                    <a:pt x="113" y="72"/>
                  </a:lnTo>
                  <a:lnTo>
                    <a:pt x="103" y="72"/>
                  </a:lnTo>
                  <a:lnTo>
                    <a:pt x="82" y="12"/>
                  </a:lnTo>
                  <a:lnTo>
                    <a:pt x="82" y="72"/>
                  </a:lnTo>
                  <a:lnTo>
                    <a:pt x="71" y="72"/>
                  </a:lnTo>
                  <a:lnTo>
                    <a:pt x="71" y="0"/>
                  </a:lnTo>
                  <a:lnTo>
                    <a:pt x="90" y="0"/>
                  </a:lnTo>
                  <a:lnTo>
                    <a:pt x="108" y="55"/>
                  </a:lnTo>
                  <a:lnTo>
                    <a:pt x="126" y="0"/>
                  </a:lnTo>
                  <a:lnTo>
                    <a:pt x="144" y="0"/>
                  </a:lnTo>
                  <a:lnTo>
                    <a:pt x="14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 name="Freeform 6">
              <a:extLst>
                <a:ext uri="{FF2B5EF4-FFF2-40B4-BE49-F238E27FC236}">
                  <a16:creationId xmlns:a16="http://schemas.microsoft.com/office/drawing/2014/main" id="{16B94ED7-ED00-4132-9F6F-B76B832B6E6C}"/>
                </a:ext>
              </a:extLst>
            </p:cNvPr>
            <p:cNvSpPr>
              <a:spLocks noEditPoints="1"/>
            </p:cNvSpPr>
            <p:nvPr userDrawn="1"/>
          </p:nvSpPr>
          <p:spPr bwMode="auto">
            <a:xfrm>
              <a:off x="6038850" y="4994275"/>
              <a:ext cx="3835400" cy="460375"/>
            </a:xfrm>
            <a:custGeom>
              <a:avLst/>
              <a:gdLst>
                <a:gd name="T0" fmla="*/ 80 w 1491"/>
                <a:gd name="T1" fmla="*/ 11 h 179"/>
                <a:gd name="T2" fmla="*/ 72 w 1491"/>
                <a:gd name="T3" fmla="*/ 61 h 179"/>
                <a:gd name="T4" fmla="*/ 163 w 1491"/>
                <a:gd name="T5" fmla="*/ 129 h 179"/>
                <a:gd name="T6" fmla="*/ 102 w 1491"/>
                <a:gd name="T7" fmla="*/ 39 h 179"/>
                <a:gd name="T8" fmla="*/ 147 w 1491"/>
                <a:gd name="T9" fmla="*/ 39 h 179"/>
                <a:gd name="T10" fmla="*/ 197 w 1491"/>
                <a:gd name="T11" fmla="*/ 1 h 179"/>
                <a:gd name="T12" fmla="*/ 218 w 1491"/>
                <a:gd name="T13" fmla="*/ 131 h 179"/>
                <a:gd name="T14" fmla="*/ 228 w 1491"/>
                <a:gd name="T15" fmla="*/ 33 h 179"/>
                <a:gd name="T16" fmla="*/ 260 w 1491"/>
                <a:gd name="T17" fmla="*/ 14 h 179"/>
                <a:gd name="T18" fmla="*/ 278 w 1491"/>
                <a:gd name="T19" fmla="*/ 53 h 179"/>
                <a:gd name="T20" fmla="*/ 228 w 1491"/>
                <a:gd name="T21" fmla="*/ 33 h 179"/>
                <a:gd name="T22" fmla="*/ 291 w 1491"/>
                <a:gd name="T23" fmla="*/ 10 h 179"/>
                <a:gd name="T24" fmla="*/ 308 w 1491"/>
                <a:gd name="T25" fmla="*/ 125 h 179"/>
                <a:gd name="T26" fmla="*/ 327 w 1491"/>
                <a:gd name="T27" fmla="*/ 1 h 179"/>
                <a:gd name="T28" fmla="*/ 359 w 1491"/>
                <a:gd name="T29" fmla="*/ 117 h 179"/>
                <a:gd name="T30" fmla="*/ 327 w 1491"/>
                <a:gd name="T31" fmla="*/ 1 h 179"/>
                <a:gd name="T32" fmla="*/ 395 w 1491"/>
                <a:gd name="T33" fmla="*/ 119 h 179"/>
                <a:gd name="T34" fmla="*/ 371 w 1491"/>
                <a:gd name="T35" fmla="*/ 103 h 179"/>
                <a:gd name="T36" fmla="*/ 455 w 1491"/>
                <a:gd name="T37" fmla="*/ 171 h 179"/>
                <a:gd name="T38" fmla="*/ 513 w 1491"/>
                <a:gd name="T39" fmla="*/ 132 h 179"/>
                <a:gd name="T40" fmla="*/ 468 w 1491"/>
                <a:gd name="T41" fmla="*/ 39 h 179"/>
                <a:gd name="T42" fmla="*/ 513 w 1491"/>
                <a:gd name="T43" fmla="*/ 39 h 179"/>
                <a:gd name="T44" fmla="*/ 583 w 1491"/>
                <a:gd name="T45" fmla="*/ 37 h 179"/>
                <a:gd name="T46" fmla="*/ 543 w 1491"/>
                <a:gd name="T47" fmla="*/ 88 h 179"/>
                <a:gd name="T48" fmla="*/ 558 w 1491"/>
                <a:gd name="T49" fmla="*/ 84 h 179"/>
                <a:gd name="T50" fmla="*/ 608 w 1491"/>
                <a:gd name="T51" fmla="*/ 84 h 179"/>
                <a:gd name="T52" fmla="*/ 638 w 1491"/>
                <a:gd name="T53" fmla="*/ 39 h 179"/>
                <a:gd name="T54" fmla="*/ 699 w 1491"/>
                <a:gd name="T55" fmla="*/ 117 h 179"/>
                <a:gd name="T56" fmla="*/ 734 w 1491"/>
                <a:gd name="T57" fmla="*/ 42 h 179"/>
                <a:gd name="T58" fmla="*/ 764 w 1491"/>
                <a:gd name="T59" fmla="*/ 52 h 179"/>
                <a:gd name="T60" fmla="*/ 734 w 1491"/>
                <a:gd name="T61" fmla="*/ 42 h 179"/>
                <a:gd name="T62" fmla="*/ 909 w 1491"/>
                <a:gd name="T63" fmla="*/ 88 h 179"/>
                <a:gd name="T64" fmla="*/ 832 w 1491"/>
                <a:gd name="T65" fmla="*/ 179 h 179"/>
                <a:gd name="T66" fmla="*/ 848 w 1491"/>
                <a:gd name="T67" fmla="*/ 54 h 179"/>
                <a:gd name="T68" fmla="*/ 893 w 1491"/>
                <a:gd name="T69" fmla="*/ 83 h 179"/>
                <a:gd name="T70" fmla="*/ 1001 w 1491"/>
                <a:gd name="T71" fmla="*/ 88 h 179"/>
                <a:gd name="T72" fmla="*/ 986 w 1491"/>
                <a:gd name="T73" fmla="*/ 84 h 179"/>
                <a:gd name="T74" fmla="*/ 961 w 1491"/>
                <a:gd name="T75" fmla="*/ 120 h 179"/>
                <a:gd name="T76" fmla="*/ 1030 w 1491"/>
                <a:gd name="T77" fmla="*/ 11 h 179"/>
                <a:gd name="T78" fmla="*/ 1030 w 1491"/>
                <a:gd name="T79" fmla="*/ 53 h 179"/>
                <a:gd name="T80" fmla="*/ 1071 w 1491"/>
                <a:gd name="T81" fmla="*/ 128 h 179"/>
                <a:gd name="T82" fmla="*/ 1156 w 1491"/>
                <a:gd name="T83" fmla="*/ 92 h 179"/>
                <a:gd name="T84" fmla="*/ 1150 w 1491"/>
                <a:gd name="T85" fmla="*/ 115 h 179"/>
                <a:gd name="T86" fmla="*/ 1076 w 1491"/>
                <a:gd name="T87" fmla="*/ 83 h 179"/>
                <a:gd name="T88" fmla="*/ 1092 w 1491"/>
                <a:gd name="T89" fmla="*/ 80 h 179"/>
                <a:gd name="T90" fmla="*/ 1092 w 1491"/>
                <a:gd name="T91" fmla="*/ 79 h 179"/>
                <a:gd name="T92" fmla="*/ 1248 w 1491"/>
                <a:gd name="T93" fmla="*/ 77 h 179"/>
                <a:gd name="T94" fmla="*/ 1208 w 1491"/>
                <a:gd name="T95" fmla="*/ 52 h 179"/>
                <a:gd name="T96" fmla="*/ 1172 w 1491"/>
                <a:gd name="T97" fmla="*/ 42 h 179"/>
                <a:gd name="T98" fmla="*/ 1314 w 1491"/>
                <a:gd name="T99" fmla="*/ 39 h 179"/>
                <a:gd name="T100" fmla="*/ 1295 w 1491"/>
                <a:gd name="T101" fmla="*/ 120 h 179"/>
                <a:gd name="T102" fmla="*/ 1263 w 1491"/>
                <a:gd name="T103" fmla="*/ 100 h 179"/>
                <a:gd name="T104" fmla="*/ 1340 w 1491"/>
                <a:gd name="T105" fmla="*/ 20 h 179"/>
                <a:gd name="T106" fmla="*/ 1348 w 1491"/>
                <a:gd name="T107" fmla="*/ 39 h 179"/>
                <a:gd name="T108" fmla="*/ 1333 w 1491"/>
                <a:gd name="T109" fmla="*/ 39 h 179"/>
                <a:gd name="T110" fmla="*/ 1361 w 1491"/>
                <a:gd name="T111" fmla="*/ 103 h 179"/>
                <a:gd name="T112" fmla="*/ 1398 w 1491"/>
                <a:gd name="T113" fmla="*/ 52 h 179"/>
                <a:gd name="T114" fmla="*/ 1437 w 1491"/>
                <a:gd name="T115" fmla="*/ 71 h 179"/>
                <a:gd name="T116" fmla="*/ 1376 w 1491"/>
                <a:gd name="T117" fmla="*/ 104 h 179"/>
                <a:gd name="T118" fmla="*/ 1454 w 1491"/>
                <a:gd name="T119" fmla="*/ 1 h 179"/>
                <a:gd name="T120" fmla="*/ 1487 w 1491"/>
                <a:gd name="T121" fmla="*/ 117 h 179"/>
                <a:gd name="T122" fmla="*/ 1454 w 1491"/>
                <a:gd name="T123" fmla="*/ 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1" h="179">
                  <a:moveTo>
                    <a:pt x="17" y="132"/>
                  </a:moveTo>
                  <a:cubicBezTo>
                    <a:pt x="0" y="132"/>
                    <a:pt x="0" y="132"/>
                    <a:pt x="0" y="132"/>
                  </a:cubicBezTo>
                  <a:cubicBezTo>
                    <a:pt x="0" y="11"/>
                    <a:pt x="0" y="11"/>
                    <a:pt x="0" y="11"/>
                  </a:cubicBezTo>
                  <a:cubicBezTo>
                    <a:pt x="80" y="11"/>
                    <a:pt x="80" y="11"/>
                    <a:pt x="80" y="11"/>
                  </a:cubicBezTo>
                  <a:cubicBezTo>
                    <a:pt x="80" y="26"/>
                    <a:pt x="80" y="26"/>
                    <a:pt x="80" y="26"/>
                  </a:cubicBezTo>
                  <a:cubicBezTo>
                    <a:pt x="17" y="26"/>
                    <a:pt x="17" y="26"/>
                    <a:pt x="17" y="26"/>
                  </a:cubicBezTo>
                  <a:cubicBezTo>
                    <a:pt x="17" y="61"/>
                    <a:pt x="17" y="61"/>
                    <a:pt x="17" y="61"/>
                  </a:cubicBezTo>
                  <a:cubicBezTo>
                    <a:pt x="72" y="61"/>
                    <a:pt x="72" y="61"/>
                    <a:pt x="72" y="61"/>
                  </a:cubicBezTo>
                  <a:cubicBezTo>
                    <a:pt x="72" y="76"/>
                    <a:pt x="72" y="76"/>
                    <a:pt x="72" y="76"/>
                  </a:cubicBezTo>
                  <a:cubicBezTo>
                    <a:pt x="17" y="76"/>
                    <a:pt x="17" y="76"/>
                    <a:pt x="17" y="76"/>
                  </a:cubicBezTo>
                  <a:lnTo>
                    <a:pt x="17" y="132"/>
                  </a:lnTo>
                  <a:close/>
                  <a:moveTo>
                    <a:pt x="163" y="129"/>
                  </a:moveTo>
                  <a:cubicBezTo>
                    <a:pt x="153" y="132"/>
                    <a:pt x="142" y="134"/>
                    <a:pt x="126" y="134"/>
                  </a:cubicBezTo>
                  <a:cubicBezTo>
                    <a:pt x="103" y="134"/>
                    <a:pt x="86" y="124"/>
                    <a:pt x="86" y="94"/>
                  </a:cubicBezTo>
                  <a:cubicBezTo>
                    <a:pt x="86" y="39"/>
                    <a:pt x="86" y="39"/>
                    <a:pt x="86" y="39"/>
                  </a:cubicBezTo>
                  <a:cubicBezTo>
                    <a:pt x="102" y="39"/>
                    <a:pt x="102" y="39"/>
                    <a:pt x="102" y="39"/>
                  </a:cubicBezTo>
                  <a:cubicBezTo>
                    <a:pt x="102" y="95"/>
                    <a:pt x="102" y="95"/>
                    <a:pt x="102" y="95"/>
                  </a:cubicBezTo>
                  <a:cubicBezTo>
                    <a:pt x="102" y="115"/>
                    <a:pt x="112" y="120"/>
                    <a:pt x="126" y="120"/>
                  </a:cubicBezTo>
                  <a:cubicBezTo>
                    <a:pt x="136" y="120"/>
                    <a:pt x="141" y="119"/>
                    <a:pt x="147" y="117"/>
                  </a:cubicBezTo>
                  <a:cubicBezTo>
                    <a:pt x="147" y="39"/>
                    <a:pt x="147" y="39"/>
                    <a:pt x="147" y="39"/>
                  </a:cubicBezTo>
                  <a:cubicBezTo>
                    <a:pt x="163" y="39"/>
                    <a:pt x="163" y="39"/>
                    <a:pt x="163" y="39"/>
                  </a:cubicBezTo>
                  <a:lnTo>
                    <a:pt x="163" y="129"/>
                  </a:lnTo>
                  <a:close/>
                  <a:moveTo>
                    <a:pt x="182" y="1"/>
                  </a:moveTo>
                  <a:cubicBezTo>
                    <a:pt x="197" y="1"/>
                    <a:pt x="197" y="1"/>
                    <a:pt x="197" y="1"/>
                  </a:cubicBezTo>
                  <a:cubicBezTo>
                    <a:pt x="197" y="103"/>
                    <a:pt x="197" y="103"/>
                    <a:pt x="197" y="103"/>
                  </a:cubicBezTo>
                  <a:cubicBezTo>
                    <a:pt x="197" y="116"/>
                    <a:pt x="201" y="119"/>
                    <a:pt x="206" y="119"/>
                  </a:cubicBezTo>
                  <a:cubicBezTo>
                    <a:pt x="210" y="119"/>
                    <a:pt x="212" y="118"/>
                    <a:pt x="214" y="117"/>
                  </a:cubicBezTo>
                  <a:cubicBezTo>
                    <a:pt x="218" y="131"/>
                    <a:pt x="218" y="131"/>
                    <a:pt x="218" y="131"/>
                  </a:cubicBezTo>
                  <a:cubicBezTo>
                    <a:pt x="214" y="133"/>
                    <a:pt x="211" y="134"/>
                    <a:pt x="204" y="134"/>
                  </a:cubicBezTo>
                  <a:cubicBezTo>
                    <a:pt x="192" y="134"/>
                    <a:pt x="182" y="126"/>
                    <a:pt x="182" y="103"/>
                  </a:cubicBezTo>
                  <a:lnTo>
                    <a:pt x="182" y="1"/>
                  </a:lnTo>
                  <a:close/>
                  <a:moveTo>
                    <a:pt x="228" y="33"/>
                  </a:moveTo>
                  <a:cubicBezTo>
                    <a:pt x="228" y="8"/>
                    <a:pt x="242" y="0"/>
                    <a:pt x="260" y="0"/>
                  </a:cubicBezTo>
                  <a:cubicBezTo>
                    <a:pt x="270" y="0"/>
                    <a:pt x="278" y="2"/>
                    <a:pt x="284" y="5"/>
                  </a:cubicBezTo>
                  <a:cubicBezTo>
                    <a:pt x="279" y="19"/>
                    <a:pt x="279" y="19"/>
                    <a:pt x="279" y="19"/>
                  </a:cubicBezTo>
                  <a:cubicBezTo>
                    <a:pt x="274" y="16"/>
                    <a:pt x="268" y="14"/>
                    <a:pt x="260" y="14"/>
                  </a:cubicBezTo>
                  <a:cubicBezTo>
                    <a:pt x="250" y="14"/>
                    <a:pt x="244" y="19"/>
                    <a:pt x="244" y="33"/>
                  </a:cubicBezTo>
                  <a:cubicBezTo>
                    <a:pt x="244" y="39"/>
                    <a:pt x="244" y="39"/>
                    <a:pt x="244" y="39"/>
                  </a:cubicBezTo>
                  <a:cubicBezTo>
                    <a:pt x="278" y="39"/>
                    <a:pt x="278" y="39"/>
                    <a:pt x="278" y="39"/>
                  </a:cubicBezTo>
                  <a:cubicBezTo>
                    <a:pt x="278" y="53"/>
                    <a:pt x="278" y="53"/>
                    <a:pt x="278" y="53"/>
                  </a:cubicBezTo>
                  <a:cubicBezTo>
                    <a:pt x="244" y="53"/>
                    <a:pt x="244" y="53"/>
                    <a:pt x="244" y="53"/>
                  </a:cubicBezTo>
                  <a:cubicBezTo>
                    <a:pt x="244" y="132"/>
                    <a:pt x="244" y="132"/>
                    <a:pt x="244" y="132"/>
                  </a:cubicBezTo>
                  <a:cubicBezTo>
                    <a:pt x="228" y="132"/>
                    <a:pt x="228" y="132"/>
                    <a:pt x="228" y="132"/>
                  </a:cubicBezTo>
                  <a:lnTo>
                    <a:pt x="228" y="33"/>
                  </a:lnTo>
                  <a:close/>
                  <a:moveTo>
                    <a:pt x="301" y="0"/>
                  </a:moveTo>
                  <a:cubicBezTo>
                    <a:pt x="306" y="0"/>
                    <a:pt x="311" y="5"/>
                    <a:pt x="311" y="10"/>
                  </a:cubicBezTo>
                  <a:cubicBezTo>
                    <a:pt x="311" y="16"/>
                    <a:pt x="306" y="20"/>
                    <a:pt x="301" y="20"/>
                  </a:cubicBezTo>
                  <a:cubicBezTo>
                    <a:pt x="295" y="20"/>
                    <a:pt x="291" y="16"/>
                    <a:pt x="291" y="10"/>
                  </a:cubicBezTo>
                  <a:cubicBezTo>
                    <a:pt x="291" y="5"/>
                    <a:pt x="295" y="0"/>
                    <a:pt x="301" y="0"/>
                  </a:cubicBezTo>
                  <a:close/>
                  <a:moveTo>
                    <a:pt x="293" y="39"/>
                  </a:moveTo>
                  <a:cubicBezTo>
                    <a:pt x="308" y="39"/>
                    <a:pt x="308" y="39"/>
                    <a:pt x="308" y="39"/>
                  </a:cubicBezTo>
                  <a:cubicBezTo>
                    <a:pt x="308" y="125"/>
                    <a:pt x="308" y="125"/>
                    <a:pt x="308" y="125"/>
                  </a:cubicBezTo>
                  <a:cubicBezTo>
                    <a:pt x="308" y="132"/>
                    <a:pt x="308" y="132"/>
                    <a:pt x="308" y="132"/>
                  </a:cubicBezTo>
                  <a:cubicBezTo>
                    <a:pt x="293" y="132"/>
                    <a:pt x="293" y="132"/>
                    <a:pt x="293" y="132"/>
                  </a:cubicBezTo>
                  <a:lnTo>
                    <a:pt x="293" y="39"/>
                  </a:lnTo>
                  <a:close/>
                  <a:moveTo>
                    <a:pt x="327" y="1"/>
                  </a:moveTo>
                  <a:cubicBezTo>
                    <a:pt x="342" y="1"/>
                    <a:pt x="342" y="1"/>
                    <a:pt x="342" y="1"/>
                  </a:cubicBezTo>
                  <a:cubicBezTo>
                    <a:pt x="342" y="103"/>
                    <a:pt x="342" y="103"/>
                    <a:pt x="342" y="103"/>
                  </a:cubicBezTo>
                  <a:cubicBezTo>
                    <a:pt x="342" y="116"/>
                    <a:pt x="346" y="119"/>
                    <a:pt x="351" y="119"/>
                  </a:cubicBezTo>
                  <a:cubicBezTo>
                    <a:pt x="355" y="119"/>
                    <a:pt x="357" y="118"/>
                    <a:pt x="359" y="117"/>
                  </a:cubicBezTo>
                  <a:cubicBezTo>
                    <a:pt x="363" y="131"/>
                    <a:pt x="363" y="131"/>
                    <a:pt x="363" y="131"/>
                  </a:cubicBezTo>
                  <a:cubicBezTo>
                    <a:pt x="360" y="133"/>
                    <a:pt x="356" y="134"/>
                    <a:pt x="350" y="134"/>
                  </a:cubicBezTo>
                  <a:cubicBezTo>
                    <a:pt x="337" y="134"/>
                    <a:pt x="327" y="126"/>
                    <a:pt x="327" y="103"/>
                  </a:cubicBezTo>
                  <a:lnTo>
                    <a:pt x="327" y="1"/>
                  </a:lnTo>
                  <a:close/>
                  <a:moveTo>
                    <a:pt x="371" y="1"/>
                  </a:moveTo>
                  <a:cubicBezTo>
                    <a:pt x="386" y="1"/>
                    <a:pt x="386" y="1"/>
                    <a:pt x="386" y="1"/>
                  </a:cubicBezTo>
                  <a:cubicBezTo>
                    <a:pt x="386" y="103"/>
                    <a:pt x="386" y="103"/>
                    <a:pt x="386" y="103"/>
                  </a:cubicBezTo>
                  <a:cubicBezTo>
                    <a:pt x="386" y="116"/>
                    <a:pt x="390" y="119"/>
                    <a:pt x="395" y="119"/>
                  </a:cubicBezTo>
                  <a:cubicBezTo>
                    <a:pt x="399" y="119"/>
                    <a:pt x="401" y="118"/>
                    <a:pt x="403" y="117"/>
                  </a:cubicBezTo>
                  <a:cubicBezTo>
                    <a:pt x="407" y="131"/>
                    <a:pt x="407" y="131"/>
                    <a:pt x="407" y="131"/>
                  </a:cubicBezTo>
                  <a:cubicBezTo>
                    <a:pt x="403" y="133"/>
                    <a:pt x="400" y="134"/>
                    <a:pt x="394" y="134"/>
                  </a:cubicBezTo>
                  <a:cubicBezTo>
                    <a:pt x="381" y="134"/>
                    <a:pt x="371" y="126"/>
                    <a:pt x="371" y="103"/>
                  </a:cubicBezTo>
                  <a:lnTo>
                    <a:pt x="371" y="1"/>
                  </a:lnTo>
                  <a:close/>
                  <a:moveTo>
                    <a:pt x="529" y="139"/>
                  </a:moveTo>
                  <a:cubicBezTo>
                    <a:pt x="529" y="168"/>
                    <a:pt x="512" y="179"/>
                    <a:pt x="489" y="179"/>
                  </a:cubicBezTo>
                  <a:cubicBezTo>
                    <a:pt x="475" y="179"/>
                    <a:pt x="465" y="176"/>
                    <a:pt x="455" y="171"/>
                  </a:cubicBezTo>
                  <a:cubicBezTo>
                    <a:pt x="459" y="158"/>
                    <a:pt x="459" y="158"/>
                    <a:pt x="459" y="158"/>
                  </a:cubicBezTo>
                  <a:cubicBezTo>
                    <a:pt x="467" y="162"/>
                    <a:pt x="477" y="165"/>
                    <a:pt x="489" y="165"/>
                  </a:cubicBezTo>
                  <a:cubicBezTo>
                    <a:pt x="504" y="165"/>
                    <a:pt x="513" y="159"/>
                    <a:pt x="513" y="139"/>
                  </a:cubicBezTo>
                  <a:cubicBezTo>
                    <a:pt x="513" y="132"/>
                    <a:pt x="513" y="132"/>
                    <a:pt x="513" y="132"/>
                  </a:cubicBezTo>
                  <a:cubicBezTo>
                    <a:pt x="508" y="133"/>
                    <a:pt x="500" y="134"/>
                    <a:pt x="491" y="134"/>
                  </a:cubicBezTo>
                  <a:cubicBezTo>
                    <a:pt x="470" y="134"/>
                    <a:pt x="452" y="125"/>
                    <a:pt x="452" y="94"/>
                  </a:cubicBezTo>
                  <a:cubicBezTo>
                    <a:pt x="452" y="39"/>
                    <a:pt x="452" y="39"/>
                    <a:pt x="452" y="39"/>
                  </a:cubicBezTo>
                  <a:cubicBezTo>
                    <a:pt x="468" y="39"/>
                    <a:pt x="468" y="39"/>
                    <a:pt x="468" y="39"/>
                  </a:cubicBezTo>
                  <a:cubicBezTo>
                    <a:pt x="468" y="95"/>
                    <a:pt x="468" y="95"/>
                    <a:pt x="468" y="95"/>
                  </a:cubicBezTo>
                  <a:cubicBezTo>
                    <a:pt x="468" y="115"/>
                    <a:pt x="477" y="120"/>
                    <a:pt x="492" y="120"/>
                  </a:cubicBezTo>
                  <a:cubicBezTo>
                    <a:pt x="502" y="120"/>
                    <a:pt x="507" y="119"/>
                    <a:pt x="513" y="117"/>
                  </a:cubicBezTo>
                  <a:cubicBezTo>
                    <a:pt x="513" y="39"/>
                    <a:pt x="513" y="39"/>
                    <a:pt x="513" y="39"/>
                  </a:cubicBezTo>
                  <a:cubicBezTo>
                    <a:pt x="529" y="39"/>
                    <a:pt x="529" y="39"/>
                    <a:pt x="529" y="39"/>
                  </a:cubicBezTo>
                  <a:lnTo>
                    <a:pt x="529" y="139"/>
                  </a:lnTo>
                  <a:close/>
                  <a:moveTo>
                    <a:pt x="543" y="84"/>
                  </a:moveTo>
                  <a:cubicBezTo>
                    <a:pt x="543" y="50"/>
                    <a:pt x="560" y="37"/>
                    <a:pt x="583" y="37"/>
                  </a:cubicBezTo>
                  <a:cubicBezTo>
                    <a:pt x="607" y="37"/>
                    <a:pt x="624" y="50"/>
                    <a:pt x="624" y="84"/>
                  </a:cubicBezTo>
                  <a:cubicBezTo>
                    <a:pt x="624" y="88"/>
                    <a:pt x="624" y="88"/>
                    <a:pt x="624" y="88"/>
                  </a:cubicBezTo>
                  <a:cubicBezTo>
                    <a:pt x="624" y="121"/>
                    <a:pt x="607" y="134"/>
                    <a:pt x="583" y="134"/>
                  </a:cubicBezTo>
                  <a:cubicBezTo>
                    <a:pt x="560" y="134"/>
                    <a:pt x="543" y="121"/>
                    <a:pt x="543" y="88"/>
                  </a:cubicBezTo>
                  <a:lnTo>
                    <a:pt x="543" y="84"/>
                  </a:lnTo>
                  <a:close/>
                  <a:moveTo>
                    <a:pt x="608" y="84"/>
                  </a:moveTo>
                  <a:cubicBezTo>
                    <a:pt x="608" y="60"/>
                    <a:pt x="599" y="52"/>
                    <a:pt x="583" y="52"/>
                  </a:cubicBezTo>
                  <a:cubicBezTo>
                    <a:pt x="568" y="52"/>
                    <a:pt x="558" y="60"/>
                    <a:pt x="558" y="84"/>
                  </a:cubicBezTo>
                  <a:cubicBezTo>
                    <a:pt x="558" y="88"/>
                    <a:pt x="558" y="88"/>
                    <a:pt x="558" y="88"/>
                  </a:cubicBezTo>
                  <a:cubicBezTo>
                    <a:pt x="558" y="112"/>
                    <a:pt x="568" y="120"/>
                    <a:pt x="583" y="120"/>
                  </a:cubicBezTo>
                  <a:cubicBezTo>
                    <a:pt x="599" y="120"/>
                    <a:pt x="608" y="112"/>
                    <a:pt x="608" y="88"/>
                  </a:cubicBezTo>
                  <a:lnTo>
                    <a:pt x="608" y="84"/>
                  </a:lnTo>
                  <a:close/>
                  <a:moveTo>
                    <a:pt x="715" y="129"/>
                  </a:moveTo>
                  <a:cubicBezTo>
                    <a:pt x="705" y="132"/>
                    <a:pt x="694" y="134"/>
                    <a:pt x="678" y="134"/>
                  </a:cubicBezTo>
                  <a:cubicBezTo>
                    <a:pt x="655" y="134"/>
                    <a:pt x="638" y="124"/>
                    <a:pt x="638" y="94"/>
                  </a:cubicBezTo>
                  <a:cubicBezTo>
                    <a:pt x="638" y="39"/>
                    <a:pt x="638" y="39"/>
                    <a:pt x="638" y="39"/>
                  </a:cubicBezTo>
                  <a:cubicBezTo>
                    <a:pt x="654" y="39"/>
                    <a:pt x="654" y="39"/>
                    <a:pt x="654" y="39"/>
                  </a:cubicBezTo>
                  <a:cubicBezTo>
                    <a:pt x="654" y="95"/>
                    <a:pt x="654" y="95"/>
                    <a:pt x="654" y="95"/>
                  </a:cubicBezTo>
                  <a:cubicBezTo>
                    <a:pt x="654" y="115"/>
                    <a:pt x="664" y="120"/>
                    <a:pt x="678" y="120"/>
                  </a:cubicBezTo>
                  <a:cubicBezTo>
                    <a:pt x="688" y="120"/>
                    <a:pt x="693" y="119"/>
                    <a:pt x="699" y="117"/>
                  </a:cubicBezTo>
                  <a:cubicBezTo>
                    <a:pt x="699" y="39"/>
                    <a:pt x="699" y="39"/>
                    <a:pt x="699" y="39"/>
                  </a:cubicBezTo>
                  <a:cubicBezTo>
                    <a:pt x="715" y="39"/>
                    <a:pt x="715" y="39"/>
                    <a:pt x="715" y="39"/>
                  </a:cubicBezTo>
                  <a:lnTo>
                    <a:pt x="715" y="129"/>
                  </a:lnTo>
                  <a:close/>
                  <a:moveTo>
                    <a:pt x="734" y="42"/>
                  </a:moveTo>
                  <a:cubicBezTo>
                    <a:pt x="741" y="40"/>
                    <a:pt x="752" y="37"/>
                    <a:pt x="763" y="37"/>
                  </a:cubicBezTo>
                  <a:cubicBezTo>
                    <a:pt x="772" y="37"/>
                    <a:pt x="778" y="38"/>
                    <a:pt x="783" y="40"/>
                  </a:cubicBezTo>
                  <a:cubicBezTo>
                    <a:pt x="779" y="54"/>
                    <a:pt x="779" y="54"/>
                    <a:pt x="779" y="54"/>
                  </a:cubicBezTo>
                  <a:cubicBezTo>
                    <a:pt x="775" y="53"/>
                    <a:pt x="770" y="52"/>
                    <a:pt x="764" y="52"/>
                  </a:cubicBezTo>
                  <a:cubicBezTo>
                    <a:pt x="756" y="52"/>
                    <a:pt x="753" y="53"/>
                    <a:pt x="749" y="54"/>
                  </a:cubicBezTo>
                  <a:cubicBezTo>
                    <a:pt x="749" y="132"/>
                    <a:pt x="749" y="132"/>
                    <a:pt x="749" y="132"/>
                  </a:cubicBezTo>
                  <a:cubicBezTo>
                    <a:pt x="734" y="132"/>
                    <a:pt x="734" y="132"/>
                    <a:pt x="734" y="132"/>
                  </a:cubicBezTo>
                  <a:lnTo>
                    <a:pt x="734" y="42"/>
                  </a:lnTo>
                  <a:close/>
                  <a:moveTo>
                    <a:pt x="832" y="42"/>
                  </a:moveTo>
                  <a:cubicBezTo>
                    <a:pt x="842" y="38"/>
                    <a:pt x="856" y="37"/>
                    <a:pt x="866" y="37"/>
                  </a:cubicBezTo>
                  <a:cubicBezTo>
                    <a:pt x="891" y="37"/>
                    <a:pt x="909" y="52"/>
                    <a:pt x="909" y="83"/>
                  </a:cubicBezTo>
                  <a:cubicBezTo>
                    <a:pt x="909" y="88"/>
                    <a:pt x="909" y="88"/>
                    <a:pt x="909" y="88"/>
                  </a:cubicBezTo>
                  <a:cubicBezTo>
                    <a:pt x="909" y="120"/>
                    <a:pt x="891" y="134"/>
                    <a:pt x="867" y="134"/>
                  </a:cubicBezTo>
                  <a:cubicBezTo>
                    <a:pt x="859" y="134"/>
                    <a:pt x="853" y="133"/>
                    <a:pt x="848" y="131"/>
                  </a:cubicBezTo>
                  <a:cubicBezTo>
                    <a:pt x="848" y="179"/>
                    <a:pt x="848" y="179"/>
                    <a:pt x="848" y="179"/>
                  </a:cubicBezTo>
                  <a:cubicBezTo>
                    <a:pt x="832" y="179"/>
                    <a:pt x="832" y="179"/>
                    <a:pt x="832" y="179"/>
                  </a:cubicBezTo>
                  <a:lnTo>
                    <a:pt x="832" y="42"/>
                  </a:lnTo>
                  <a:close/>
                  <a:moveTo>
                    <a:pt x="893" y="83"/>
                  </a:moveTo>
                  <a:cubicBezTo>
                    <a:pt x="893" y="59"/>
                    <a:pt x="883" y="52"/>
                    <a:pt x="866" y="52"/>
                  </a:cubicBezTo>
                  <a:cubicBezTo>
                    <a:pt x="857" y="52"/>
                    <a:pt x="852" y="53"/>
                    <a:pt x="848" y="54"/>
                  </a:cubicBezTo>
                  <a:cubicBezTo>
                    <a:pt x="848" y="116"/>
                    <a:pt x="848" y="116"/>
                    <a:pt x="848" y="116"/>
                  </a:cubicBezTo>
                  <a:cubicBezTo>
                    <a:pt x="851" y="118"/>
                    <a:pt x="858" y="120"/>
                    <a:pt x="866" y="120"/>
                  </a:cubicBezTo>
                  <a:cubicBezTo>
                    <a:pt x="882" y="120"/>
                    <a:pt x="893" y="113"/>
                    <a:pt x="893" y="88"/>
                  </a:cubicBezTo>
                  <a:lnTo>
                    <a:pt x="893" y="83"/>
                  </a:lnTo>
                  <a:close/>
                  <a:moveTo>
                    <a:pt x="920" y="84"/>
                  </a:moveTo>
                  <a:cubicBezTo>
                    <a:pt x="920" y="50"/>
                    <a:pt x="937" y="37"/>
                    <a:pt x="961" y="37"/>
                  </a:cubicBezTo>
                  <a:cubicBezTo>
                    <a:pt x="984" y="37"/>
                    <a:pt x="1001" y="50"/>
                    <a:pt x="1001" y="84"/>
                  </a:cubicBezTo>
                  <a:cubicBezTo>
                    <a:pt x="1001" y="88"/>
                    <a:pt x="1001" y="88"/>
                    <a:pt x="1001" y="88"/>
                  </a:cubicBezTo>
                  <a:cubicBezTo>
                    <a:pt x="1001" y="121"/>
                    <a:pt x="984" y="134"/>
                    <a:pt x="961" y="134"/>
                  </a:cubicBezTo>
                  <a:cubicBezTo>
                    <a:pt x="937" y="134"/>
                    <a:pt x="920" y="121"/>
                    <a:pt x="920" y="88"/>
                  </a:cubicBezTo>
                  <a:lnTo>
                    <a:pt x="920" y="84"/>
                  </a:lnTo>
                  <a:close/>
                  <a:moveTo>
                    <a:pt x="986" y="84"/>
                  </a:moveTo>
                  <a:cubicBezTo>
                    <a:pt x="986" y="60"/>
                    <a:pt x="976" y="52"/>
                    <a:pt x="961" y="52"/>
                  </a:cubicBezTo>
                  <a:cubicBezTo>
                    <a:pt x="945" y="52"/>
                    <a:pt x="936" y="60"/>
                    <a:pt x="936" y="84"/>
                  </a:cubicBezTo>
                  <a:cubicBezTo>
                    <a:pt x="936" y="88"/>
                    <a:pt x="936" y="88"/>
                    <a:pt x="936" y="88"/>
                  </a:cubicBezTo>
                  <a:cubicBezTo>
                    <a:pt x="936" y="112"/>
                    <a:pt x="945" y="120"/>
                    <a:pt x="961" y="120"/>
                  </a:cubicBezTo>
                  <a:cubicBezTo>
                    <a:pt x="976" y="120"/>
                    <a:pt x="986" y="112"/>
                    <a:pt x="986" y="88"/>
                  </a:cubicBezTo>
                  <a:lnTo>
                    <a:pt x="986" y="84"/>
                  </a:lnTo>
                  <a:close/>
                  <a:moveTo>
                    <a:pt x="1014" y="11"/>
                  </a:moveTo>
                  <a:cubicBezTo>
                    <a:pt x="1030" y="11"/>
                    <a:pt x="1030" y="11"/>
                    <a:pt x="1030" y="11"/>
                  </a:cubicBezTo>
                  <a:cubicBezTo>
                    <a:pt x="1030" y="39"/>
                    <a:pt x="1030" y="39"/>
                    <a:pt x="1030" y="39"/>
                  </a:cubicBezTo>
                  <a:cubicBezTo>
                    <a:pt x="1065" y="39"/>
                    <a:pt x="1065" y="39"/>
                    <a:pt x="1065" y="39"/>
                  </a:cubicBezTo>
                  <a:cubicBezTo>
                    <a:pt x="1065" y="53"/>
                    <a:pt x="1065" y="53"/>
                    <a:pt x="1065" y="53"/>
                  </a:cubicBezTo>
                  <a:cubicBezTo>
                    <a:pt x="1030" y="53"/>
                    <a:pt x="1030" y="53"/>
                    <a:pt x="1030" y="53"/>
                  </a:cubicBezTo>
                  <a:cubicBezTo>
                    <a:pt x="1030" y="101"/>
                    <a:pt x="1030" y="101"/>
                    <a:pt x="1030" y="101"/>
                  </a:cubicBezTo>
                  <a:cubicBezTo>
                    <a:pt x="1030" y="115"/>
                    <a:pt x="1036" y="120"/>
                    <a:pt x="1046" y="120"/>
                  </a:cubicBezTo>
                  <a:cubicBezTo>
                    <a:pt x="1054" y="120"/>
                    <a:pt x="1061" y="117"/>
                    <a:pt x="1066" y="114"/>
                  </a:cubicBezTo>
                  <a:cubicBezTo>
                    <a:pt x="1071" y="128"/>
                    <a:pt x="1071" y="128"/>
                    <a:pt x="1071" y="128"/>
                  </a:cubicBezTo>
                  <a:cubicBezTo>
                    <a:pt x="1064" y="132"/>
                    <a:pt x="1056" y="134"/>
                    <a:pt x="1046" y="134"/>
                  </a:cubicBezTo>
                  <a:cubicBezTo>
                    <a:pt x="1028" y="134"/>
                    <a:pt x="1014" y="125"/>
                    <a:pt x="1014" y="100"/>
                  </a:cubicBezTo>
                  <a:lnTo>
                    <a:pt x="1014" y="11"/>
                  </a:lnTo>
                  <a:close/>
                  <a:moveTo>
                    <a:pt x="1156" y="92"/>
                  </a:moveTo>
                  <a:cubicBezTo>
                    <a:pt x="1092" y="92"/>
                    <a:pt x="1092" y="92"/>
                    <a:pt x="1092" y="92"/>
                  </a:cubicBezTo>
                  <a:cubicBezTo>
                    <a:pt x="1092" y="93"/>
                    <a:pt x="1092" y="93"/>
                    <a:pt x="1092" y="93"/>
                  </a:cubicBezTo>
                  <a:cubicBezTo>
                    <a:pt x="1092" y="111"/>
                    <a:pt x="1103" y="120"/>
                    <a:pt x="1121" y="120"/>
                  </a:cubicBezTo>
                  <a:cubicBezTo>
                    <a:pt x="1132" y="120"/>
                    <a:pt x="1143" y="117"/>
                    <a:pt x="1150" y="115"/>
                  </a:cubicBezTo>
                  <a:cubicBezTo>
                    <a:pt x="1154" y="128"/>
                    <a:pt x="1154" y="128"/>
                    <a:pt x="1154" y="128"/>
                  </a:cubicBezTo>
                  <a:cubicBezTo>
                    <a:pt x="1145" y="132"/>
                    <a:pt x="1134" y="134"/>
                    <a:pt x="1121" y="134"/>
                  </a:cubicBezTo>
                  <a:cubicBezTo>
                    <a:pt x="1094" y="134"/>
                    <a:pt x="1076" y="120"/>
                    <a:pt x="1076" y="88"/>
                  </a:cubicBezTo>
                  <a:cubicBezTo>
                    <a:pt x="1076" y="83"/>
                    <a:pt x="1076" y="83"/>
                    <a:pt x="1076" y="83"/>
                  </a:cubicBezTo>
                  <a:cubicBezTo>
                    <a:pt x="1076" y="51"/>
                    <a:pt x="1092" y="37"/>
                    <a:pt x="1116" y="37"/>
                  </a:cubicBezTo>
                  <a:cubicBezTo>
                    <a:pt x="1141" y="37"/>
                    <a:pt x="1156" y="51"/>
                    <a:pt x="1156" y="83"/>
                  </a:cubicBezTo>
                  <a:lnTo>
                    <a:pt x="1156" y="92"/>
                  </a:lnTo>
                  <a:close/>
                  <a:moveTo>
                    <a:pt x="1092" y="80"/>
                  </a:moveTo>
                  <a:cubicBezTo>
                    <a:pt x="1141" y="80"/>
                    <a:pt x="1141" y="80"/>
                    <a:pt x="1141" y="80"/>
                  </a:cubicBezTo>
                  <a:cubicBezTo>
                    <a:pt x="1141" y="79"/>
                    <a:pt x="1141" y="79"/>
                    <a:pt x="1141" y="79"/>
                  </a:cubicBezTo>
                  <a:cubicBezTo>
                    <a:pt x="1141" y="60"/>
                    <a:pt x="1131" y="52"/>
                    <a:pt x="1116" y="52"/>
                  </a:cubicBezTo>
                  <a:cubicBezTo>
                    <a:pt x="1102" y="52"/>
                    <a:pt x="1092" y="60"/>
                    <a:pt x="1092" y="79"/>
                  </a:cubicBezTo>
                  <a:lnTo>
                    <a:pt x="1092" y="80"/>
                  </a:lnTo>
                  <a:close/>
                  <a:moveTo>
                    <a:pt x="1172" y="42"/>
                  </a:moveTo>
                  <a:cubicBezTo>
                    <a:pt x="1180" y="39"/>
                    <a:pt x="1193" y="37"/>
                    <a:pt x="1209" y="37"/>
                  </a:cubicBezTo>
                  <a:cubicBezTo>
                    <a:pt x="1231" y="37"/>
                    <a:pt x="1248" y="47"/>
                    <a:pt x="1248" y="77"/>
                  </a:cubicBezTo>
                  <a:cubicBezTo>
                    <a:pt x="1248" y="132"/>
                    <a:pt x="1248" y="132"/>
                    <a:pt x="1248" y="132"/>
                  </a:cubicBezTo>
                  <a:cubicBezTo>
                    <a:pt x="1233" y="132"/>
                    <a:pt x="1233" y="132"/>
                    <a:pt x="1233" y="132"/>
                  </a:cubicBezTo>
                  <a:cubicBezTo>
                    <a:pt x="1233" y="76"/>
                    <a:pt x="1233" y="76"/>
                    <a:pt x="1233" y="76"/>
                  </a:cubicBezTo>
                  <a:cubicBezTo>
                    <a:pt x="1233" y="56"/>
                    <a:pt x="1223" y="52"/>
                    <a:pt x="1208" y="52"/>
                  </a:cubicBezTo>
                  <a:cubicBezTo>
                    <a:pt x="1198" y="52"/>
                    <a:pt x="1193" y="52"/>
                    <a:pt x="1187" y="54"/>
                  </a:cubicBezTo>
                  <a:cubicBezTo>
                    <a:pt x="1187" y="132"/>
                    <a:pt x="1187" y="132"/>
                    <a:pt x="1187" y="132"/>
                  </a:cubicBezTo>
                  <a:cubicBezTo>
                    <a:pt x="1172" y="132"/>
                    <a:pt x="1172" y="132"/>
                    <a:pt x="1172" y="132"/>
                  </a:cubicBezTo>
                  <a:lnTo>
                    <a:pt x="1172" y="42"/>
                  </a:lnTo>
                  <a:close/>
                  <a:moveTo>
                    <a:pt x="1263" y="11"/>
                  </a:moveTo>
                  <a:cubicBezTo>
                    <a:pt x="1279" y="11"/>
                    <a:pt x="1279" y="11"/>
                    <a:pt x="1279" y="11"/>
                  </a:cubicBezTo>
                  <a:cubicBezTo>
                    <a:pt x="1279" y="39"/>
                    <a:pt x="1279" y="39"/>
                    <a:pt x="1279" y="39"/>
                  </a:cubicBezTo>
                  <a:cubicBezTo>
                    <a:pt x="1314" y="39"/>
                    <a:pt x="1314" y="39"/>
                    <a:pt x="1314" y="39"/>
                  </a:cubicBezTo>
                  <a:cubicBezTo>
                    <a:pt x="1314" y="53"/>
                    <a:pt x="1314" y="53"/>
                    <a:pt x="1314" y="53"/>
                  </a:cubicBezTo>
                  <a:cubicBezTo>
                    <a:pt x="1279" y="53"/>
                    <a:pt x="1279" y="53"/>
                    <a:pt x="1279" y="53"/>
                  </a:cubicBezTo>
                  <a:cubicBezTo>
                    <a:pt x="1279" y="101"/>
                    <a:pt x="1279" y="101"/>
                    <a:pt x="1279" y="101"/>
                  </a:cubicBezTo>
                  <a:cubicBezTo>
                    <a:pt x="1279" y="115"/>
                    <a:pt x="1286" y="120"/>
                    <a:pt x="1295" y="120"/>
                  </a:cubicBezTo>
                  <a:cubicBezTo>
                    <a:pt x="1303" y="120"/>
                    <a:pt x="1311" y="117"/>
                    <a:pt x="1316" y="114"/>
                  </a:cubicBezTo>
                  <a:cubicBezTo>
                    <a:pt x="1320" y="128"/>
                    <a:pt x="1320" y="128"/>
                    <a:pt x="1320" y="128"/>
                  </a:cubicBezTo>
                  <a:cubicBezTo>
                    <a:pt x="1314" y="132"/>
                    <a:pt x="1305" y="134"/>
                    <a:pt x="1295" y="134"/>
                  </a:cubicBezTo>
                  <a:cubicBezTo>
                    <a:pt x="1277" y="134"/>
                    <a:pt x="1263" y="125"/>
                    <a:pt x="1263" y="100"/>
                  </a:cubicBezTo>
                  <a:lnTo>
                    <a:pt x="1263" y="11"/>
                  </a:lnTo>
                  <a:close/>
                  <a:moveTo>
                    <a:pt x="1340" y="0"/>
                  </a:moveTo>
                  <a:cubicBezTo>
                    <a:pt x="1346" y="0"/>
                    <a:pt x="1350" y="5"/>
                    <a:pt x="1350" y="10"/>
                  </a:cubicBezTo>
                  <a:cubicBezTo>
                    <a:pt x="1350" y="16"/>
                    <a:pt x="1346" y="20"/>
                    <a:pt x="1340" y="20"/>
                  </a:cubicBezTo>
                  <a:cubicBezTo>
                    <a:pt x="1335" y="20"/>
                    <a:pt x="1331" y="16"/>
                    <a:pt x="1331" y="10"/>
                  </a:cubicBezTo>
                  <a:cubicBezTo>
                    <a:pt x="1331" y="5"/>
                    <a:pt x="1335" y="0"/>
                    <a:pt x="1340" y="0"/>
                  </a:cubicBezTo>
                  <a:close/>
                  <a:moveTo>
                    <a:pt x="1333" y="39"/>
                  </a:moveTo>
                  <a:cubicBezTo>
                    <a:pt x="1348" y="39"/>
                    <a:pt x="1348" y="39"/>
                    <a:pt x="1348" y="39"/>
                  </a:cubicBezTo>
                  <a:cubicBezTo>
                    <a:pt x="1348" y="125"/>
                    <a:pt x="1348" y="125"/>
                    <a:pt x="1348" y="125"/>
                  </a:cubicBezTo>
                  <a:cubicBezTo>
                    <a:pt x="1348" y="132"/>
                    <a:pt x="1348" y="132"/>
                    <a:pt x="1348" y="132"/>
                  </a:cubicBezTo>
                  <a:cubicBezTo>
                    <a:pt x="1333" y="132"/>
                    <a:pt x="1333" y="132"/>
                    <a:pt x="1333" y="132"/>
                  </a:cubicBezTo>
                  <a:lnTo>
                    <a:pt x="1333" y="39"/>
                  </a:lnTo>
                  <a:close/>
                  <a:moveTo>
                    <a:pt x="1437" y="129"/>
                  </a:moveTo>
                  <a:cubicBezTo>
                    <a:pt x="1427" y="132"/>
                    <a:pt x="1415" y="134"/>
                    <a:pt x="1399" y="134"/>
                  </a:cubicBezTo>
                  <a:cubicBezTo>
                    <a:pt x="1378" y="134"/>
                    <a:pt x="1361" y="125"/>
                    <a:pt x="1361" y="104"/>
                  </a:cubicBezTo>
                  <a:cubicBezTo>
                    <a:pt x="1361" y="103"/>
                    <a:pt x="1361" y="103"/>
                    <a:pt x="1361" y="103"/>
                  </a:cubicBezTo>
                  <a:cubicBezTo>
                    <a:pt x="1361" y="85"/>
                    <a:pt x="1378" y="76"/>
                    <a:pt x="1404" y="75"/>
                  </a:cubicBezTo>
                  <a:cubicBezTo>
                    <a:pt x="1410" y="75"/>
                    <a:pt x="1416" y="75"/>
                    <a:pt x="1422" y="74"/>
                  </a:cubicBezTo>
                  <a:cubicBezTo>
                    <a:pt x="1422" y="69"/>
                    <a:pt x="1422" y="69"/>
                    <a:pt x="1422" y="69"/>
                  </a:cubicBezTo>
                  <a:cubicBezTo>
                    <a:pt x="1422" y="56"/>
                    <a:pt x="1412" y="52"/>
                    <a:pt x="1398" y="52"/>
                  </a:cubicBezTo>
                  <a:cubicBezTo>
                    <a:pt x="1386" y="52"/>
                    <a:pt x="1376" y="55"/>
                    <a:pt x="1369" y="58"/>
                  </a:cubicBezTo>
                  <a:cubicBezTo>
                    <a:pt x="1368" y="53"/>
                    <a:pt x="1366" y="48"/>
                    <a:pt x="1365" y="44"/>
                  </a:cubicBezTo>
                  <a:cubicBezTo>
                    <a:pt x="1375" y="40"/>
                    <a:pt x="1385" y="37"/>
                    <a:pt x="1399" y="37"/>
                  </a:cubicBezTo>
                  <a:cubicBezTo>
                    <a:pt x="1421" y="37"/>
                    <a:pt x="1437" y="46"/>
                    <a:pt x="1437" y="71"/>
                  </a:cubicBezTo>
                  <a:lnTo>
                    <a:pt x="1437" y="129"/>
                  </a:lnTo>
                  <a:close/>
                  <a:moveTo>
                    <a:pt x="1422" y="87"/>
                  </a:moveTo>
                  <a:cubicBezTo>
                    <a:pt x="1395" y="88"/>
                    <a:pt x="1376" y="88"/>
                    <a:pt x="1376" y="103"/>
                  </a:cubicBezTo>
                  <a:cubicBezTo>
                    <a:pt x="1376" y="104"/>
                    <a:pt x="1376" y="104"/>
                    <a:pt x="1376" y="104"/>
                  </a:cubicBezTo>
                  <a:cubicBezTo>
                    <a:pt x="1376" y="115"/>
                    <a:pt x="1386" y="120"/>
                    <a:pt x="1399" y="120"/>
                  </a:cubicBezTo>
                  <a:cubicBezTo>
                    <a:pt x="1409" y="120"/>
                    <a:pt x="1415" y="119"/>
                    <a:pt x="1422" y="117"/>
                  </a:cubicBezTo>
                  <a:lnTo>
                    <a:pt x="1422" y="87"/>
                  </a:lnTo>
                  <a:close/>
                  <a:moveTo>
                    <a:pt x="1454" y="1"/>
                  </a:moveTo>
                  <a:cubicBezTo>
                    <a:pt x="1470" y="1"/>
                    <a:pt x="1470" y="1"/>
                    <a:pt x="1470" y="1"/>
                  </a:cubicBezTo>
                  <a:cubicBezTo>
                    <a:pt x="1470" y="103"/>
                    <a:pt x="1470" y="103"/>
                    <a:pt x="1470" y="103"/>
                  </a:cubicBezTo>
                  <a:cubicBezTo>
                    <a:pt x="1470" y="116"/>
                    <a:pt x="1474" y="119"/>
                    <a:pt x="1479" y="119"/>
                  </a:cubicBezTo>
                  <a:cubicBezTo>
                    <a:pt x="1483" y="119"/>
                    <a:pt x="1484" y="118"/>
                    <a:pt x="1487" y="117"/>
                  </a:cubicBezTo>
                  <a:cubicBezTo>
                    <a:pt x="1491" y="131"/>
                    <a:pt x="1491" y="131"/>
                    <a:pt x="1491" y="131"/>
                  </a:cubicBezTo>
                  <a:cubicBezTo>
                    <a:pt x="1487" y="133"/>
                    <a:pt x="1483" y="134"/>
                    <a:pt x="1477" y="134"/>
                  </a:cubicBezTo>
                  <a:cubicBezTo>
                    <a:pt x="1464" y="134"/>
                    <a:pt x="1454" y="126"/>
                    <a:pt x="1454" y="103"/>
                  </a:cubicBezTo>
                  <a:lnTo>
                    <a:pt x="145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4" name="Freeform 7">
              <a:extLst>
                <a:ext uri="{FF2B5EF4-FFF2-40B4-BE49-F238E27FC236}">
                  <a16:creationId xmlns:a16="http://schemas.microsoft.com/office/drawing/2014/main" id="{EC7C5362-67E6-4530-9AFE-9F49BD1DA142}"/>
                </a:ext>
              </a:extLst>
            </p:cNvPr>
            <p:cNvSpPr>
              <a:spLocks noEditPoints="1"/>
            </p:cNvSpPr>
            <p:nvPr userDrawn="1"/>
          </p:nvSpPr>
          <p:spPr bwMode="auto">
            <a:xfrm>
              <a:off x="6038850" y="3760788"/>
              <a:ext cx="5803900" cy="873125"/>
            </a:xfrm>
            <a:custGeom>
              <a:avLst/>
              <a:gdLst>
                <a:gd name="T0" fmla="*/ 184 w 2256"/>
                <a:gd name="T1" fmla="*/ 173 h 339"/>
                <a:gd name="T2" fmla="*/ 0 w 2256"/>
                <a:gd name="T3" fmla="*/ 334 h 339"/>
                <a:gd name="T4" fmla="*/ 50 w 2256"/>
                <a:gd name="T5" fmla="*/ 70 h 339"/>
                <a:gd name="T6" fmla="*/ 174 w 2256"/>
                <a:gd name="T7" fmla="*/ 112 h 339"/>
                <a:gd name="T8" fmla="*/ 50 w 2256"/>
                <a:gd name="T9" fmla="*/ 197 h 339"/>
                <a:gd name="T10" fmla="*/ 184 w 2256"/>
                <a:gd name="T11" fmla="*/ 243 h 339"/>
                <a:gd name="T12" fmla="*/ 279 w 2256"/>
                <a:gd name="T13" fmla="*/ 0 h 339"/>
                <a:gd name="T14" fmla="*/ 347 w 2256"/>
                <a:gd name="T15" fmla="*/ 293 h 339"/>
                <a:gd name="T16" fmla="*/ 341 w 2256"/>
                <a:gd name="T17" fmla="*/ 338 h 339"/>
                <a:gd name="T18" fmla="*/ 608 w 2256"/>
                <a:gd name="T19" fmla="*/ 327 h 339"/>
                <a:gd name="T20" fmla="*/ 407 w 2256"/>
                <a:gd name="T21" fmla="*/ 96 h 339"/>
                <a:gd name="T22" fmla="*/ 512 w 2256"/>
                <a:gd name="T23" fmla="*/ 294 h 339"/>
                <a:gd name="T24" fmla="*/ 608 w 2256"/>
                <a:gd name="T25" fmla="*/ 96 h 339"/>
                <a:gd name="T26" fmla="*/ 705 w 2256"/>
                <a:gd name="T27" fmla="*/ 233 h 339"/>
                <a:gd name="T28" fmla="*/ 849 w 2256"/>
                <a:gd name="T29" fmla="*/ 282 h 339"/>
                <a:gd name="T30" fmla="*/ 657 w 2256"/>
                <a:gd name="T31" fmla="*/ 220 h 339"/>
                <a:gd name="T32" fmla="*/ 867 w 2256"/>
                <a:gd name="T33" fmla="*/ 210 h 339"/>
                <a:gd name="T34" fmla="*/ 818 w 2256"/>
                <a:gd name="T35" fmla="*/ 197 h 339"/>
                <a:gd name="T36" fmla="*/ 705 w 2256"/>
                <a:gd name="T37" fmla="*/ 195 h 339"/>
                <a:gd name="T38" fmla="*/ 1017 w 2256"/>
                <a:gd name="T39" fmla="*/ 334 h 339"/>
                <a:gd name="T40" fmla="*/ 849 w 2256"/>
                <a:gd name="T41" fmla="*/ 24 h 339"/>
                <a:gd name="T42" fmla="*/ 1080 w 2256"/>
                <a:gd name="T43" fmla="*/ 24 h 339"/>
                <a:gd name="T44" fmla="*/ 1107 w 2256"/>
                <a:gd name="T45" fmla="*/ 211 h 339"/>
                <a:gd name="T46" fmla="*/ 1322 w 2256"/>
                <a:gd name="T47" fmla="*/ 219 h 339"/>
                <a:gd name="T48" fmla="*/ 1107 w 2256"/>
                <a:gd name="T49" fmla="*/ 211 h 339"/>
                <a:gd name="T50" fmla="*/ 1154 w 2256"/>
                <a:gd name="T51" fmla="*/ 211 h 339"/>
                <a:gd name="T52" fmla="*/ 1273 w 2256"/>
                <a:gd name="T53" fmla="*/ 219 h 339"/>
                <a:gd name="T54" fmla="*/ 1467 w 2256"/>
                <a:gd name="T55" fmla="*/ 91 h 339"/>
                <a:gd name="T56" fmla="*/ 1522 w 2256"/>
                <a:gd name="T57" fmla="*/ 334 h 339"/>
                <a:gd name="T58" fmla="*/ 1416 w 2256"/>
                <a:gd name="T59" fmla="*/ 140 h 339"/>
                <a:gd name="T60" fmla="*/ 1368 w 2256"/>
                <a:gd name="T61" fmla="*/ 103 h 339"/>
                <a:gd name="T62" fmla="*/ 1613 w 2256"/>
                <a:gd name="T63" fmla="*/ 220 h 339"/>
                <a:gd name="T64" fmla="*/ 1767 w 2256"/>
                <a:gd name="T65" fmla="*/ 98 h 339"/>
                <a:gd name="T66" fmla="*/ 1814 w 2256"/>
                <a:gd name="T67" fmla="*/ 327 h 339"/>
                <a:gd name="T68" fmla="*/ 1767 w 2256"/>
                <a:gd name="T69" fmla="*/ 290 h 339"/>
                <a:gd name="T70" fmla="*/ 1661 w 2256"/>
                <a:gd name="T71" fmla="*/ 210 h 339"/>
                <a:gd name="T72" fmla="*/ 1911 w 2256"/>
                <a:gd name="T73" fmla="*/ 233 h 339"/>
                <a:gd name="T74" fmla="*/ 2054 w 2256"/>
                <a:gd name="T75" fmla="*/ 282 h 339"/>
                <a:gd name="T76" fmla="*/ 1862 w 2256"/>
                <a:gd name="T77" fmla="*/ 220 h 339"/>
                <a:gd name="T78" fmla="*/ 2073 w 2256"/>
                <a:gd name="T79" fmla="*/ 210 h 339"/>
                <a:gd name="T80" fmla="*/ 2025 w 2256"/>
                <a:gd name="T81" fmla="*/ 197 h 339"/>
                <a:gd name="T82" fmla="*/ 1912 w 2256"/>
                <a:gd name="T83" fmla="*/ 195 h 339"/>
                <a:gd name="T84" fmla="*/ 2202 w 2256"/>
                <a:gd name="T85" fmla="*/ 91 h 339"/>
                <a:gd name="T86" fmla="*/ 2205 w 2256"/>
                <a:gd name="T87" fmla="*/ 136 h 339"/>
                <a:gd name="T88" fmla="*/ 2122 w 2256"/>
                <a:gd name="T89"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56" h="339">
                  <a:moveTo>
                    <a:pt x="111" y="24"/>
                  </a:moveTo>
                  <a:cubicBezTo>
                    <a:pt x="192" y="24"/>
                    <a:pt x="224" y="61"/>
                    <a:pt x="224" y="109"/>
                  </a:cubicBezTo>
                  <a:cubicBezTo>
                    <a:pt x="224" y="136"/>
                    <a:pt x="212" y="159"/>
                    <a:pt x="184" y="173"/>
                  </a:cubicBezTo>
                  <a:cubicBezTo>
                    <a:pt x="219" y="188"/>
                    <a:pt x="233" y="215"/>
                    <a:pt x="233" y="246"/>
                  </a:cubicBezTo>
                  <a:cubicBezTo>
                    <a:pt x="233" y="297"/>
                    <a:pt x="201" y="334"/>
                    <a:pt x="117" y="334"/>
                  </a:cubicBezTo>
                  <a:cubicBezTo>
                    <a:pt x="0" y="334"/>
                    <a:pt x="0" y="334"/>
                    <a:pt x="0" y="334"/>
                  </a:cubicBezTo>
                  <a:cubicBezTo>
                    <a:pt x="0" y="24"/>
                    <a:pt x="0" y="24"/>
                    <a:pt x="0" y="24"/>
                  </a:cubicBezTo>
                  <a:lnTo>
                    <a:pt x="111" y="24"/>
                  </a:lnTo>
                  <a:close/>
                  <a:moveTo>
                    <a:pt x="50" y="70"/>
                  </a:moveTo>
                  <a:cubicBezTo>
                    <a:pt x="50" y="154"/>
                    <a:pt x="50" y="154"/>
                    <a:pt x="50" y="154"/>
                  </a:cubicBezTo>
                  <a:cubicBezTo>
                    <a:pt x="111" y="154"/>
                    <a:pt x="111" y="154"/>
                    <a:pt x="111" y="154"/>
                  </a:cubicBezTo>
                  <a:cubicBezTo>
                    <a:pt x="158" y="154"/>
                    <a:pt x="174" y="135"/>
                    <a:pt x="174" y="112"/>
                  </a:cubicBezTo>
                  <a:cubicBezTo>
                    <a:pt x="174" y="87"/>
                    <a:pt x="158" y="70"/>
                    <a:pt x="111" y="70"/>
                  </a:cubicBezTo>
                  <a:lnTo>
                    <a:pt x="50" y="70"/>
                  </a:lnTo>
                  <a:close/>
                  <a:moveTo>
                    <a:pt x="50" y="197"/>
                  </a:moveTo>
                  <a:cubicBezTo>
                    <a:pt x="50" y="289"/>
                    <a:pt x="50" y="289"/>
                    <a:pt x="50" y="289"/>
                  </a:cubicBezTo>
                  <a:cubicBezTo>
                    <a:pt x="117" y="289"/>
                    <a:pt x="117" y="289"/>
                    <a:pt x="117" y="289"/>
                  </a:cubicBezTo>
                  <a:cubicBezTo>
                    <a:pt x="167" y="289"/>
                    <a:pt x="184" y="270"/>
                    <a:pt x="184" y="243"/>
                  </a:cubicBezTo>
                  <a:cubicBezTo>
                    <a:pt x="184" y="216"/>
                    <a:pt x="167" y="197"/>
                    <a:pt x="117" y="197"/>
                  </a:cubicBezTo>
                  <a:lnTo>
                    <a:pt x="50" y="197"/>
                  </a:lnTo>
                  <a:close/>
                  <a:moveTo>
                    <a:pt x="279" y="0"/>
                  </a:moveTo>
                  <a:cubicBezTo>
                    <a:pt x="326" y="0"/>
                    <a:pt x="326" y="0"/>
                    <a:pt x="326" y="0"/>
                  </a:cubicBezTo>
                  <a:cubicBezTo>
                    <a:pt x="326" y="256"/>
                    <a:pt x="326" y="256"/>
                    <a:pt x="326" y="256"/>
                  </a:cubicBezTo>
                  <a:cubicBezTo>
                    <a:pt x="326" y="285"/>
                    <a:pt x="335" y="293"/>
                    <a:pt x="347" y="293"/>
                  </a:cubicBezTo>
                  <a:cubicBezTo>
                    <a:pt x="355" y="293"/>
                    <a:pt x="359" y="292"/>
                    <a:pt x="364" y="290"/>
                  </a:cubicBezTo>
                  <a:cubicBezTo>
                    <a:pt x="377" y="332"/>
                    <a:pt x="377" y="332"/>
                    <a:pt x="377" y="332"/>
                  </a:cubicBezTo>
                  <a:cubicBezTo>
                    <a:pt x="367" y="335"/>
                    <a:pt x="357" y="338"/>
                    <a:pt x="341" y="338"/>
                  </a:cubicBezTo>
                  <a:cubicBezTo>
                    <a:pt x="306" y="338"/>
                    <a:pt x="279" y="317"/>
                    <a:pt x="279" y="256"/>
                  </a:cubicBezTo>
                  <a:lnTo>
                    <a:pt x="279" y="0"/>
                  </a:lnTo>
                  <a:close/>
                  <a:moveTo>
                    <a:pt x="608" y="327"/>
                  </a:moveTo>
                  <a:cubicBezTo>
                    <a:pt x="579" y="334"/>
                    <a:pt x="549" y="339"/>
                    <a:pt x="508" y="339"/>
                  </a:cubicBezTo>
                  <a:cubicBezTo>
                    <a:pt x="450" y="339"/>
                    <a:pt x="407" y="310"/>
                    <a:pt x="407" y="236"/>
                  </a:cubicBezTo>
                  <a:cubicBezTo>
                    <a:pt x="407" y="96"/>
                    <a:pt x="407" y="96"/>
                    <a:pt x="407" y="96"/>
                  </a:cubicBezTo>
                  <a:cubicBezTo>
                    <a:pt x="454" y="96"/>
                    <a:pt x="454" y="96"/>
                    <a:pt x="454" y="96"/>
                  </a:cubicBezTo>
                  <a:cubicBezTo>
                    <a:pt x="454" y="239"/>
                    <a:pt x="454" y="239"/>
                    <a:pt x="454" y="239"/>
                  </a:cubicBezTo>
                  <a:cubicBezTo>
                    <a:pt x="454" y="283"/>
                    <a:pt x="477" y="294"/>
                    <a:pt x="512" y="294"/>
                  </a:cubicBezTo>
                  <a:cubicBezTo>
                    <a:pt x="534" y="294"/>
                    <a:pt x="546" y="293"/>
                    <a:pt x="560" y="290"/>
                  </a:cubicBezTo>
                  <a:cubicBezTo>
                    <a:pt x="560" y="96"/>
                    <a:pt x="560" y="96"/>
                    <a:pt x="560" y="96"/>
                  </a:cubicBezTo>
                  <a:cubicBezTo>
                    <a:pt x="608" y="96"/>
                    <a:pt x="608" y="96"/>
                    <a:pt x="608" y="96"/>
                  </a:cubicBezTo>
                  <a:lnTo>
                    <a:pt x="608" y="327"/>
                  </a:lnTo>
                  <a:close/>
                  <a:moveTo>
                    <a:pt x="867" y="233"/>
                  </a:moveTo>
                  <a:cubicBezTo>
                    <a:pt x="705" y="233"/>
                    <a:pt x="705" y="233"/>
                    <a:pt x="705" y="233"/>
                  </a:cubicBezTo>
                  <a:cubicBezTo>
                    <a:pt x="705" y="235"/>
                    <a:pt x="705" y="235"/>
                    <a:pt x="705" y="235"/>
                  </a:cubicBezTo>
                  <a:cubicBezTo>
                    <a:pt x="705" y="274"/>
                    <a:pt x="731" y="294"/>
                    <a:pt x="773" y="294"/>
                  </a:cubicBezTo>
                  <a:cubicBezTo>
                    <a:pt x="803" y="294"/>
                    <a:pt x="832" y="289"/>
                    <a:pt x="849" y="282"/>
                  </a:cubicBezTo>
                  <a:cubicBezTo>
                    <a:pt x="862" y="325"/>
                    <a:pt x="862" y="325"/>
                    <a:pt x="862" y="325"/>
                  </a:cubicBezTo>
                  <a:cubicBezTo>
                    <a:pt x="838" y="334"/>
                    <a:pt x="808" y="339"/>
                    <a:pt x="773" y="339"/>
                  </a:cubicBezTo>
                  <a:cubicBezTo>
                    <a:pt x="701" y="339"/>
                    <a:pt x="657" y="304"/>
                    <a:pt x="657" y="220"/>
                  </a:cubicBezTo>
                  <a:cubicBezTo>
                    <a:pt x="657" y="210"/>
                    <a:pt x="657" y="210"/>
                    <a:pt x="657" y="210"/>
                  </a:cubicBezTo>
                  <a:cubicBezTo>
                    <a:pt x="657" y="126"/>
                    <a:pt x="698" y="91"/>
                    <a:pt x="762" y="91"/>
                  </a:cubicBezTo>
                  <a:cubicBezTo>
                    <a:pt x="826" y="91"/>
                    <a:pt x="867" y="126"/>
                    <a:pt x="867" y="210"/>
                  </a:cubicBezTo>
                  <a:lnTo>
                    <a:pt x="867" y="233"/>
                  </a:lnTo>
                  <a:close/>
                  <a:moveTo>
                    <a:pt x="705" y="197"/>
                  </a:moveTo>
                  <a:cubicBezTo>
                    <a:pt x="818" y="197"/>
                    <a:pt x="818" y="197"/>
                    <a:pt x="818" y="197"/>
                  </a:cubicBezTo>
                  <a:cubicBezTo>
                    <a:pt x="818" y="195"/>
                    <a:pt x="818" y="195"/>
                    <a:pt x="818" y="195"/>
                  </a:cubicBezTo>
                  <a:cubicBezTo>
                    <a:pt x="818" y="154"/>
                    <a:pt x="797" y="136"/>
                    <a:pt x="762" y="136"/>
                  </a:cubicBezTo>
                  <a:cubicBezTo>
                    <a:pt x="728" y="136"/>
                    <a:pt x="705" y="154"/>
                    <a:pt x="705" y="195"/>
                  </a:cubicBezTo>
                  <a:lnTo>
                    <a:pt x="705" y="197"/>
                  </a:lnTo>
                  <a:close/>
                  <a:moveTo>
                    <a:pt x="1017" y="214"/>
                  </a:moveTo>
                  <a:cubicBezTo>
                    <a:pt x="1017" y="334"/>
                    <a:pt x="1017" y="334"/>
                    <a:pt x="1017" y="334"/>
                  </a:cubicBezTo>
                  <a:cubicBezTo>
                    <a:pt x="967" y="334"/>
                    <a:pt x="967" y="334"/>
                    <a:pt x="967" y="334"/>
                  </a:cubicBezTo>
                  <a:cubicBezTo>
                    <a:pt x="967" y="215"/>
                    <a:pt x="967" y="215"/>
                    <a:pt x="967" y="215"/>
                  </a:cubicBezTo>
                  <a:cubicBezTo>
                    <a:pt x="849" y="24"/>
                    <a:pt x="849" y="24"/>
                    <a:pt x="849" y="24"/>
                  </a:cubicBezTo>
                  <a:cubicBezTo>
                    <a:pt x="904" y="24"/>
                    <a:pt x="904" y="24"/>
                    <a:pt x="904" y="24"/>
                  </a:cubicBezTo>
                  <a:cubicBezTo>
                    <a:pt x="992" y="169"/>
                    <a:pt x="992" y="169"/>
                    <a:pt x="992" y="169"/>
                  </a:cubicBezTo>
                  <a:cubicBezTo>
                    <a:pt x="1080" y="24"/>
                    <a:pt x="1080" y="24"/>
                    <a:pt x="1080" y="24"/>
                  </a:cubicBezTo>
                  <a:cubicBezTo>
                    <a:pt x="1136" y="24"/>
                    <a:pt x="1136" y="24"/>
                    <a:pt x="1136" y="24"/>
                  </a:cubicBezTo>
                  <a:lnTo>
                    <a:pt x="1017" y="214"/>
                  </a:lnTo>
                  <a:close/>
                  <a:moveTo>
                    <a:pt x="1107" y="211"/>
                  </a:moveTo>
                  <a:cubicBezTo>
                    <a:pt x="1107" y="126"/>
                    <a:pt x="1152" y="91"/>
                    <a:pt x="1214" y="91"/>
                  </a:cubicBezTo>
                  <a:cubicBezTo>
                    <a:pt x="1276" y="91"/>
                    <a:pt x="1322" y="126"/>
                    <a:pt x="1322" y="211"/>
                  </a:cubicBezTo>
                  <a:cubicBezTo>
                    <a:pt x="1322" y="219"/>
                    <a:pt x="1322" y="219"/>
                    <a:pt x="1322" y="219"/>
                  </a:cubicBezTo>
                  <a:cubicBezTo>
                    <a:pt x="1322" y="304"/>
                    <a:pt x="1276" y="339"/>
                    <a:pt x="1214" y="339"/>
                  </a:cubicBezTo>
                  <a:cubicBezTo>
                    <a:pt x="1152" y="339"/>
                    <a:pt x="1107" y="304"/>
                    <a:pt x="1107" y="219"/>
                  </a:cubicBezTo>
                  <a:lnTo>
                    <a:pt x="1107" y="211"/>
                  </a:lnTo>
                  <a:close/>
                  <a:moveTo>
                    <a:pt x="1273" y="211"/>
                  </a:moveTo>
                  <a:cubicBezTo>
                    <a:pt x="1273" y="154"/>
                    <a:pt x="1251" y="136"/>
                    <a:pt x="1214" y="136"/>
                  </a:cubicBezTo>
                  <a:cubicBezTo>
                    <a:pt x="1176" y="136"/>
                    <a:pt x="1154" y="154"/>
                    <a:pt x="1154" y="211"/>
                  </a:cubicBezTo>
                  <a:cubicBezTo>
                    <a:pt x="1154" y="219"/>
                    <a:pt x="1154" y="219"/>
                    <a:pt x="1154" y="219"/>
                  </a:cubicBezTo>
                  <a:cubicBezTo>
                    <a:pt x="1154" y="276"/>
                    <a:pt x="1176" y="294"/>
                    <a:pt x="1214" y="294"/>
                  </a:cubicBezTo>
                  <a:cubicBezTo>
                    <a:pt x="1251" y="294"/>
                    <a:pt x="1273" y="276"/>
                    <a:pt x="1273" y="219"/>
                  </a:cubicBezTo>
                  <a:lnTo>
                    <a:pt x="1273" y="211"/>
                  </a:lnTo>
                  <a:close/>
                  <a:moveTo>
                    <a:pt x="1368" y="103"/>
                  </a:moveTo>
                  <a:cubicBezTo>
                    <a:pt x="1391" y="96"/>
                    <a:pt x="1427" y="91"/>
                    <a:pt x="1467" y="91"/>
                  </a:cubicBezTo>
                  <a:cubicBezTo>
                    <a:pt x="1526" y="91"/>
                    <a:pt x="1570" y="120"/>
                    <a:pt x="1570" y="195"/>
                  </a:cubicBezTo>
                  <a:cubicBezTo>
                    <a:pt x="1570" y="334"/>
                    <a:pt x="1570" y="334"/>
                    <a:pt x="1570" y="334"/>
                  </a:cubicBezTo>
                  <a:cubicBezTo>
                    <a:pt x="1522" y="334"/>
                    <a:pt x="1522" y="334"/>
                    <a:pt x="1522" y="334"/>
                  </a:cubicBezTo>
                  <a:cubicBezTo>
                    <a:pt x="1522" y="191"/>
                    <a:pt x="1522" y="191"/>
                    <a:pt x="1522" y="191"/>
                  </a:cubicBezTo>
                  <a:cubicBezTo>
                    <a:pt x="1522" y="147"/>
                    <a:pt x="1499" y="136"/>
                    <a:pt x="1464" y="136"/>
                  </a:cubicBezTo>
                  <a:cubicBezTo>
                    <a:pt x="1442" y="136"/>
                    <a:pt x="1431" y="137"/>
                    <a:pt x="1416" y="140"/>
                  </a:cubicBezTo>
                  <a:cubicBezTo>
                    <a:pt x="1416" y="334"/>
                    <a:pt x="1416" y="334"/>
                    <a:pt x="1416" y="334"/>
                  </a:cubicBezTo>
                  <a:cubicBezTo>
                    <a:pt x="1368" y="334"/>
                    <a:pt x="1368" y="334"/>
                    <a:pt x="1368" y="334"/>
                  </a:cubicBezTo>
                  <a:lnTo>
                    <a:pt x="1368" y="103"/>
                  </a:lnTo>
                  <a:close/>
                  <a:moveTo>
                    <a:pt x="1814" y="327"/>
                  </a:moveTo>
                  <a:cubicBezTo>
                    <a:pt x="1787" y="336"/>
                    <a:pt x="1747" y="339"/>
                    <a:pt x="1724" y="339"/>
                  </a:cubicBezTo>
                  <a:cubicBezTo>
                    <a:pt x="1658" y="339"/>
                    <a:pt x="1613" y="301"/>
                    <a:pt x="1613" y="220"/>
                  </a:cubicBezTo>
                  <a:cubicBezTo>
                    <a:pt x="1613" y="210"/>
                    <a:pt x="1613" y="210"/>
                    <a:pt x="1613" y="210"/>
                  </a:cubicBezTo>
                  <a:cubicBezTo>
                    <a:pt x="1613" y="128"/>
                    <a:pt x="1661" y="91"/>
                    <a:pt x="1725" y="91"/>
                  </a:cubicBezTo>
                  <a:cubicBezTo>
                    <a:pt x="1741" y="91"/>
                    <a:pt x="1756" y="93"/>
                    <a:pt x="1767" y="98"/>
                  </a:cubicBezTo>
                  <a:cubicBezTo>
                    <a:pt x="1767" y="0"/>
                    <a:pt x="1767" y="0"/>
                    <a:pt x="1767" y="0"/>
                  </a:cubicBezTo>
                  <a:cubicBezTo>
                    <a:pt x="1814" y="0"/>
                    <a:pt x="1814" y="0"/>
                    <a:pt x="1814" y="0"/>
                  </a:cubicBezTo>
                  <a:lnTo>
                    <a:pt x="1814" y="327"/>
                  </a:lnTo>
                  <a:close/>
                  <a:moveTo>
                    <a:pt x="1661" y="220"/>
                  </a:moveTo>
                  <a:cubicBezTo>
                    <a:pt x="1661" y="278"/>
                    <a:pt x="1685" y="294"/>
                    <a:pt x="1725" y="294"/>
                  </a:cubicBezTo>
                  <a:cubicBezTo>
                    <a:pt x="1744" y="294"/>
                    <a:pt x="1755" y="293"/>
                    <a:pt x="1767" y="290"/>
                  </a:cubicBezTo>
                  <a:cubicBezTo>
                    <a:pt x="1767" y="144"/>
                    <a:pt x="1767" y="144"/>
                    <a:pt x="1767" y="144"/>
                  </a:cubicBezTo>
                  <a:cubicBezTo>
                    <a:pt x="1761" y="141"/>
                    <a:pt x="1747" y="136"/>
                    <a:pt x="1728" y="136"/>
                  </a:cubicBezTo>
                  <a:cubicBezTo>
                    <a:pt x="1689" y="136"/>
                    <a:pt x="1661" y="151"/>
                    <a:pt x="1661" y="210"/>
                  </a:cubicBezTo>
                  <a:lnTo>
                    <a:pt x="1661" y="220"/>
                  </a:lnTo>
                  <a:close/>
                  <a:moveTo>
                    <a:pt x="2073" y="233"/>
                  </a:moveTo>
                  <a:cubicBezTo>
                    <a:pt x="1911" y="233"/>
                    <a:pt x="1911" y="233"/>
                    <a:pt x="1911" y="233"/>
                  </a:cubicBezTo>
                  <a:cubicBezTo>
                    <a:pt x="1911" y="235"/>
                    <a:pt x="1911" y="235"/>
                    <a:pt x="1911" y="235"/>
                  </a:cubicBezTo>
                  <a:cubicBezTo>
                    <a:pt x="1911" y="274"/>
                    <a:pt x="1937" y="294"/>
                    <a:pt x="1979" y="294"/>
                  </a:cubicBezTo>
                  <a:cubicBezTo>
                    <a:pt x="2009" y="294"/>
                    <a:pt x="2037" y="289"/>
                    <a:pt x="2054" y="282"/>
                  </a:cubicBezTo>
                  <a:cubicBezTo>
                    <a:pt x="2068" y="325"/>
                    <a:pt x="2068" y="325"/>
                    <a:pt x="2068" y="325"/>
                  </a:cubicBezTo>
                  <a:cubicBezTo>
                    <a:pt x="2044" y="334"/>
                    <a:pt x="2013" y="339"/>
                    <a:pt x="1979" y="339"/>
                  </a:cubicBezTo>
                  <a:cubicBezTo>
                    <a:pt x="1907" y="339"/>
                    <a:pt x="1862" y="304"/>
                    <a:pt x="1862" y="220"/>
                  </a:cubicBezTo>
                  <a:cubicBezTo>
                    <a:pt x="1862" y="210"/>
                    <a:pt x="1862" y="210"/>
                    <a:pt x="1862" y="210"/>
                  </a:cubicBezTo>
                  <a:cubicBezTo>
                    <a:pt x="1862" y="126"/>
                    <a:pt x="1903" y="91"/>
                    <a:pt x="1968" y="91"/>
                  </a:cubicBezTo>
                  <a:cubicBezTo>
                    <a:pt x="2032" y="91"/>
                    <a:pt x="2073" y="126"/>
                    <a:pt x="2073" y="210"/>
                  </a:cubicBezTo>
                  <a:lnTo>
                    <a:pt x="2073" y="233"/>
                  </a:lnTo>
                  <a:close/>
                  <a:moveTo>
                    <a:pt x="1912" y="197"/>
                  </a:moveTo>
                  <a:cubicBezTo>
                    <a:pt x="2025" y="197"/>
                    <a:pt x="2025" y="197"/>
                    <a:pt x="2025" y="197"/>
                  </a:cubicBezTo>
                  <a:cubicBezTo>
                    <a:pt x="2025" y="195"/>
                    <a:pt x="2025" y="195"/>
                    <a:pt x="2025" y="195"/>
                  </a:cubicBezTo>
                  <a:cubicBezTo>
                    <a:pt x="2025" y="154"/>
                    <a:pt x="2003" y="136"/>
                    <a:pt x="1969" y="136"/>
                  </a:cubicBezTo>
                  <a:cubicBezTo>
                    <a:pt x="1934" y="136"/>
                    <a:pt x="1912" y="154"/>
                    <a:pt x="1912" y="195"/>
                  </a:cubicBezTo>
                  <a:lnTo>
                    <a:pt x="1912" y="197"/>
                  </a:lnTo>
                  <a:close/>
                  <a:moveTo>
                    <a:pt x="2122" y="103"/>
                  </a:moveTo>
                  <a:cubicBezTo>
                    <a:pt x="2142" y="96"/>
                    <a:pt x="2174" y="91"/>
                    <a:pt x="2202" y="91"/>
                  </a:cubicBezTo>
                  <a:cubicBezTo>
                    <a:pt x="2225" y="91"/>
                    <a:pt x="2240" y="94"/>
                    <a:pt x="2256" y="98"/>
                  </a:cubicBezTo>
                  <a:cubicBezTo>
                    <a:pt x="2242" y="141"/>
                    <a:pt x="2242" y="141"/>
                    <a:pt x="2242" y="141"/>
                  </a:cubicBezTo>
                  <a:cubicBezTo>
                    <a:pt x="2232" y="138"/>
                    <a:pt x="2221" y="136"/>
                    <a:pt x="2205" y="136"/>
                  </a:cubicBezTo>
                  <a:cubicBezTo>
                    <a:pt x="2187" y="136"/>
                    <a:pt x="2178" y="138"/>
                    <a:pt x="2170" y="140"/>
                  </a:cubicBezTo>
                  <a:cubicBezTo>
                    <a:pt x="2170" y="334"/>
                    <a:pt x="2170" y="334"/>
                    <a:pt x="2170" y="334"/>
                  </a:cubicBezTo>
                  <a:cubicBezTo>
                    <a:pt x="2122" y="334"/>
                    <a:pt x="2122" y="334"/>
                    <a:pt x="2122" y="334"/>
                  </a:cubicBezTo>
                  <a:lnTo>
                    <a:pt x="21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5" name="Freeform 8">
              <a:extLst>
                <a:ext uri="{FF2B5EF4-FFF2-40B4-BE49-F238E27FC236}">
                  <a16:creationId xmlns:a16="http://schemas.microsoft.com/office/drawing/2014/main" id="{A1EB8215-1A7B-4562-A77B-7A647D92CD59}"/>
                </a:ext>
              </a:extLst>
            </p:cNvPr>
            <p:cNvSpPr>
              <a:spLocks noEditPoints="1"/>
            </p:cNvSpPr>
            <p:nvPr userDrawn="1"/>
          </p:nvSpPr>
          <p:spPr bwMode="auto">
            <a:xfrm>
              <a:off x="4721225" y="3724275"/>
              <a:ext cx="1006475" cy="1009650"/>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Tree>
    <p:extLst>
      <p:ext uri="{BB962C8B-B14F-4D97-AF65-F5344CB8AC3E}">
        <p14:creationId xmlns:p14="http://schemas.microsoft.com/office/powerpoint/2010/main" val="320774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With Sub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0" y="714703"/>
            <a:ext cx="9144000" cy="609600"/>
          </a:xfrm>
          <a:noFill/>
          <a:ln w="9525">
            <a:noFill/>
            <a:miter lim="800000"/>
            <a:headEnd/>
            <a:tailEnd/>
          </a:ln>
        </p:spPr>
        <p:txBody>
          <a:bodyPr/>
          <a:lstStyle>
            <a:lvl1pPr algn="l" rtl="0" eaLnBrk="1" fontAlgn="base" hangingPunct="1">
              <a:spcAft>
                <a:spcPct val="0"/>
              </a:spcAft>
              <a:buFontTx/>
              <a:buNone/>
              <a:defRPr lang="en-US" sz="2100" i="1" dirty="0" smtClean="0">
                <a:solidFill>
                  <a:schemeClr val="accent3"/>
                </a:solidFill>
                <a:latin typeface="+mn-lt"/>
                <a:ea typeface="ＭＳ Ｐゴシック" pitchFamily="-105" charset="-128"/>
                <a:cs typeface="ＭＳ Ｐゴシック" pitchFamily="-105" charset="-128"/>
              </a:defRPr>
            </a:lvl1pPr>
            <a:lvl2pPr algn="l" rtl="0" eaLnBrk="1" fontAlgn="base" hangingPunct="1">
              <a:spcAft>
                <a:spcPct val="0"/>
              </a:spcAft>
              <a:defRPr lang="en-US" sz="2400" dirty="0" smtClean="0">
                <a:solidFill>
                  <a:schemeClr val="tx1"/>
                </a:solidFill>
                <a:latin typeface="+mn-lt"/>
                <a:ea typeface="ＭＳ Ｐゴシック" pitchFamily="-105" charset="-128"/>
                <a:cs typeface="ＭＳ Ｐゴシック" pitchFamily="-105" charset="-128"/>
              </a:defRPr>
            </a:lvl2pPr>
            <a:lvl3pPr algn="l" rtl="0" eaLnBrk="1" fontAlgn="base" hangingPunct="1">
              <a:spcAft>
                <a:spcPct val="0"/>
              </a:spcAft>
              <a:defRPr lang="en-US" sz="2400" dirty="0" smtClean="0">
                <a:solidFill>
                  <a:schemeClr val="tx1"/>
                </a:solidFill>
                <a:latin typeface="+mn-lt"/>
                <a:ea typeface="ＭＳ Ｐゴシック" pitchFamily="-105" charset="-128"/>
                <a:cs typeface="ＭＳ Ｐゴシック" pitchFamily="-105" charset="-128"/>
              </a:defRPr>
            </a:lvl3pPr>
            <a:lvl4pPr algn="l" rtl="0" eaLnBrk="1" fontAlgn="base" hangingPunct="1">
              <a:spcAft>
                <a:spcPct val="0"/>
              </a:spcAft>
              <a:defRPr lang="en-US" sz="2400" dirty="0" smtClean="0">
                <a:solidFill>
                  <a:schemeClr val="tx1"/>
                </a:solidFill>
                <a:latin typeface="+mn-lt"/>
                <a:ea typeface="ＭＳ Ｐゴシック" pitchFamily="-105" charset="-128"/>
                <a:cs typeface="ＭＳ Ｐゴシック" pitchFamily="-105" charset="-128"/>
              </a:defRPr>
            </a:lvl4pPr>
            <a:lvl5pPr algn="l" rtl="0" eaLnBrk="1" fontAlgn="base" hangingPunct="1">
              <a:spcAft>
                <a:spcPct val="0"/>
              </a:spcAft>
              <a:defRPr lang="en-US" sz="2400" dirty="0" smtClean="0">
                <a:solidFill>
                  <a:schemeClr val="tx1"/>
                </a:solidFill>
                <a:latin typeface="+mn-lt"/>
                <a:ea typeface="ＭＳ Ｐゴシック" pitchFamily="-105" charset="-128"/>
                <a:cs typeface="ＭＳ Ｐゴシック" pitchFamily="-105" charset="-128"/>
              </a:defRPr>
            </a:lvl5pPr>
          </a:lstStyle>
          <a:p>
            <a:pPr lvl="0"/>
            <a:r>
              <a:rPr lang="en-US"/>
              <a:t>Click to edit Master text styles</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3"/>
          <p:cNvSpPr>
            <a:spLocks noGrp="1" noChangeArrowheads="1"/>
          </p:cNvSpPr>
          <p:nvPr>
            <p:ph type="title"/>
          </p:nvPr>
        </p:nvSpPr>
        <p:spPr bwMode="auto">
          <a:xfrm>
            <a:off x="609600" y="152400"/>
            <a:ext cx="9144000" cy="609600"/>
          </a:xfrm>
          <a:prstGeom prst="rect">
            <a:avLst/>
          </a:prstGeom>
          <a:noFill/>
          <a:ln w="9525">
            <a:noFill/>
            <a:miter lim="800000"/>
            <a:headEnd/>
            <a:tailEnd/>
          </a:ln>
        </p:spPr>
        <p:txBody>
          <a:bodyPr anchor="b"/>
          <a:lstStyle/>
          <a:p>
            <a:pPr lvl="0"/>
            <a:r>
              <a:rPr lang="en-US"/>
              <a:t>Click to edit Master title style</a:t>
            </a:r>
            <a:endParaRPr lang="en-US" dirty="0"/>
          </a:p>
        </p:txBody>
      </p:sp>
      <p:sp>
        <p:nvSpPr>
          <p:cNvPr id="6" name="Slide Number Placeholder 10"/>
          <p:cNvSpPr>
            <a:spLocks noGrp="1" noChangeArrowheads="1"/>
          </p:cNvSpPr>
          <p:nvPr>
            <p:ph type="sldNum" sz="quarter" idx="11"/>
          </p:nvPr>
        </p:nvSpPr>
        <p:spPr>
          <a:xfrm>
            <a:off x="11379203" y="6629400"/>
            <a:ext cx="757767" cy="228600"/>
          </a:xfrm>
          <a:prstGeom prst="rect">
            <a:avLst/>
          </a:prstGeom>
        </p:spPr>
        <p:txBody>
          <a:bodyPr/>
          <a:lstStyle>
            <a:lvl1pPr>
              <a:defRPr/>
            </a:lvl1pPr>
          </a:lstStyle>
          <a:p>
            <a:pPr>
              <a:defRPr/>
            </a:pPr>
            <a:fld id="{2D6066CA-3A17-4DF5-9469-1CF857E14120}" type="slidenum">
              <a:rPr lang="en-US"/>
              <a:pPr>
                <a:defRPr/>
              </a:pPr>
              <a:t>‹#›</a:t>
            </a:fld>
            <a:endParaRPr lang="en-US"/>
          </a:p>
        </p:txBody>
      </p:sp>
    </p:spTree>
    <p:extLst>
      <p:ext uri="{BB962C8B-B14F-4D97-AF65-F5344CB8AC3E}">
        <p14:creationId xmlns:p14="http://schemas.microsoft.com/office/powerpoint/2010/main" val="17808336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741751"/>
            <a:ext cx="5386917" cy="447675"/>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216655"/>
            <a:ext cx="5386917" cy="4066886"/>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741751"/>
            <a:ext cx="5389033" cy="447675"/>
          </a:xfrm>
        </p:spPr>
        <p:txBody>
          <a:bodyPr anchor="t"/>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216655"/>
            <a:ext cx="5389033" cy="4066886"/>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0"/>
          </p:nvPr>
        </p:nvSpPr>
        <p:spPr/>
        <p:txBody>
          <a:bodyPr/>
          <a:lstStyle/>
          <a:p>
            <a:r>
              <a:rPr lang="en-US" dirty="0"/>
              <a:t>Copyright © </a:t>
            </a:r>
            <a:r>
              <a:rPr lang="en-US"/>
              <a:t>2016 BY </a:t>
            </a:r>
            <a:r>
              <a:rPr lang="en-US" dirty="0"/>
              <a:t>Software Group, Inc. Confidential</a:t>
            </a:r>
          </a:p>
        </p:txBody>
      </p:sp>
    </p:spTree>
    <p:extLst>
      <p:ext uri="{BB962C8B-B14F-4D97-AF65-F5344CB8AC3E}">
        <p14:creationId xmlns:p14="http://schemas.microsoft.com/office/powerpoint/2010/main" val="26252227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a:prstGeom prst="rect">
            <a:avLst/>
          </a:prstGeo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a:prstGeom prst="rect">
            <a:avLst/>
          </a:prstGeo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4C695D11-8659-4F0B-A2DD-79DC6E2FC344}" type="slidenum">
              <a:rPr lang="en-US"/>
              <a:pPr/>
              <a:t>‹#›</a:t>
            </a:fld>
            <a:endParaRPr lang="en-US"/>
          </a:p>
        </p:txBody>
      </p:sp>
    </p:spTree>
    <p:extLst>
      <p:ext uri="{BB962C8B-B14F-4D97-AF65-F5344CB8AC3E}">
        <p14:creationId xmlns:p14="http://schemas.microsoft.com/office/powerpoint/2010/main" val="6093562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Blue w Image">
    <p:bg>
      <p:bgPr>
        <a:solidFill>
          <a:schemeClr val="bg1"/>
        </a:solidFill>
        <a:effectLst/>
      </p:bgPr>
    </p:bg>
    <p:spTree>
      <p:nvGrpSpPr>
        <p:cNvPr id="1" name=""/>
        <p:cNvGrpSpPr/>
        <p:nvPr/>
      </p:nvGrpSpPr>
      <p:grpSpPr>
        <a:xfrm>
          <a:off x="0" y="0"/>
          <a:ext cx="0" cy="0"/>
          <a:chOff x="0" y="0"/>
          <a:chExt cx="0" cy="0"/>
        </a:xfrm>
      </p:grpSpPr>
      <p:pic>
        <p:nvPicPr>
          <p:cNvPr id="39" name="Picture 38" descr="A picture containing object, clock&#10;&#10;Description automatically generated">
            <a:extLst>
              <a:ext uri="{FF2B5EF4-FFF2-40B4-BE49-F238E27FC236}">
                <a16:creationId xmlns:a16="http://schemas.microsoft.com/office/drawing/2014/main" id="{BD4967B5-2AB3-4747-9BA6-4449AA0787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9943" y="5825852"/>
            <a:ext cx="2762207" cy="699916"/>
          </a:xfrm>
          <a:prstGeom prst="rect">
            <a:avLst/>
          </a:prstGeom>
        </p:spPr>
      </p:pic>
      <p:sp>
        <p:nvSpPr>
          <p:cNvPr id="40" name="Picture Placeholder 25">
            <a:extLst>
              <a:ext uri="{FF2B5EF4-FFF2-40B4-BE49-F238E27FC236}">
                <a16:creationId xmlns:a16="http://schemas.microsoft.com/office/drawing/2014/main" id="{3B71084E-AA89-914D-B974-D9D165A74B9A}"/>
              </a:ext>
            </a:extLst>
          </p:cNvPr>
          <p:cNvSpPr>
            <a:spLocks noGrp="1"/>
          </p:cNvSpPr>
          <p:nvPr>
            <p:ph type="pic" sz="quarter" idx="11"/>
          </p:nvPr>
        </p:nvSpPr>
        <p:spPr>
          <a:xfrm>
            <a:off x="3" y="0"/>
            <a:ext cx="12191998" cy="5354856"/>
          </a:xfrm>
          <a:custGeom>
            <a:avLst/>
            <a:gdLst>
              <a:gd name="connsiteX0" fmla="*/ 0 w 12188823"/>
              <a:gd name="connsiteY0" fmla="*/ 0 h 5354856"/>
              <a:gd name="connsiteX1" fmla="*/ 12188823 w 12188823"/>
              <a:gd name="connsiteY1" fmla="*/ 0 h 5354856"/>
              <a:gd name="connsiteX2" fmla="*/ 12188823 w 12188823"/>
              <a:gd name="connsiteY2" fmla="*/ 2883325 h 5354856"/>
              <a:gd name="connsiteX3" fmla="*/ 11670890 w 12188823"/>
              <a:gd name="connsiteY3" fmla="*/ 3144472 h 5354856"/>
              <a:gd name="connsiteX4" fmla="*/ 9422296 w 12188823"/>
              <a:gd name="connsiteY4" fmla="*/ 4104861 h 5354856"/>
              <a:gd name="connsiteX5" fmla="*/ 2623930 w 12188823"/>
              <a:gd name="connsiteY5" fmla="*/ 5354856 h 5354856"/>
              <a:gd name="connsiteX6" fmla="*/ 63066 w 12188823"/>
              <a:gd name="connsiteY6" fmla="*/ 5249182 h 5354856"/>
              <a:gd name="connsiteX7" fmla="*/ 0 w 12188823"/>
              <a:gd name="connsiteY7" fmla="*/ 5242429 h 535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3" h="5354856">
                <a:moveTo>
                  <a:pt x="0" y="0"/>
                </a:moveTo>
                <a:lnTo>
                  <a:pt x="12188823" y="0"/>
                </a:lnTo>
                <a:lnTo>
                  <a:pt x="12188823" y="2883325"/>
                </a:lnTo>
                <a:lnTo>
                  <a:pt x="11670890" y="3144472"/>
                </a:lnTo>
                <a:cubicBezTo>
                  <a:pt x="10971293" y="3489839"/>
                  <a:pt x="10223811" y="3830144"/>
                  <a:pt x="9422296" y="4104861"/>
                </a:cubicBezTo>
                <a:cubicBezTo>
                  <a:pt x="7705961" y="4707828"/>
                  <a:pt x="5678539" y="5268029"/>
                  <a:pt x="2623930" y="5354856"/>
                </a:cubicBezTo>
                <a:cubicBezTo>
                  <a:pt x="1228210" y="5349389"/>
                  <a:pt x="485594" y="5292237"/>
                  <a:pt x="63066" y="5249182"/>
                </a:cubicBezTo>
                <a:lnTo>
                  <a:pt x="0" y="5242429"/>
                </a:lnTo>
                <a:close/>
              </a:path>
            </a:pathLst>
          </a:custGeom>
          <a:solidFill>
            <a:schemeClr val="bg1">
              <a:lumMod val="95000"/>
            </a:schemeClr>
          </a:solidFill>
        </p:spPr>
        <p:txBody>
          <a:bodyPr wrap="square">
            <a:noAutofit/>
          </a:bodyPr>
          <a:lstStyle>
            <a:lvl1pPr marL="0" indent="0" algn="ctr">
              <a:buNone/>
              <a:defRPr sz="1400">
                <a:solidFill>
                  <a:srgbClr val="FF0000"/>
                </a:solidFill>
              </a:defRPr>
            </a:lvl1pPr>
          </a:lstStyle>
          <a:p>
            <a:endParaRPr lang="en-US"/>
          </a:p>
        </p:txBody>
      </p:sp>
      <p:sp>
        <p:nvSpPr>
          <p:cNvPr id="43" name="Title 1">
            <a:extLst>
              <a:ext uri="{FF2B5EF4-FFF2-40B4-BE49-F238E27FC236}">
                <a16:creationId xmlns:a16="http://schemas.microsoft.com/office/drawing/2014/main" id="{4212C32F-6BAD-564D-9739-B078FC4C6834}"/>
              </a:ext>
            </a:extLst>
          </p:cNvPr>
          <p:cNvSpPr>
            <a:spLocks noGrp="1"/>
          </p:cNvSpPr>
          <p:nvPr>
            <p:ph type="ctrTitle"/>
          </p:nvPr>
        </p:nvSpPr>
        <p:spPr>
          <a:xfrm>
            <a:off x="457163" y="249385"/>
            <a:ext cx="6933194" cy="2751435"/>
          </a:xfrm>
        </p:spPr>
        <p:txBody>
          <a:bodyPr anchor="b"/>
          <a:lstStyle>
            <a:lvl1pPr>
              <a:lnSpc>
                <a:spcPct val="70000"/>
              </a:lnSpc>
              <a:defRPr sz="7000">
                <a:solidFill>
                  <a:schemeClr val="bg1"/>
                </a:solidFill>
              </a:defRPr>
            </a:lvl1pPr>
          </a:lstStyle>
          <a:p>
            <a:r>
              <a:rPr lang="en-US"/>
              <a:t>Click to edit Master title style</a:t>
            </a:r>
          </a:p>
        </p:txBody>
      </p:sp>
      <p:sp>
        <p:nvSpPr>
          <p:cNvPr id="44" name="Subtitle 2">
            <a:extLst>
              <a:ext uri="{FF2B5EF4-FFF2-40B4-BE49-F238E27FC236}">
                <a16:creationId xmlns:a16="http://schemas.microsoft.com/office/drawing/2014/main" id="{6F41AF00-5CB6-C343-A2B2-503B744334CC}"/>
              </a:ext>
            </a:extLst>
          </p:cNvPr>
          <p:cNvSpPr>
            <a:spLocks noGrp="1"/>
          </p:cNvSpPr>
          <p:nvPr>
            <p:ph type="subTitle" idx="1"/>
          </p:nvPr>
        </p:nvSpPr>
        <p:spPr>
          <a:xfrm>
            <a:off x="457164" y="3055702"/>
            <a:ext cx="5821449" cy="423063"/>
          </a:xfrm>
        </p:spPr>
        <p:txBody>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5" name="Footer Placeholder 7">
            <a:extLst>
              <a:ext uri="{FF2B5EF4-FFF2-40B4-BE49-F238E27FC236}">
                <a16:creationId xmlns:a16="http://schemas.microsoft.com/office/drawing/2014/main" id="{FE55821A-B26A-F047-AAA8-855606AB0404}"/>
              </a:ext>
            </a:extLst>
          </p:cNvPr>
          <p:cNvSpPr txBox="1">
            <a:spLocks/>
          </p:cNvSpPr>
          <p:nvPr userDrawn="1"/>
        </p:nvSpPr>
        <p:spPr>
          <a:xfrm>
            <a:off x="438617" y="6597651"/>
            <a:ext cx="3811135" cy="260350"/>
          </a:xfrm>
          <a:prstGeom prst="rect">
            <a:avLst/>
          </a:prstGeom>
        </p:spPr>
        <p:txBody>
          <a:bodyPr lIns="0" rIns="0" anchor="ct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75000"/>
                  </a:schemeClr>
                </a:solidFill>
                <a:effectLst/>
                <a:uLnTx/>
                <a:uFillTx/>
                <a:latin typeface="+mn-lt"/>
                <a:ea typeface="+mn-ea"/>
                <a:cs typeface="+mn-cs"/>
              </a:rPr>
              <a:t>Copyright © 2020 Blue Yonder Group, Inc. </a:t>
            </a:r>
          </a:p>
        </p:txBody>
      </p:sp>
    </p:spTree>
    <p:extLst>
      <p:ext uri="{BB962C8B-B14F-4D97-AF65-F5344CB8AC3E}">
        <p14:creationId xmlns:p14="http://schemas.microsoft.com/office/powerpoint/2010/main" val="136590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319" y="117707"/>
            <a:ext cx="10061020" cy="500858"/>
          </a:xfrm>
        </p:spPr>
        <p:txBody>
          <a:bodyPr anchor="t"/>
          <a:lstStyle/>
          <a:p>
            <a:r>
              <a:rPr lang="en-US"/>
              <a:t>Click to edit Master title style</a:t>
            </a:r>
          </a:p>
        </p:txBody>
      </p:sp>
      <p:sp>
        <p:nvSpPr>
          <p:cNvPr id="3" name="Slide Number Placeholder 5"/>
          <p:cNvSpPr>
            <a:spLocks noGrp="1"/>
          </p:cNvSpPr>
          <p:nvPr>
            <p:ph type="sldNum" sz="quarter" idx="4"/>
          </p:nvPr>
        </p:nvSpPr>
        <p:spPr>
          <a:xfrm>
            <a:off x="9594173" y="6613528"/>
            <a:ext cx="2134156" cy="244475"/>
          </a:xfrm>
          <a:prstGeom prst="rect">
            <a:avLst/>
          </a:prstGeom>
        </p:spPr>
        <p:txBody>
          <a:bodyPr/>
          <a:lstStyle>
            <a:lvl1pPr algn="r">
              <a:defRPr sz="800"/>
            </a:lvl1pPr>
          </a:lstStyle>
          <a:p>
            <a:fld id="{93AEC647-104A-43C8-8FBB-34EEEA788BAC}" type="slidenum">
              <a:rPr lang="en-US" smtClean="0"/>
              <a:pPr/>
              <a:t>‹#›</a:t>
            </a:fld>
            <a:endParaRPr lang="en-US"/>
          </a:p>
        </p:txBody>
      </p:sp>
      <p:sp>
        <p:nvSpPr>
          <p:cNvPr id="4" name="Text Placeholder 5">
            <a:extLst>
              <a:ext uri="{FF2B5EF4-FFF2-40B4-BE49-F238E27FC236}">
                <a16:creationId xmlns:a16="http://schemas.microsoft.com/office/drawing/2014/main" id="{D18FC3BE-C7CA-41F4-9978-4BEBF0ABAE4D}"/>
              </a:ext>
            </a:extLst>
          </p:cNvPr>
          <p:cNvSpPr>
            <a:spLocks noGrp="1"/>
          </p:cNvSpPr>
          <p:nvPr>
            <p:ph type="body" sz="quarter" idx="10"/>
          </p:nvPr>
        </p:nvSpPr>
        <p:spPr>
          <a:xfrm>
            <a:off x="457319" y="506513"/>
            <a:ext cx="10061020" cy="501650"/>
          </a:xfrm>
        </p:spPr>
        <p:txBody>
          <a:bodyPr anchor="b"/>
          <a:lstStyle>
            <a:lvl1pPr marL="0" indent="0">
              <a:buNone/>
              <a:defRPr i="1">
                <a:solidFill>
                  <a:schemeClr val="tx1"/>
                </a:solidFill>
                <a:latin typeface="+mj-lt"/>
              </a:defRPr>
            </a:lvl1pPr>
            <a:lvl2pPr marL="287252" indent="0">
              <a:buNone/>
              <a:defRPr/>
            </a:lvl2pPr>
            <a:lvl3pPr marL="631635" indent="0">
              <a:buNone/>
              <a:defRPr/>
            </a:lvl3pPr>
            <a:lvl4pPr marL="910952" indent="0">
              <a:buNone/>
              <a:defRPr/>
            </a:lvl4pPr>
            <a:lvl5pPr marL="1198202" indent="0">
              <a:buNone/>
              <a:defRPr/>
            </a:lvl5pPr>
          </a:lstStyle>
          <a:p>
            <a:pPr lvl="0"/>
            <a:r>
              <a:rPr lang="en-US"/>
              <a:t>Edit Master text styles</a:t>
            </a:r>
            <a:endParaRPr lang="en-GB"/>
          </a:p>
        </p:txBody>
      </p:sp>
    </p:spTree>
    <p:extLst>
      <p:ext uri="{BB962C8B-B14F-4D97-AF65-F5344CB8AC3E}">
        <p14:creationId xmlns:p14="http://schemas.microsoft.com/office/powerpoint/2010/main" val="1224961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Blue w Two Images">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958BD755-5533-9043-83BC-D6E87A49244B}"/>
              </a:ext>
            </a:extLst>
          </p:cNvPr>
          <p:cNvSpPr>
            <a:spLocks noGrp="1"/>
          </p:cNvSpPr>
          <p:nvPr>
            <p:ph type="pic" sz="quarter" idx="13"/>
          </p:nvPr>
        </p:nvSpPr>
        <p:spPr>
          <a:xfrm>
            <a:off x="4615147" y="3428124"/>
            <a:ext cx="4551343" cy="3429876"/>
          </a:xfrm>
          <a:custGeom>
            <a:avLst/>
            <a:gdLst>
              <a:gd name="connsiteX0" fmla="*/ 4099684 w 4550158"/>
              <a:gd name="connsiteY0" fmla="*/ 0 h 3429876"/>
              <a:gd name="connsiteX1" fmla="*/ 4550158 w 4550158"/>
              <a:gd name="connsiteY1" fmla="*/ 450474 h 3429876"/>
              <a:gd name="connsiteX2" fmla="*/ 4514759 w 4550158"/>
              <a:gd name="connsiteY2" fmla="*/ 625818 h 3429876"/>
              <a:gd name="connsiteX3" fmla="*/ 4520701 w 4550158"/>
              <a:gd name="connsiteY3" fmla="*/ 609869 h 3429876"/>
              <a:gd name="connsiteX4" fmla="*/ 3494847 w 4550158"/>
              <a:gd name="connsiteY4" fmla="*/ 3421494 h 3429876"/>
              <a:gd name="connsiteX5" fmla="*/ 3490100 w 4550158"/>
              <a:gd name="connsiteY5" fmla="*/ 3425592 h 3429876"/>
              <a:gd name="connsiteX6" fmla="*/ 3489706 w 4550158"/>
              <a:gd name="connsiteY6" fmla="*/ 3424117 h 3429876"/>
              <a:gd name="connsiteX7" fmla="*/ 3486758 w 4550158"/>
              <a:gd name="connsiteY7" fmla="*/ 3429876 h 3429876"/>
              <a:gd name="connsiteX8" fmla="*/ 145502 w 4550158"/>
              <a:gd name="connsiteY8" fmla="*/ 3429876 h 3429876"/>
              <a:gd name="connsiteX9" fmla="*/ 142728 w 4550158"/>
              <a:gd name="connsiteY9" fmla="*/ 3424117 h 3429876"/>
              <a:gd name="connsiteX10" fmla="*/ 0 w 4550158"/>
              <a:gd name="connsiteY10" fmla="*/ 2717164 h 3429876"/>
              <a:gd name="connsiteX11" fmla="*/ 950500 w 4550158"/>
              <a:gd name="connsiteY11" fmla="*/ 1120153 h 3429876"/>
              <a:gd name="connsiteX12" fmla="*/ 1047173 w 4550158"/>
              <a:gd name="connsiteY12" fmla="*/ 1073585 h 3429876"/>
              <a:gd name="connsiteX13" fmla="*/ 1044435 w 4550158"/>
              <a:gd name="connsiteY13" fmla="*/ 1076828 h 3429876"/>
              <a:gd name="connsiteX14" fmla="*/ 3930667 w 4550158"/>
              <a:gd name="connsiteY14" fmla="*/ 35787 h 3429876"/>
              <a:gd name="connsiteX15" fmla="*/ 3928895 w 4550158"/>
              <a:gd name="connsiteY15" fmla="*/ 33986 h 3429876"/>
              <a:gd name="connsiteX16" fmla="*/ 4008898 w 4550158"/>
              <a:gd name="connsiteY16" fmla="*/ 9151 h 3429876"/>
              <a:gd name="connsiteX17" fmla="*/ 4099684 w 4550158"/>
              <a:gd name="connsiteY17" fmla="*/ 0 h 342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50158" h="3429876">
                <a:moveTo>
                  <a:pt x="4099684" y="0"/>
                </a:moveTo>
                <a:cubicBezTo>
                  <a:pt x="4348474" y="0"/>
                  <a:pt x="4550158" y="201683"/>
                  <a:pt x="4550158" y="450474"/>
                </a:cubicBezTo>
                <a:cubicBezTo>
                  <a:pt x="4550159" y="512671"/>
                  <a:pt x="4537554" y="571925"/>
                  <a:pt x="4514759" y="625818"/>
                </a:cubicBezTo>
                <a:lnTo>
                  <a:pt x="4520701" y="609869"/>
                </a:lnTo>
                <a:cubicBezTo>
                  <a:pt x="4178749" y="1547077"/>
                  <a:pt x="3833624" y="2531911"/>
                  <a:pt x="3494847" y="3421494"/>
                </a:cubicBezTo>
                <a:cubicBezTo>
                  <a:pt x="3493265" y="3422860"/>
                  <a:pt x="3491682" y="3424226"/>
                  <a:pt x="3490100" y="3425592"/>
                </a:cubicBezTo>
                <a:lnTo>
                  <a:pt x="3489706" y="3424117"/>
                </a:lnTo>
                <a:lnTo>
                  <a:pt x="3486758" y="3429876"/>
                </a:lnTo>
                <a:lnTo>
                  <a:pt x="145502" y="3429876"/>
                </a:lnTo>
                <a:lnTo>
                  <a:pt x="142728" y="3424117"/>
                </a:lnTo>
                <a:cubicBezTo>
                  <a:pt x="50823" y="3206828"/>
                  <a:pt x="0" y="2967931"/>
                  <a:pt x="0" y="2717164"/>
                </a:cubicBezTo>
                <a:cubicBezTo>
                  <a:pt x="1" y="2027553"/>
                  <a:pt x="384340" y="1427710"/>
                  <a:pt x="950500" y="1120153"/>
                </a:cubicBezTo>
                <a:lnTo>
                  <a:pt x="1047173" y="1073585"/>
                </a:lnTo>
                <a:lnTo>
                  <a:pt x="1044435" y="1076828"/>
                </a:lnTo>
                <a:lnTo>
                  <a:pt x="3930667" y="35787"/>
                </a:lnTo>
                <a:lnTo>
                  <a:pt x="3928895" y="33986"/>
                </a:lnTo>
                <a:lnTo>
                  <a:pt x="4008898" y="9151"/>
                </a:lnTo>
                <a:cubicBezTo>
                  <a:pt x="4038223" y="3151"/>
                  <a:pt x="4068585" y="0"/>
                  <a:pt x="4099684" y="0"/>
                </a:cubicBezTo>
                <a:close/>
              </a:path>
            </a:pathLst>
          </a:custGeom>
          <a:solidFill>
            <a:schemeClr val="bg1">
              <a:lumMod val="95000"/>
            </a:schemeClr>
          </a:solidFill>
        </p:spPr>
        <p:txBody>
          <a:bodyPr wrap="square" anchor="ctr">
            <a:noAutofit/>
          </a:bodyPr>
          <a:lstStyle>
            <a:lvl1pPr marL="0" indent="0" algn="ctr">
              <a:buNone/>
              <a:defRPr sz="1600">
                <a:solidFill>
                  <a:srgbClr val="FF0000"/>
                </a:solidFill>
              </a:defRPr>
            </a:lvl1pPr>
          </a:lstStyle>
          <a:p>
            <a:r>
              <a:rPr lang="en-US"/>
              <a:t>Click icon to add picture</a:t>
            </a:r>
            <a:endParaRPr lang="en-US" dirty="0"/>
          </a:p>
        </p:txBody>
      </p:sp>
      <p:sp>
        <p:nvSpPr>
          <p:cNvPr id="2" name="Title 1"/>
          <p:cNvSpPr>
            <a:spLocks noGrp="1"/>
          </p:cNvSpPr>
          <p:nvPr>
            <p:ph type="ctrTitle" hasCustomPrompt="1"/>
          </p:nvPr>
        </p:nvSpPr>
        <p:spPr>
          <a:xfrm>
            <a:off x="632267" y="603504"/>
            <a:ext cx="7473891" cy="2104232"/>
          </a:xfrm>
        </p:spPr>
        <p:txBody>
          <a:bodyPr anchor="b"/>
          <a:lstStyle>
            <a:lvl1pPr>
              <a:lnSpc>
                <a:spcPct val="90000"/>
              </a:lnSpc>
              <a:defRPr sz="5400" b="1">
                <a:solidFill>
                  <a:schemeClr val="tx1"/>
                </a:solidFill>
              </a:defRPr>
            </a:lvl1pPr>
          </a:lstStyle>
          <a:p>
            <a:r>
              <a:rPr lang="en-US" dirty="0"/>
              <a:t>Click to edit presentation title</a:t>
            </a:r>
          </a:p>
        </p:txBody>
      </p:sp>
      <p:sp>
        <p:nvSpPr>
          <p:cNvPr id="3" name="Subtitle 2"/>
          <p:cNvSpPr>
            <a:spLocks noGrp="1"/>
          </p:cNvSpPr>
          <p:nvPr>
            <p:ph type="subTitle" idx="1" hasCustomPrompt="1"/>
          </p:nvPr>
        </p:nvSpPr>
        <p:spPr>
          <a:xfrm>
            <a:off x="619990" y="3000467"/>
            <a:ext cx="7473891" cy="423063"/>
          </a:xfrm>
          <a:prstGeom prst="rect">
            <a:avLst/>
          </a:prstGeom>
        </p:spPr>
        <p:txBody>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sp>
        <p:nvSpPr>
          <p:cNvPr id="10" name="Text Placeholder 9"/>
          <p:cNvSpPr>
            <a:spLocks noGrp="1"/>
          </p:cNvSpPr>
          <p:nvPr>
            <p:ph type="body" sz="quarter" idx="10" hasCustomPrompt="1"/>
          </p:nvPr>
        </p:nvSpPr>
        <p:spPr>
          <a:xfrm>
            <a:off x="619990" y="3434472"/>
            <a:ext cx="4343829" cy="775450"/>
          </a:xfrm>
          <a:prstGeom prst="rect">
            <a:avLst/>
          </a:prstGeom>
        </p:spPr>
        <p:txBody>
          <a:bodyPr vert="horz" lIns="0" tIns="45720" rIns="0" bIns="45720" rtlCol="0">
            <a:noAutofit/>
          </a:bodyPr>
          <a:lstStyle>
            <a:lvl1pPr marL="169863" indent="-169863">
              <a:spcBef>
                <a:spcPts val="0"/>
              </a:spcBef>
              <a:buNone/>
              <a:defRPr lang="en-US" sz="1400" b="0" smtClean="0">
                <a:solidFill>
                  <a:schemeClr val="tx1"/>
                </a:solidFill>
              </a:defRPr>
            </a:lvl1pPr>
            <a:lvl2pPr>
              <a:defRPr lang="en-US" sz="1400" smtClean="0">
                <a:solidFill>
                  <a:schemeClr val="tx1">
                    <a:tint val="75000"/>
                  </a:schemeClr>
                </a:solidFill>
              </a:defRPr>
            </a:lvl2pPr>
            <a:lvl3pPr>
              <a:defRPr lang="en-US" sz="1400" smtClean="0">
                <a:solidFill>
                  <a:schemeClr val="tx1">
                    <a:tint val="75000"/>
                  </a:schemeClr>
                </a:solidFill>
              </a:defRPr>
            </a:lvl3pPr>
            <a:lvl4pPr>
              <a:defRPr lang="en-US" sz="1400" smtClean="0">
                <a:solidFill>
                  <a:schemeClr val="tx1">
                    <a:tint val="75000"/>
                  </a:schemeClr>
                </a:solidFill>
              </a:defRPr>
            </a:lvl4pPr>
            <a:lvl5pPr>
              <a:defRPr lang="en-US" sz="1400">
                <a:solidFill>
                  <a:schemeClr val="tx1">
                    <a:tint val="75000"/>
                  </a:schemeClr>
                </a:solidFill>
              </a:defRPr>
            </a:lvl5pPr>
          </a:lstStyle>
          <a:p>
            <a:pPr marL="0" lvl="0" indent="0"/>
            <a:r>
              <a:rPr lang="en-US" dirty="0"/>
              <a:t>Name, Title, Date</a:t>
            </a:r>
          </a:p>
        </p:txBody>
      </p:sp>
      <p:sp>
        <p:nvSpPr>
          <p:cNvPr id="34" name="Picture Placeholder 33">
            <a:extLst>
              <a:ext uri="{FF2B5EF4-FFF2-40B4-BE49-F238E27FC236}">
                <a16:creationId xmlns:a16="http://schemas.microsoft.com/office/drawing/2014/main" id="{304C4523-AA1E-E043-AE60-96109C62D090}"/>
              </a:ext>
            </a:extLst>
          </p:cNvPr>
          <p:cNvSpPr>
            <a:spLocks noGrp="1"/>
          </p:cNvSpPr>
          <p:nvPr>
            <p:ph type="pic" sz="quarter" idx="14"/>
          </p:nvPr>
        </p:nvSpPr>
        <p:spPr>
          <a:xfrm>
            <a:off x="9154973" y="1"/>
            <a:ext cx="3037028" cy="3435905"/>
          </a:xfrm>
          <a:custGeom>
            <a:avLst/>
            <a:gdLst>
              <a:gd name="connsiteX0" fmla="*/ 1066488 w 3036237"/>
              <a:gd name="connsiteY0" fmla="*/ 0 h 3435905"/>
              <a:gd name="connsiteX1" fmla="*/ 3036237 w 3036237"/>
              <a:gd name="connsiteY1" fmla="*/ 0 h 3435905"/>
              <a:gd name="connsiteX2" fmla="*/ 3036236 w 3036237"/>
              <a:gd name="connsiteY2" fmla="*/ 2528418 h 3435905"/>
              <a:gd name="connsiteX3" fmla="*/ 619492 w 3036237"/>
              <a:gd name="connsiteY3" fmla="*/ 3400118 h 3435905"/>
              <a:gd name="connsiteX4" fmla="*/ 621264 w 3036237"/>
              <a:gd name="connsiteY4" fmla="*/ 3401919 h 3435905"/>
              <a:gd name="connsiteX5" fmla="*/ 541260 w 3036237"/>
              <a:gd name="connsiteY5" fmla="*/ 3426754 h 3435905"/>
              <a:gd name="connsiteX6" fmla="*/ 450475 w 3036237"/>
              <a:gd name="connsiteY6" fmla="*/ 3435905 h 3435905"/>
              <a:gd name="connsiteX7" fmla="*/ 1 w 3036237"/>
              <a:gd name="connsiteY7" fmla="*/ 2985431 h 3435905"/>
              <a:gd name="connsiteX8" fmla="*/ 35400 w 3036237"/>
              <a:gd name="connsiteY8" fmla="*/ 2810087 h 3435905"/>
              <a:gd name="connsiteX9" fmla="*/ 29458 w 3036237"/>
              <a:gd name="connsiteY9" fmla="*/ 2826036 h 3435905"/>
              <a:gd name="connsiteX10" fmla="*/ 1055312 w 3036237"/>
              <a:gd name="connsiteY10" fmla="*/ 14411 h 3435905"/>
              <a:gd name="connsiteX11" fmla="*/ 1060059 w 3036237"/>
              <a:gd name="connsiteY11" fmla="*/ 10313 h 3435905"/>
              <a:gd name="connsiteX12" fmla="*/ 1060453 w 3036237"/>
              <a:gd name="connsiteY12" fmla="*/ 11789 h 34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6237" h="3435905">
                <a:moveTo>
                  <a:pt x="1066488" y="0"/>
                </a:moveTo>
                <a:lnTo>
                  <a:pt x="3036237" y="0"/>
                </a:lnTo>
                <a:lnTo>
                  <a:pt x="3036236" y="2528418"/>
                </a:lnTo>
                <a:lnTo>
                  <a:pt x="619492" y="3400118"/>
                </a:lnTo>
                <a:lnTo>
                  <a:pt x="621264" y="3401919"/>
                </a:lnTo>
                <a:lnTo>
                  <a:pt x="541260" y="3426754"/>
                </a:lnTo>
                <a:cubicBezTo>
                  <a:pt x="511936" y="3432754"/>
                  <a:pt x="481574" y="3435905"/>
                  <a:pt x="450475" y="3435905"/>
                </a:cubicBezTo>
                <a:cubicBezTo>
                  <a:pt x="201685" y="3435905"/>
                  <a:pt x="1" y="3234222"/>
                  <a:pt x="1" y="2985431"/>
                </a:cubicBezTo>
                <a:cubicBezTo>
                  <a:pt x="0" y="2923234"/>
                  <a:pt x="12605" y="2863981"/>
                  <a:pt x="35400" y="2810087"/>
                </a:cubicBezTo>
                <a:lnTo>
                  <a:pt x="29458" y="2826036"/>
                </a:lnTo>
                <a:cubicBezTo>
                  <a:pt x="371410" y="1888828"/>
                  <a:pt x="716535" y="903994"/>
                  <a:pt x="1055312" y="14411"/>
                </a:cubicBezTo>
                <a:cubicBezTo>
                  <a:pt x="1056894" y="13045"/>
                  <a:pt x="1058477" y="11679"/>
                  <a:pt x="1060059" y="10313"/>
                </a:cubicBezTo>
                <a:lnTo>
                  <a:pt x="1060453" y="11789"/>
                </a:lnTo>
                <a:close/>
              </a:path>
            </a:pathLst>
          </a:custGeom>
          <a:solidFill>
            <a:schemeClr val="bg1">
              <a:lumMod val="95000"/>
            </a:schemeClr>
          </a:solidFill>
        </p:spPr>
        <p:txBody>
          <a:bodyPr wrap="square" anchor="ctr">
            <a:noAutofit/>
          </a:bodyPr>
          <a:lstStyle>
            <a:lvl1pPr marL="0" indent="0" algn="ctr">
              <a:buNone/>
              <a:defRPr sz="1600">
                <a:solidFill>
                  <a:srgbClr val="FF0000"/>
                </a:solidFill>
              </a:defRPr>
            </a:lvl1pPr>
          </a:lstStyle>
          <a:p>
            <a:r>
              <a:rPr lang="en-US"/>
              <a:t>Click icon to add picture</a:t>
            </a:r>
            <a:endParaRPr lang="en-US" dirty="0"/>
          </a:p>
        </p:txBody>
      </p:sp>
      <p:sp>
        <p:nvSpPr>
          <p:cNvPr id="11" name="TextBox 10">
            <a:extLst>
              <a:ext uri="{FF2B5EF4-FFF2-40B4-BE49-F238E27FC236}">
                <a16:creationId xmlns:a16="http://schemas.microsoft.com/office/drawing/2014/main" id="{8F795F3C-9E2D-ED46-A2C1-CD105BCB6D74}"/>
              </a:ext>
            </a:extLst>
          </p:cNvPr>
          <p:cNvSpPr txBox="1"/>
          <p:nvPr userDrawn="1"/>
        </p:nvSpPr>
        <p:spPr>
          <a:xfrm>
            <a:off x="619990" y="6627168"/>
            <a:ext cx="2435916" cy="230832"/>
          </a:xfrm>
          <a:prstGeom prst="rect">
            <a:avLst/>
          </a:prstGeom>
        </p:spPr>
        <p:txBody>
          <a:bodyPr lIns="0" rIns="0"/>
          <a:lstStyle>
            <a:defPPr>
              <a:defRPr lang="en-US"/>
            </a:defPPr>
            <a:lvl1pPr algn="r">
              <a:defRPr sz="900"/>
            </a:lvl1pPr>
          </a:lstStyle>
          <a:p>
            <a:pPr lvl="0" algn="l"/>
            <a:r>
              <a:rPr lang="en-US" sz="800"/>
              <a:t>Copyright © 2020 Blue Yonder Group, Inc.</a:t>
            </a:r>
            <a:endParaRPr lang="en-US" sz="800" dirty="0"/>
          </a:p>
        </p:txBody>
      </p:sp>
      <p:grpSp>
        <p:nvGrpSpPr>
          <p:cNvPr id="9" name="Group 8">
            <a:extLst>
              <a:ext uri="{FF2B5EF4-FFF2-40B4-BE49-F238E27FC236}">
                <a16:creationId xmlns:a16="http://schemas.microsoft.com/office/drawing/2014/main" id="{88EABB72-BFFB-47B3-B280-9C007A4DE486}"/>
              </a:ext>
            </a:extLst>
          </p:cNvPr>
          <p:cNvGrpSpPr/>
          <p:nvPr userDrawn="1"/>
        </p:nvGrpSpPr>
        <p:grpSpPr>
          <a:xfrm>
            <a:off x="9097298" y="5848510"/>
            <a:ext cx="2727495" cy="662722"/>
            <a:chOff x="4721225" y="3724275"/>
            <a:chExt cx="7121525" cy="1730375"/>
          </a:xfrm>
          <a:solidFill>
            <a:schemeClr val="accent1"/>
          </a:solidFill>
        </p:grpSpPr>
        <p:sp>
          <p:nvSpPr>
            <p:cNvPr id="13" name="Freeform 5">
              <a:extLst>
                <a:ext uri="{FF2B5EF4-FFF2-40B4-BE49-F238E27FC236}">
                  <a16:creationId xmlns:a16="http://schemas.microsoft.com/office/drawing/2014/main" id="{25C4CD8F-1F88-4E7F-8390-3F3C9FE6B6C8}"/>
                </a:ext>
              </a:extLst>
            </p:cNvPr>
            <p:cNvSpPr>
              <a:spLocks noEditPoints="1"/>
            </p:cNvSpPr>
            <p:nvPr userDrawn="1"/>
          </p:nvSpPr>
          <p:spPr bwMode="auto">
            <a:xfrm>
              <a:off x="9864725" y="4995863"/>
              <a:ext cx="228600" cy="114300"/>
            </a:xfrm>
            <a:custGeom>
              <a:avLst/>
              <a:gdLst>
                <a:gd name="T0" fmla="*/ 56 w 144"/>
                <a:gd name="T1" fmla="*/ 12 h 72"/>
                <a:gd name="T2" fmla="*/ 34 w 144"/>
                <a:gd name="T3" fmla="*/ 12 h 72"/>
                <a:gd name="T4" fmla="*/ 34 w 144"/>
                <a:gd name="T5" fmla="*/ 72 h 72"/>
                <a:gd name="T6" fmla="*/ 22 w 144"/>
                <a:gd name="T7" fmla="*/ 72 h 72"/>
                <a:gd name="T8" fmla="*/ 22 w 144"/>
                <a:gd name="T9" fmla="*/ 12 h 72"/>
                <a:gd name="T10" fmla="*/ 0 w 144"/>
                <a:gd name="T11" fmla="*/ 12 h 72"/>
                <a:gd name="T12" fmla="*/ 0 w 144"/>
                <a:gd name="T13" fmla="*/ 0 h 72"/>
                <a:gd name="T14" fmla="*/ 56 w 144"/>
                <a:gd name="T15" fmla="*/ 0 h 72"/>
                <a:gd name="T16" fmla="*/ 56 w 144"/>
                <a:gd name="T17" fmla="*/ 12 h 72"/>
                <a:gd name="T18" fmla="*/ 144 w 144"/>
                <a:gd name="T19" fmla="*/ 72 h 72"/>
                <a:gd name="T20" fmla="*/ 133 w 144"/>
                <a:gd name="T21" fmla="*/ 72 h 72"/>
                <a:gd name="T22" fmla="*/ 133 w 144"/>
                <a:gd name="T23" fmla="*/ 12 h 72"/>
                <a:gd name="T24" fmla="*/ 113 w 144"/>
                <a:gd name="T25" fmla="*/ 72 h 72"/>
                <a:gd name="T26" fmla="*/ 103 w 144"/>
                <a:gd name="T27" fmla="*/ 72 h 72"/>
                <a:gd name="T28" fmla="*/ 82 w 144"/>
                <a:gd name="T29" fmla="*/ 12 h 72"/>
                <a:gd name="T30" fmla="*/ 82 w 144"/>
                <a:gd name="T31" fmla="*/ 72 h 72"/>
                <a:gd name="T32" fmla="*/ 71 w 144"/>
                <a:gd name="T33" fmla="*/ 72 h 72"/>
                <a:gd name="T34" fmla="*/ 71 w 144"/>
                <a:gd name="T35" fmla="*/ 0 h 72"/>
                <a:gd name="T36" fmla="*/ 90 w 144"/>
                <a:gd name="T37" fmla="*/ 0 h 72"/>
                <a:gd name="T38" fmla="*/ 108 w 144"/>
                <a:gd name="T39" fmla="*/ 55 h 72"/>
                <a:gd name="T40" fmla="*/ 126 w 144"/>
                <a:gd name="T41" fmla="*/ 0 h 72"/>
                <a:gd name="T42" fmla="*/ 144 w 144"/>
                <a:gd name="T43" fmla="*/ 0 h 72"/>
                <a:gd name="T44" fmla="*/ 144 w 144"/>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72">
                  <a:moveTo>
                    <a:pt x="56" y="12"/>
                  </a:moveTo>
                  <a:lnTo>
                    <a:pt x="34" y="12"/>
                  </a:lnTo>
                  <a:lnTo>
                    <a:pt x="34" y="72"/>
                  </a:lnTo>
                  <a:lnTo>
                    <a:pt x="22" y="72"/>
                  </a:lnTo>
                  <a:lnTo>
                    <a:pt x="22" y="12"/>
                  </a:lnTo>
                  <a:lnTo>
                    <a:pt x="0" y="12"/>
                  </a:lnTo>
                  <a:lnTo>
                    <a:pt x="0" y="0"/>
                  </a:lnTo>
                  <a:lnTo>
                    <a:pt x="56" y="0"/>
                  </a:lnTo>
                  <a:lnTo>
                    <a:pt x="56" y="12"/>
                  </a:lnTo>
                  <a:close/>
                  <a:moveTo>
                    <a:pt x="144" y="72"/>
                  </a:moveTo>
                  <a:lnTo>
                    <a:pt x="133" y="72"/>
                  </a:lnTo>
                  <a:lnTo>
                    <a:pt x="133" y="12"/>
                  </a:lnTo>
                  <a:lnTo>
                    <a:pt x="113" y="72"/>
                  </a:lnTo>
                  <a:lnTo>
                    <a:pt x="103" y="72"/>
                  </a:lnTo>
                  <a:lnTo>
                    <a:pt x="82" y="12"/>
                  </a:lnTo>
                  <a:lnTo>
                    <a:pt x="82" y="72"/>
                  </a:lnTo>
                  <a:lnTo>
                    <a:pt x="71" y="72"/>
                  </a:lnTo>
                  <a:lnTo>
                    <a:pt x="71" y="0"/>
                  </a:lnTo>
                  <a:lnTo>
                    <a:pt x="90" y="0"/>
                  </a:lnTo>
                  <a:lnTo>
                    <a:pt x="108" y="55"/>
                  </a:lnTo>
                  <a:lnTo>
                    <a:pt x="126" y="0"/>
                  </a:lnTo>
                  <a:lnTo>
                    <a:pt x="144" y="0"/>
                  </a:lnTo>
                  <a:lnTo>
                    <a:pt x="14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4" name="Freeform 6">
              <a:extLst>
                <a:ext uri="{FF2B5EF4-FFF2-40B4-BE49-F238E27FC236}">
                  <a16:creationId xmlns:a16="http://schemas.microsoft.com/office/drawing/2014/main" id="{CB75B0A9-D860-47A3-9E5C-260DB47CFC37}"/>
                </a:ext>
              </a:extLst>
            </p:cNvPr>
            <p:cNvSpPr>
              <a:spLocks noEditPoints="1"/>
            </p:cNvSpPr>
            <p:nvPr userDrawn="1"/>
          </p:nvSpPr>
          <p:spPr bwMode="auto">
            <a:xfrm>
              <a:off x="6038850" y="4994275"/>
              <a:ext cx="3835400" cy="460375"/>
            </a:xfrm>
            <a:custGeom>
              <a:avLst/>
              <a:gdLst>
                <a:gd name="T0" fmla="*/ 80 w 1491"/>
                <a:gd name="T1" fmla="*/ 11 h 179"/>
                <a:gd name="T2" fmla="*/ 72 w 1491"/>
                <a:gd name="T3" fmla="*/ 61 h 179"/>
                <a:gd name="T4" fmla="*/ 163 w 1491"/>
                <a:gd name="T5" fmla="*/ 129 h 179"/>
                <a:gd name="T6" fmla="*/ 102 w 1491"/>
                <a:gd name="T7" fmla="*/ 39 h 179"/>
                <a:gd name="T8" fmla="*/ 147 w 1491"/>
                <a:gd name="T9" fmla="*/ 39 h 179"/>
                <a:gd name="T10" fmla="*/ 197 w 1491"/>
                <a:gd name="T11" fmla="*/ 1 h 179"/>
                <a:gd name="T12" fmla="*/ 218 w 1491"/>
                <a:gd name="T13" fmla="*/ 131 h 179"/>
                <a:gd name="T14" fmla="*/ 228 w 1491"/>
                <a:gd name="T15" fmla="*/ 33 h 179"/>
                <a:gd name="T16" fmla="*/ 260 w 1491"/>
                <a:gd name="T17" fmla="*/ 14 h 179"/>
                <a:gd name="T18" fmla="*/ 278 w 1491"/>
                <a:gd name="T19" fmla="*/ 53 h 179"/>
                <a:gd name="T20" fmla="*/ 228 w 1491"/>
                <a:gd name="T21" fmla="*/ 33 h 179"/>
                <a:gd name="T22" fmla="*/ 291 w 1491"/>
                <a:gd name="T23" fmla="*/ 10 h 179"/>
                <a:gd name="T24" fmla="*/ 308 w 1491"/>
                <a:gd name="T25" fmla="*/ 125 h 179"/>
                <a:gd name="T26" fmla="*/ 327 w 1491"/>
                <a:gd name="T27" fmla="*/ 1 h 179"/>
                <a:gd name="T28" fmla="*/ 359 w 1491"/>
                <a:gd name="T29" fmla="*/ 117 h 179"/>
                <a:gd name="T30" fmla="*/ 327 w 1491"/>
                <a:gd name="T31" fmla="*/ 1 h 179"/>
                <a:gd name="T32" fmla="*/ 395 w 1491"/>
                <a:gd name="T33" fmla="*/ 119 h 179"/>
                <a:gd name="T34" fmla="*/ 371 w 1491"/>
                <a:gd name="T35" fmla="*/ 103 h 179"/>
                <a:gd name="T36" fmla="*/ 455 w 1491"/>
                <a:gd name="T37" fmla="*/ 171 h 179"/>
                <a:gd name="T38" fmla="*/ 513 w 1491"/>
                <a:gd name="T39" fmla="*/ 132 h 179"/>
                <a:gd name="T40" fmla="*/ 468 w 1491"/>
                <a:gd name="T41" fmla="*/ 39 h 179"/>
                <a:gd name="T42" fmla="*/ 513 w 1491"/>
                <a:gd name="T43" fmla="*/ 39 h 179"/>
                <a:gd name="T44" fmla="*/ 583 w 1491"/>
                <a:gd name="T45" fmla="*/ 37 h 179"/>
                <a:gd name="T46" fmla="*/ 543 w 1491"/>
                <a:gd name="T47" fmla="*/ 88 h 179"/>
                <a:gd name="T48" fmla="*/ 558 w 1491"/>
                <a:gd name="T49" fmla="*/ 84 h 179"/>
                <a:gd name="T50" fmla="*/ 608 w 1491"/>
                <a:gd name="T51" fmla="*/ 84 h 179"/>
                <a:gd name="T52" fmla="*/ 638 w 1491"/>
                <a:gd name="T53" fmla="*/ 39 h 179"/>
                <a:gd name="T54" fmla="*/ 699 w 1491"/>
                <a:gd name="T55" fmla="*/ 117 h 179"/>
                <a:gd name="T56" fmla="*/ 734 w 1491"/>
                <a:gd name="T57" fmla="*/ 42 h 179"/>
                <a:gd name="T58" fmla="*/ 764 w 1491"/>
                <a:gd name="T59" fmla="*/ 52 h 179"/>
                <a:gd name="T60" fmla="*/ 734 w 1491"/>
                <a:gd name="T61" fmla="*/ 42 h 179"/>
                <a:gd name="T62" fmla="*/ 909 w 1491"/>
                <a:gd name="T63" fmla="*/ 88 h 179"/>
                <a:gd name="T64" fmla="*/ 832 w 1491"/>
                <a:gd name="T65" fmla="*/ 179 h 179"/>
                <a:gd name="T66" fmla="*/ 848 w 1491"/>
                <a:gd name="T67" fmla="*/ 54 h 179"/>
                <a:gd name="T68" fmla="*/ 893 w 1491"/>
                <a:gd name="T69" fmla="*/ 83 h 179"/>
                <a:gd name="T70" fmla="*/ 1001 w 1491"/>
                <a:gd name="T71" fmla="*/ 88 h 179"/>
                <a:gd name="T72" fmla="*/ 986 w 1491"/>
                <a:gd name="T73" fmla="*/ 84 h 179"/>
                <a:gd name="T74" fmla="*/ 961 w 1491"/>
                <a:gd name="T75" fmla="*/ 120 h 179"/>
                <a:gd name="T76" fmla="*/ 1030 w 1491"/>
                <a:gd name="T77" fmla="*/ 11 h 179"/>
                <a:gd name="T78" fmla="*/ 1030 w 1491"/>
                <a:gd name="T79" fmla="*/ 53 h 179"/>
                <a:gd name="T80" fmla="*/ 1071 w 1491"/>
                <a:gd name="T81" fmla="*/ 128 h 179"/>
                <a:gd name="T82" fmla="*/ 1156 w 1491"/>
                <a:gd name="T83" fmla="*/ 92 h 179"/>
                <a:gd name="T84" fmla="*/ 1150 w 1491"/>
                <a:gd name="T85" fmla="*/ 115 h 179"/>
                <a:gd name="T86" fmla="*/ 1076 w 1491"/>
                <a:gd name="T87" fmla="*/ 83 h 179"/>
                <a:gd name="T88" fmla="*/ 1092 w 1491"/>
                <a:gd name="T89" fmla="*/ 80 h 179"/>
                <a:gd name="T90" fmla="*/ 1092 w 1491"/>
                <a:gd name="T91" fmla="*/ 79 h 179"/>
                <a:gd name="T92" fmla="*/ 1248 w 1491"/>
                <a:gd name="T93" fmla="*/ 77 h 179"/>
                <a:gd name="T94" fmla="*/ 1208 w 1491"/>
                <a:gd name="T95" fmla="*/ 52 h 179"/>
                <a:gd name="T96" fmla="*/ 1172 w 1491"/>
                <a:gd name="T97" fmla="*/ 42 h 179"/>
                <a:gd name="T98" fmla="*/ 1314 w 1491"/>
                <a:gd name="T99" fmla="*/ 39 h 179"/>
                <a:gd name="T100" fmla="*/ 1295 w 1491"/>
                <a:gd name="T101" fmla="*/ 120 h 179"/>
                <a:gd name="T102" fmla="*/ 1263 w 1491"/>
                <a:gd name="T103" fmla="*/ 100 h 179"/>
                <a:gd name="T104" fmla="*/ 1340 w 1491"/>
                <a:gd name="T105" fmla="*/ 20 h 179"/>
                <a:gd name="T106" fmla="*/ 1348 w 1491"/>
                <a:gd name="T107" fmla="*/ 39 h 179"/>
                <a:gd name="T108" fmla="*/ 1333 w 1491"/>
                <a:gd name="T109" fmla="*/ 39 h 179"/>
                <a:gd name="T110" fmla="*/ 1361 w 1491"/>
                <a:gd name="T111" fmla="*/ 103 h 179"/>
                <a:gd name="T112" fmla="*/ 1398 w 1491"/>
                <a:gd name="T113" fmla="*/ 52 h 179"/>
                <a:gd name="T114" fmla="*/ 1437 w 1491"/>
                <a:gd name="T115" fmla="*/ 71 h 179"/>
                <a:gd name="T116" fmla="*/ 1376 w 1491"/>
                <a:gd name="T117" fmla="*/ 104 h 179"/>
                <a:gd name="T118" fmla="*/ 1454 w 1491"/>
                <a:gd name="T119" fmla="*/ 1 h 179"/>
                <a:gd name="T120" fmla="*/ 1487 w 1491"/>
                <a:gd name="T121" fmla="*/ 117 h 179"/>
                <a:gd name="T122" fmla="*/ 1454 w 1491"/>
                <a:gd name="T123" fmla="*/ 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1" h="179">
                  <a:moveTo>
                    <a:pt x="17" y="132"/>
                  </a:moveTo>
                  <a:cubicBezTo>
                    <a:pt x="0" y="132"/>
                    <a:pt x="0" y="132"/>
                    <a:pt x="0" y="132"/>
                  </a:cubicBezTo>
                  <a:cubicBezTo>
                    <a:pt x="0" y="11"/>
                    <a:pt x="0" y="11"/>
                    <a:pt x="0" y="11"/>
                  </a:cubicBezTo>
                  <a:cubicBezTo>
                    <a:pt x="80" y="11"/>
                    <a:pt x="80" y="11"/>
                    <a:pt x="80" y="11"/>
                  </a:cubicBezTo>
                  <a:cubicBezTo>
                    <a:pt x="80" y="26"/>
                    <a:pt x="80" y="26"/>
                    <a:pt x="80" y="26"/>
                  </a:cubicBezTo>
                  <a:cubicBezTo>
                    <a:pt x="17" y="26"/>
                    <a:pt x="17" y="26"/>
                    <a:pt x="17" y="26"/>
                  </a:cubicBezTo>
                  <a:cubicBezTo>
                    <a:pt x="17" y="61"/>
                    <a:pt x="17" y="61"/>
                    <a:pt x="17" y="61"/>
                  </a:cubicBezTo>
                  <a:cubicBezTo>
                    <a:pt x="72" y="61"/>
                    <a:pt x="72" y="61"/>
                    <a:pt x="72" y="61"/>
                  </a:cubicBezTo>
                  <a:cubicBezTo>
                    <a:pt x="72" y="76"/>
                    <a:pt x="72" y="76"/>
                    <a:pt x="72" y="76"/>
                  </a:cubicBezTo>
                  <a:cubicBezTo>
                    <a:pt x="17" y="76"/>
                    <a:pt x="17" y="76"/>
                    <a:pt x="17" y="76"/>
                  </a:cubicBezTo>
                  <a:lnTo>
                    <a:pt x="17" y="132"/>
                  </a:lnTo>
                  <a:close/>
                  <a:moveTo>
                    <a:pt x="163" y="129"/>
                  </a:moveTo>
                  <a:cubicBezTo>
                    <a:pt x="153" y="132"/>
                    <a:pt x="142" y="134"/>
                    <a:pt x="126" y="134"/>
                  </a:cubicBezTo>
                  <a:cubicBezTo>
                    <a:pt x="103" y="134"/>
                    <a:pt x="86" y="124"/>
                    <a:pt x="86" y="94"/>
                  </a:cubicBezTo>
                  <a:cubicBezTo>
                    <a:pt x="86" y="39"/>
                    <a:pt x="86" y="39"/>
                    <a:pt x="86" y="39"/>
                  </a:cubicBezTo>
                  <a:cubicBezTo>
                    <a:pt x="102" y="39"/>
                    <a:pt x="102" y="39"/>
                    <a:pt x="102" y="39"/>
                  </a:cubicBezTo>
                  <a:cubicBezTo>
                    <a:pt x="102" y="95"/>
                    <a:pt x="102" y="95"/>
                    <a:pt x="102" y="95"/>
                  </a:cubicBezTo>
                  <a:cubicBezTo>
                    <a:pt x="102" y="115"/>
                    <a:pt x="112" y="120"/>
                    <a:pt x="126" y="120"/>
                  </a:cubicBezTo>
                  <a:cubicBezTo>
                    <a:pt x="136" y="120"/>
                    <a:pt x="141" y="119"/>
                    <a:pt x="147" y="117"/>
                  </a:cubicBezTo>
                  <a:cubicBezTo>
                    <a:pt x="147" y="39"/>
                    <a:pt x="147" y="39"/>
                    <a:pt x="147" y="39"/>
                  </a:cubicBezTo>
                  <a:cubicBezTo>
                    <a:pt x="163" y="39"/>
                    <a:pt x="163" y="39"/>
                    <a:pt x="163" y="39"/>
                  </a:cubicBezTo>
                  <a:lnTo>
                    <a:pt x="163" y="129"/>
                  </a:lnTo>
                  <a:close/>
                  <a:moveTo>
                    <a:pt x="182" y="1"/>
                  </a:moveTo>
                  <a:cubicBezTo>
                    <a:pt x="197" y="1"/>
                    <a:pt x="197" y="1"/>
                    <a:pt x="197" y="1"/>
                  </a:cubicBezTo>
                  <a:cubicBezTo>
                    <a:pt x="197" y="103"/>
                    <a:pt x="197" y="103"/>
                    <a:pt x="197" y="103"/>
                  </a:cubicBezTo>
                  <a:cubicBezTo>
                    <a:pt x="197" y="116"/>
                    <a:pt x="201" y="119"/>
                    <a:pt x="206" y="119"/>
                  </a:cubicBezTo>
                  <a:cubicBezTo>
                    <a:pt x="210" y="119"/>
                    <a:pt x="212" y="118"/>
                    <a:pt x="214" y="117"/>
                  </a:cubicBezTo>
                  <a:cubicBezTo>
                    <a:pt x="218" y="131"/>
                    <a:pt x="218" y="131"/>
                    <a:pt x="218" y="131"/>
                  </a:cubicBezTo>
                  <a:cubicBezTo>
                    <a:pt x="214" y="133"/>
                    <a:pt x="211" y="134"/>
                    <a:pt x="204" y="134"/>
                  </a:cubicBezTo>
                  <a:cubicBezTo>
                    <a:pt x="192" y="134"/>
                    <a:pt x="182" y="126"/>
                    <a:pt x="182" y="103"/>
                  </a:cubicBezTo>
                  <a:lnTo>
                    <a:pt x="182" y="1"/>
                  </a:lnTo>
                  <a:close/>
                  <a:moveTo>
                    <a:pt x="228" y="33"/>
                  </a:moveTo>
                  <a:cubicBezTo>
                    <a:pt x="228" y="8"/>
                    <a:pt x="242" y="0"/>
                    <a:pt x="260" y="0"/>
                  </a:cubicBezTo>
                  <a:cubicBezTo>
                    <a:pt x="270" y="0"/>
                    <a:pt x="278" y="2"/>
                    <a:pt x="284" y="5"/>
                  </a:cubicBezTo>
                  <a:cubicBezTo>
                    <a:pt x="279" y="19"/>
                    <a:pt x="279" y="19"/>
                    <a:pt x="279" y="19"/>
                  </a:cubicBezTo>
                  <a:cubicBezTo>
                    <a:pt x="274" y="16"/>
                    <a:pt x="268" y="14"/>
                    <a:pt x="260" y="14"/>
                  </a:cubicBezTo>
                  <a:cubicBezTo>
                    <a:pt x="250" y="14"/>
                    <a:pt x="244" y="19"/>
                    <a:pt x="244" y="33"/>
                  </a:cubicBezTo>
                  <a:cubicBezTo>
                    <a:pt x="244" y="39"/>
                    <a:pt x="244" y="39"/>
                    <a:pt x="244" y="39"/>
                  </a:cubicBezTo>
                  <a:cubicBezTo>
                    <a:pt x="278" y="39"/>
                    <a:pt x="278" y="39"/>
                    <a:pt x="278" y="39"/>
                  </a:cubicBezTo>
                  <a:cubicBezTo>
                    <a:pt x="278" y="53"/>
                    <a:pt x="278" y="53"/>
                    <a:pt x="278" y="53"/>
                  </a:cubicBezTo>
                  <a:cubicBezTo>
                    <a:pt x="244" y="53"/>
                    <a:pt x="244" y="53"/>
                    <a:pt x="244" y="53"/>
                  </a:cubicBezTo>
                  <a:cubicBezTo>
                    <a:pt x="244" y="132"/>
                    <a:pt x="244" y="132"/>
                    <a:pt x="244" y="132"/>
                  </a:cubicBezTo>
                  <a:cubicBezTo>
                    <a:pt x="228" y="132"/>
                    <a:pt x="228" y="132"/>
                    <a:pt x="228" y="132"/>
                  </a:cubicBezTo>
                  <a:lnTo>
                    <a:pt x="228" y="33"/>
                  </a:lnTo>
                  <a:close/>
                  <a:moveTo>
                    <a:pt x="301" y="0"/>
                  </a:moveTo>
                  <a:cubicBezTo>
                    <a:pt x="306" y="0"/>
                    <a:pt x="311" y="5"/>
                    <a:pt x="311" y="10"/>
                  </a:cubicBezTo>
                  <a:cubicBezTo>
                    <a:pt x="311" y="16"/>
                    <a:pt x="306" y="20"/>
                    <a:pt x="301" y="20"/>
                  </a:cubicBezTo>
                  <a:cubicBezTo>
                    <a:pt x="295" y="20"/>
                    <a:pt x="291" y="16"/>
                    <a:pt x="291" y="10"/>
                  </a:cubicBezTo>
                  <a:cubicBezTo>
                    <a:pt x="291" y="5"/>
                    <a:pt x="295" y="0"/>
                    <a:pt x="301" y="0"/>
                  </a:cubicBezTo>
                  <a:close/>
                  <a:moveTo>
                    <a:pt x="293" y="39"/>
                  </a:moveTo>
                  <a:cubicBezTo>
                    <a:pt x="308" y="39"/>
                    <a:pt x="308" y="39"/>
                    <a:pt x="308" y="39"/>
                  </a:cubicBezTo>
                  <a:cubicBezTo>
                    <a:pt x="308" y="125"/>
                    <a:pt x="308" y="125"/>
                    <a:pt x="308" y="125"/>
                  </a:cubicBezTo>
                  <a:cubicBezTo>
                    <a:pt x="308" y="132"/>
                    <a:pt x="308" y="132"/>
                    <a:pt x="308" y="132"/>
                  </a:cubicBezTo>
                  <a:cubicBezTo>
                    <a:pt x="293" y="132"/>
                    <a:pt x="293" y="132"/>
                    <a:pt x="293" y="132"/>
                  </a:cubicBezTo>
                  <a:lnTo>
                    <a:pt x="293" y="39"/>
                  </a:lnTo>
                  <a:close/>
                  <a:moveTo>
                    <a:pt x="327" y="1"/>
                  </a:moveTo>
                  <a:cubicBezTo>
                    <a:pt x="342" y="1"/>
                    <a:pt x="342" y="1"/>
                    <a:pt x="342" y="1"/>
                  </a:cubicBezTo>
                  <a:cubicBezTo>
                    <a:pt x="342" y="103"/>
                    <a:pt x="342" y="103"/>
                    <a:pt x="342" y="103"/>
                  </a:cubicBezTo>
                  <a:cubicBezTo>
                    <a:pt x="342" y="116"/>
                    <a:pt x="346" y="119"/>
                    <a:pt x="351" y="119"/>
                  </a:cubicBezTo>
                  <a:cubicBezTo>
                    <a:pt x="355" y="119"/>
                    <a:pt x="357" y="118"/>
                    <a:pt x="359" y="117"/>
                  </a:cubicBezTo>
                  <a:cubicBezTo>
                    <a:pt x="363" y="131"/>
                    <a:pt x="363" y="131"/>
                    <a:pt x="363" y="131"/>
                  </a:cubicBezTo>
                  <a:cubicBezTo>
                    <a:pt x="360" y="133"/>
                    <a:pt x="356" y="134"/>
                    <a:pt x="350" y="134"/>
                  </a:cubicBezTo>
                  <a:cubicBezTo>
                    <a:pt x="337" y="134"/>
                    <a:pt x="327" y="126"/>
                    <a:pt x="327" y="103"/>
                  </a:cubicBezTo>
                  <a:lnTo>
                    <a:pt x="327" y="1"/>
                  </a:lnTo>
                  <a:close/>
                  <a:moveTo>
                    <a:pt x="371" y="1"/>
                  </a:moveTo>
                  <a:cubicBezTo>
                    <a:pt x="386" y="1"/>
                    <a:pt x="386" y="1"/>
                    <a:pt x="386" y="1"/>
                  </a:cubicBezTo>
                  <a:cubicBezTo>
                    <a:pt x="386" y="103"/>
                    <a:pt x="386" y="103"/>
                    <a:pt x="386" y="103"/>
                  </a:cubicBezTo>
                  <a:cubicBezTo>
                    <a:pt x="386" y="116"/>
                    <a:pt x="390" y="119"/>
                    <a:pt x="395" y="119"/>
                  </a:cubicBezTo>
                  <a:cubicBezTo>
                    <a:pt x="399" y="119"/>
                    <a:pt x="401" y="118"/>
                    <a:pt x="403" y="117"/>
                  </a:cubicBezTo>
                  <a:cubicBezTo>
                    <a:pt x="407" y="131"/>
                    <a:pt x="407" y="131"/>
                    <a:pt x="407" y="131"/>
                  </a:cubicBezTo>
                  <a:cubicBezTo>
                    <a:pt x="403" y="133"/>
                    <a:pt x="400" y="134"/>
                    <a:pt x="394" y="134"/>
                  </a:cubicBezTo>
                  <a:cubicBezTo>
                    <a:pt x="381" y="134"/>
                    <a:pt x="371" y="126"/>
                    <a:pt x="371" y="103"/>
                  </a:cubicBezTo>
                  <a:lnTo>
                    <a:pt x="371" y="1"/>
                  </a:lnTo>
                  <a:close/>
                  <a:moveTo>
                    <a:pt x="529" y="139"/>
                  </a:moveTo>
                  <a:cubicBezTo>
                    <a:pt x="529" y="168"/>
                    <a:pt x="512" y="179"/>
                    <a:pt x="489" y="179"/>
                  </a:cubicBezTo>
                  <a:cubicBezTo>
                    <a:pt x="475" y="179"/>
                    <a:pt x="465" y="176"/>
                    <a:pt x="455" y="171"/>
                  </a:cubicBezTo>
                  <a:cubicBezTo>
                    <a:pt x="459" y="158"/>
                    <a:pt x="459" y="158"/>
                    <a:pt x="459" y="158"/>
                  </a:cubicBezTo>
                  <a:cubicBezTo>
                    <a:pt x="467" y="162"/>
                    <a:pt x="477" y="165"/>
                    <a:pt x="489" y="165"/>
                  </a:cubicBezTo>
                  <a:cubicBezTo>
                    <a:pt x="504" y="165"/>
                    <a:pt x="513" y="159"/>
                    <a:pt x="513" y="139"/>
                  </a:cubicBezTo>
                  <a:cubicBezTo>
                    <a:pt x="513" y="132"/>
                    <a:pt x="513" y="132"/>
                    <a:pt x="513" y="132"/>
                  </a:cubicBezTo>
                  <a:cubicBezTo>
                    <a:pt x="508" y="133"/>
                    <a:pt x="500" y="134"/>
                    <a:pt x="491" y="134"/>
                  </a:cubicBezTo>
                  <a:cubicBezTo>
                    <a:pt x="470" y="134"/>
                    <a:pt x="452" y="125"/>
                    <a:pt x="452" y="94"/>
                  </a:cubicBezTo>
                  <a:cubicBezTo>
                    <a:pt x="452" y="39"/>
                    <a:pt x="452" y="39"/>
                    <a:pt x="452" y="39"/>
                  </a:cubicBezTo>
                  <a:cubicBezTo>
                    <a:pt x="468" y="39"/>
                    <a:pt x="468" y="39"/>
                    <a:pt x="468" y="39"/>
                  </a:cubicBezTo>
                  <a:cubicBezTo>
                    <a:pt x="468" y="95"/>
                    <a:pt x="468" y="95"/>
                    <a:pt x="468" y="95"/>
                  </a:cubicBezTo>
                  <a:cubicBezTo>
                    <a:pt x="468" y="115"/>
                    <a:pt x="477" y="120"/>
                    <a:pt x="492" y="120"/>
                  </a:cubicBezTo>
                  <a:cubicBezTo>
                    <a:pt x="502" y="120"/>
                    <a:pt x="507" y="119"/>
                    <a:pt x="513" y="117"/>
                  </a:cubicBezTo>
                  <a:cubicBezTo>
                    <a:pt x="513" y="39"/>
                    <a:pt x="513" y="39"/>
                    <a:pt x="513" y="39"/>
                  </a:cubicBezTo>
                  <a:cubicBezTo>
                    <a:pt x="529" y="39"/>
                    <a:pt x="529" y="39"/>
                    <a:pt x="529" y="39"/>
                  </a:cubicBezTo>
                  <a:lnTo>
                    <a:pt x="529" y="139"/>
                  </a:lnTo>
                  <a:close/>
                  <a:moveTo>
                    <a:pt x="543" y="84"/>
                  </a:moveTo>
                  <a:cubicBezTo>
                    <a:pt x="543" y="50"/>
                    <a:pt x="560" y="37"/>
                    <a:pt x="583" y="37"/>
                  </a:cubicBezTo>
                  <a:cubicBezTo>
                    <a:pt x="607" y="37"/>
                    <a:pt x="624" y="50"/>
                    <a:pt x="624" y="84"/>
                  </a:cubicBezTo>
                  <a:cubicBezTo>
                    <a:pt x="624" y="88"/>
                    <a:pt x="624" y="88"/>
                    <a:pt x="624" y="88"/>
                  </a:cubicBezTo>
                  <a:cubicBezTo>
                    <a:pt x="624" y="121"/>
                    <a:pt x="607" y="134"/>
                    <a:pt x="583" y="134"/>
                  </a:cubicBezTo>
                  <a:cubicBezTo>
                    <a:pt x="560" y="134"/>
                    <a:pt x="543" y="121"/>
                    <a:pt x="543" y="88"/>
                  </a:cubicBezTo>
                  <a:lnTo>
                    <a:pt x="543" y="84"/>
                  </a:lnTo>
                  <a:close/>
                  <a:moveTo>
                    <a:pt x="608" y="84"/>
                  </a:moveTo>
                  <a:cubicBezTo>
                    <a:pt x="608" y="60"/>
                    <a:pt x="599" y="52"/>
                    <a:pt x="583" y="52"/>
                  </a:cubicBezTo>
                  <a:cubicBezTo>
                    <a:pt x="568" y="52"/>
                    <a:pt x="558" y="60"/>
                    <a:pt x="558" y="84"/>
                  </a:cubicBezTo>
                  <a:cubicBezTo>
                    <a:pt x="558" y="88"/>
                    <a:pt x="558" y="88"/>
                    <a:pt x="558" y="88"/>
                  </a:cubicBezTo>
                  <a:cubicBezTo>
                    <a:pt x="558" y="112"/>
                    <a:pt x="568" y="120"/>
                    <a:pt x="583" y="120"/>
                  </a:cubicBezTo>
                  <a:cubicBezTo>
                    <a:pt x="599" y="120"/>
                    <a:pt x="608" y="112"/>
                    <a:pt x="608" y="88"/>
                  </a:cubicBezTo>
                  <a:lnTo>
                    <a:pt x="608" y="84"/>
                  </a:lnTo>
                  <a:close/>
                  <a:moveTo>
                    <a:pt x="715" y="129"/>
                  </a:moveTo>
                  <a:cubicBezTo>
                    <a:pt x="705" y="132"/>
                    <a:pt x="694" y="134"/>
                    <a:pt x="678" y="134"/>
                  </a:cubicBezTo>
                  <a:cubicBezTo>
                    <a:pt x="655" y="134"/>
                    <a:pt x="638" y="124"/>
                    <a:pt x="638" y="94"/>
                  </a:cubicBezTo>
                  <a:cubicBezTo>
                    <a:pt x="638" y="39"/>
                    <a:pt x="638" y="39"/>
                    <a:pt x="638" y="39"/>
                  </a:cubicBezTo>
                  <a:cubicBezTo>
                    <a:pt x="654" y="39"/>
                    <a:pt x="654" y="39"/>
                    <a:pt x="654" y="39"/>
                  </a:cubicBezTo>
                  <a:cubicBezTo>
                    <a:pt x="654" y="95"/>
                    <a:pt x="654" y="95"/>
                    <a:pt x="654" y="95"/>
                  </a:cubicBezTo>
                  <a:cubicBezTo>
                    <a:pt x="654" y="115"/>
                    <a:pt x="664" y="120"/>
                    <a:pt x="678" y="120"/>
                  </a:cubicBezTo>
                  <a:cubicBezTo>
                    <a:pt x="688" y="120"/>
                    <a:pt x="693" y="119"/>
                    <a:pt x="699" y="117"/>
                  </a:cubicBezTo>
                  <a:cubicBezTo>
                    <a:pt x="699" y="39"/>
                    <a:pt x="699" y="39"/>
                    <a:pt x="699" y="39"/>
                  </a:cubicBezTo>
                  <a:cubicBezTo>
                    <a:pt x="715" y="39"/>
                    <a:pt x="715" y="39"/>
                    <a:pt x="715" y="39"/>
                  </a:cubicBezTo>
                  <a:lnTo>
                    <a:pt x="715" y="129"/>
                  </a:lnTo>
                  <a:close/>
                  <a:moveTo>
                    <a:pt x="734" y="42"/>
                  </a:moveTo>
                  <a:cubicBezTo>
                    <a:pt x="741" y="40"/>
                    <a:pt x="752" y="37"/>
                    <a:pt x="763" y="37"/>
                  </a:cubicBezTo>
                  <a:cubicBezTo>
                    <a:pt x="772" y="37"/>
                    <a:pt x="778" y="38"/>
                    <a:pt x="783" y="40"/>
                  </a:cubicBezTo>
                  <a:cubicBezTo>
                    <a:pt x="779" y="54"/>
                    <a:pt x="779" y="54"/>
                    <a:pt x="779" y="54"/>
                  </a:cubicBezTo>
                  <a:cubicBezTo>
                    <a:pt x="775" y="53"/>
                    <a:pt x="770" y="52"/>
                    <a:pt x="764" y="52"/>
                  </a:cubicBezTo>
                  <a:cubicBezTo>
                    <a:pt x="756" y="52"/>
                    <a:pt x="753" y="53"/>
                    <a:pt x="749" y="54"/>
                  </a:cubicBezTo>
                  <a:cubicBezTo>
                    <a:pt x="749" y="132"/>
                    <a:pt x="749" y="132"/>
                    <a:pt x="749" y="132"/>
                  </a:cubicBezTo>
                  <a:cubicBezTo>
                    <a:pt x="734" y="132"/>
                    <a:pt x="734" y="132"/>
                    <a:pt x="734" y="132"/>
                  </a:cubicBezTo>
                  <a:lnTo>
                    <a:pt x="734" y="42"/>
                  </a:lnTo>
                  <a:close/>
                  <a:moveTo>
                    <a:pt x="832" y="42"/>
                  </a:moveTo>
                  <a:cubicBezTo>
                    <a:pt x="842" y="38"/>
                    <a:pt x="856" y="37"/>
                    <a:pt x="866" y="37"/>
                  </a:cubicBezTo>
                  <a:cubicBezTo>
                    <a:pt x="891" y="37"/>
                    <a:pt x="909" y="52"/>
                    <a:pt x="909" y="83"/>
                  </a:cubicBezTo>
                  <a:cubicBezTo>
                    <a:pt x="909" y="88"/>
                    <a:pt x="909" y="88"/>
                    <a:pt x="909" y="88"/>
                  </a:cubicBezTo>
                  <a:cubicBezTo>
                    <a:pt x="909" y="120"/>
                    <a:pt x="891" y="134"/>
                    <a:pt x="867" y="134"/>
                  </a:cubicBezTo>
                  <a:cubicBezTo>
                    <a:pt x="859" y="134"/>
                    <a:pt x="853" y="133"/>
                    <a:pt x="848" y="131"/>
                  </a:cubicBezTo>
                  <a:cubicBezTo>
                    <a:pt x="848" y="179"/>
                    <a:pt x="848" y="179"/>
                    <a:pt x="848" y="179"/>
                  </a:cubicBezTo>
                  <a:cubicBezTo>
                    <a:pt x="832" y="179"/>
                    <a:pt x="832" y="179"/>
                    <a:pt x="832" y="179"/>
                  </a:cubicBezTo>
                  <a:lnTo>
                    <a:pt x="832" y="42"/>
                  </a:lnTo>
                  <a:close/>
                  <a:moveTo>
                    <a:pt x="893" y="83"/>
                  </a:moveTo>
                  <a:cubicBezTo>
                    <a:pt x="893" y="59"/>
                    <a:pt x="883" y="52"/>
                    <a:pt x="866" y="52"/>
                  </a:cubicBezTo>
                  <a:cubicBezTo>
                    <a:pt x="857" y="52"/>
                    <a:pt x="852" y="53"/>
                    <a:pt x="848" y="54"/>
                  </a:cubicBezTo>
                  <a:cubicBezTo>
                    <a:pt x="848" y="116"/>
                    <a:pt x="848" y="116"/>
                    <a:pt x="848" y="116"/>
                  </a:cubicBezTo>
                  <a:cubicBezTo>
                    <a:pt x="851" y="118"/>
                    <a:pt x="858" y="120"/>
                    <a:pt x="866" y="120"/>
                  </a:cubicBezTo>
                  <a:cubicBezTo>
                    <a:pt x="882" y="120"/>
                    <a:pt x="893" y="113"/>
                    <a:pt x="893" y="88"/>
                  </a:cubicBezTo>
                  <a:lnTo>
                    <a:pt x="893" y="83"/>
                  </a:lnTo>
                  <a:close/>
                  <a:moveTo>
                    <a:pt x="920" y="84"/>
                  </a:moveTo>
                  <a:cubicBezTo>
                    <a:pt x="920" y="50"/>
                    <a:pt x="937" y="37"/>
                    <a:pt x="961" y="37"/>
                  </a:cubicBezTo>
                  <a:cubicBezTo>
                    <a:pt x="984" y="37"/>
                    <a:pt x="1001" y="50"/>
                    <a:pt x="1001" y="84"/>
                  </a:cubicBezTo>
                  <a:cubicBezTo>
                    <a:pt x="1001" y="88"/>
                    <a:pt x="1001" y="88"/>
                    <a:pt x="1001" y="88"/>
                  </a:cubicBezTo>
                  <a:cubicBezTo>
                    <a:pt x="1001" y="121"/>
                    <a:pt x="984" y="134"/>
                    <a:pt x="961" y="134"/>
                  </a:cubicBezTo>
                  <a:cubicBezTo>
                    <a:pt x="937" y="134"/>
                    <a:pt x="920" y="121"/>
                    <a:pt x="920" y="88"/>
                  </a:cubicBezTo>
                  <a:lnTo>
                    <a:pt x="920" y="84"/>
                  </a:lnTo>
                  <a:close/>
                  <a:moveTo>
                    <a:pt x="986" y="84"/>
                  </a:moveTo>
                  <a:cubicBezTo>
                    <a:pt x="986" y="60"/>
                    <a:pt x="976" y="52"/>
                    <a:pt x="961" y="52"/>
                  </a:cubicBezTo>
                  <a:cubicBezTo>
                    <a:pt x="945" y="52"/>
                    <a:pt x="936" y="60"/>
                    <a:pt x="936" y="84"/>
                  </a:cubicBezTo>
                  <a:cubicBezTo>
                    <a:pt x="936" y="88"/>
                    <a:pt x="936" y="88"/>
                    <a:pt x="936" y="88"/>
                  </a:cubicBezTo>
                  <a:cubicBezTo>
                    <a:pt x="936" y="112"/>
                    <a:pt x="945" y="120"/>
                    <a:pt x="961" y="120"/>
                  </a:cubicBezTo>
                  <a:cubicBezTo>
                    <a:pt x="976" y="120"/>
                    <a:pt x="986" y="112"/>
                    <a:pt x="986" y="88"/>
                  </a:cubicBezTo>
                  <a:lnTo>
                    <a:pt x="986" y="84"/>
                  </a:lnTo>
                  <a:close/>
                  <a:moveTo>
                    <a:pt x="1014" y="11"/>
                  </a:moveTo>
                  <a:cubicBezTo>
                    <a:pt x="1030" y="11"/>
                    <a:pt x="1030" y="11"/>
                    <a:pt x="1030" y="11"/>
                  </a:cubicBezTo>
                  <a:cubicBezTo>
                    <a:pt x="1030" y="39"/>
                    <a:pt x="1030" y="39"/>
                    <a:pt x="1030" y="39"/>
                  </a:cubicBezTo>
                  <a:cubicBezTo>
                    <a:pt x="1065" y="39"/>
                    <a:pt x="1065" y="39"/>
                    <a:pt x="1065" y="39"/>
                  </a:cubicBezTo>
                  <a:cubicBezTo>
                    <a:pt x="1065" y="53"/>
                    <a:pt x="1065" y="53"/>
                    <a:pt x="1065" y="53"/>
                  </a:cubicBezTo>
                  <a:cubicBezTo>
                    <a:pt x="1030" y="53"/>
                    <a:pt x="1030" y="53"/>
                    <a:pt x="1030" y="53"/>
                  </a:cubicBezTo>
                  <a:cubicBezTo>
                    <a:pt x="1030" y="101"/>
                    <a:pt x="1030" y="101"/>
                    <a:pt x="1030" y="101"/>
                  </a:cubicBezTo>
                  <a:cubicBezTo>
                    <a:pt x="1030" y="115"/>
                    <a:pt x="1036" y="120"/>
                    <a:pt x="1046" y="120"/>
                  </a:cubicBezTo>
                  <a:cubicBezTo>
                    <a:pt x="1054" y="120"/>
                    <a:pt x="1061" y="117"/>
                    <a:pt x="1066" y="114"/>
                  </a:cubicBezTo>
                  <a:cubicBezTo>
                    <a:pt x="1071" y="128"/>
                    <a:pt x="1071" y="128"/>
                    <a:pt x="1071" y="128"/>
                  </a:cubicBezTo>
                  <a:cubicBezTo>
                    <a:pt x="1064" y="132"/>
                    <a:pt x="1056" y="134"/>
                    <a:pt x="1046" y="134"/>
                  </a:cubicBezTo>
                  <a:cubicBezTo>
                    <a:pt x="1028" y="134"/>
                    <a:pt x="1014" y="125"/>
                    <a:pt x="1014" y="100"/>
                  </a:cubicBezTo>
                  <a:lnTo>
                    <a:pt x="1014" y="11"/>
                  </a:lnTo>
                  <a:close/>
                  <a:moveTo>
                    <a:pt x="1156" y="92"/>
                  </a:moveTo>
                  <a:cubicBezTo>
                    <a:pt x="1092" y="92"/>
                    <a:pt x="1092" y="92"/>
                    <a:pt x="1092" y="92"/>
                  </a:cubicBezTo>
                  <a:cubicBezTo>
                    <a:pt x="1092" y="93"/>
                    <a:pt x="1092" y="93"/>
                    <a:pt x="1092" y="93"/>
                  </a:cubicBezTo>
                  <a:cubicBezTo>
                    <a:pt x="1092" y="111"/>
                    <a:pt x="1103" y="120"/>
                    <a:pt x="1121" y="120"/>
                  </a:cubicBezTo>
                  <a:cubicBezTo>
                    <a:pt x="1132" y="120"/>
                    <a:pt x="1143" y="117"/>
                    <a:pt x="1150" y="115"/>
                  </a:cubicBezTo>
                  <a:cubicBezTo>
                    <a:pt x="1154" y="128"/>
                    <a:pt x="1154" y="128"/>
                    <a:pt x="1154" y="128"/>
                  </a:cubicBezTo>
                  <a:cubicBezTo>
                    <a:pt x="1145" y="132"/>
                    <a:pt x="1134" y="134"/>
                    <a:pt x="1121" y="134"/>
                  </a:cubicBezTo>
                  <a:cubicBezTo>
                    <a:pt x="1094" y="134"/>
                    <a:pt x="1076" y="120"/>
                    <a:pt x="1076" y="88"/>
                  </a:cubicBezTo>
                  <a:cubicBezTo>
                    <a:pt x="1076" y="83"/>
                    <a:pt x="1076" y="83"/>
                    <a:pt x="1076" y="83"/>
                  </a:cubicBezTo>
                  <a:cubicBezTo>
                    <a:pt x="1076" y="51"/>
                    <a:pt x="1092" y="37"/>
                    <a:pt x="1116" y="37"/>
                  </a:cubicBezTo>
                  <a:cubicBezTo>
                    <a:pt x="1141" y="37"/>
                    <a:pt x="1156" y="51"/>
                    <a:pt x="1156" y="83"/>
                  </a:cubicBezTo>
                  <a:lnTo>
                    <a:pt x="1156" y="92"/>
                  </a:lnTo>
                  <a:close/>
                  <a:moveTo>
                    <a:pt x="1092" y="80"/>
                  </a:moveTo>
                  <a:cubicBezTo>
                    <a:pt x="1141" y="80"/>
                    <a:pt x="1141" y="80"/>
                    <a:pt x="1141" y="80"/>
                  </a:cubicBezTo>
                  <a:cubicBezTo>
                    <a:pt x="1141" y="79"/>
                    <a:pt x="1141" y="79"/>
                    <a:pt x="1141" y="79"/>
                  </a:cubicBezTo>
                  <a:cubicBezTo>
                    <a:pt x="1141" y="60"/>
                    <a:pt x="1131" y="52"/>
                    <a:pt x="1116" y="52"/>
                  </a:cubicBezTo>
                  <a:cubicBezTo>
                    <a:pt x="1102" y="52"/>
                    <a:pt x="1092" y="60"/>
                    <a:pt x="1092" y="79"/>
                  </a:cubicBezTo>
                  <a:lnTo>
                    <a:pt x="1092" y="80"/>
                  </a:lnTo>
                  <a:close/>
                  <a:moveTo>
                    <a:pt x="1172" y="42"/>
                  </a:moveTo>
                  <a:cubicBezTo>
                    <a:pt x="1180" y="39"/>
                    <a:pt x="1193" y="37"/>
                    <a:pt x="1209" y="37"/>
                  </a:cubicBezTo>
                  <a:cubicBezTo>
                    <a:pt x="1231" y="37"/>
                    <a:pt x="1248" y="47"/>
                    <a:pt x="1248" y="77"/>
                  </a:cubicBezTo>
                  <a:cubicBezTo>
                    <a:pt x="1248" y="132"/>
                    <a:pt x="1248" y="132"/>
                    <a:pt x="1248" y="132"/>
                  </a:cubicBezTo>
                  <a:cubicBezTo>
                    <a:pt x="1233" y="132"/>
                    <a:pt x="1233" y="132"/>
                    <a:pt x="1233" y="132"/>
                  </a:cubicBezTo>
                  <a:cubicBezTo>
                    <a:pt x="1233" y="76"/>
                    <a:pt x="1233" y="76"/>
                    <a:pt x="1233" y="76"/>
                  </a:cubicBezTo>
                  <a:cubicBezTo>
                    <a:pt x="1233" y="56"/>
                    <a:pt x="1223" y="52"/>
                    <a:pt x="1208" y="52"/>
                  </a:cubicBezTo>
                  <a:cubicBezTo>
                    <a:pt x="1198" y="52"/>
                    <a:pt x="1193" y="52"/>
                    <a:pt x="1187" y="54"/>
                  </a:cubicBezTo>
                  <a:cubicBezTo>
                    <a:pt x="1187" y="132"/>
                    <a:pt x="1187" y="132"/>
                    <a:pt x="1187" y="132"/>
                  </a:cubicBezTo>
                  <a:cubicBezTo>
                    <a:pt x="1172" y="132"/>
                    <a:pt x="1172" y="132"/>
                    <a:pt x="1172" y="132"/>
                  </a:cubicBezTo>
                  <a:lnTo>
                    <a:pt x="1172" y="42"/>
                  </a:lnTo>
                  <a:close/>
                  <a:moveTo>
                    <a:pt x="1263" y="11"/>
                  </a:moveTo>
                  <a:cubicBezTo>
                    <a:pt x="1279" y="11"/>
                    <a:pt x="1279" y="11"/>
                    <a:pt x="1279" y="11"/>
                  </a:cubicBezTo>
                  <a:cubicBezTo>
                    <a:pt x="1279" y="39"/>
                    <a:pt x="1279" y="39"/>
                    <a:pt x="1279" y="39"/>
                  </a:cubicBezTo>
                  <a:cubicBezTo>
                    <a:pt x="1314" y="39"/>
                    <a:pt x="1314" y="39"/>
                    <a:pt x="1314" y="39"/>
                  </a:cubicBezTo>
                  <a:cubicBezTo>
                    <a:pt x="1314" y="53"/>
                    <a:pt x="1314" y="53"/>
                    <a:pt x="1314" y="53"/>
                  </a:cubicBezTo>
                  <a:cubicBezTo>
                    <a:pt x="1279" y="53"/>
                    <a:pt x="1279" y="53"/>
                    <a:pt x="1279" y="53"/>
                  </a:cubicBezTo>
                  <a:cubicBezTo>
                    <a:pt x="1279" y="101"/>
                    <a:pt x="1279" y="101"/>
                    <a:pt x="1279" y="101"/>
                  </a:cubicBezTo>
                  <a:cubicBezTo>
                    <a:pt x="1279" y="115"/>
                    <a:pt x="1286" y="120"/>
                    <a:pt x="1295" y="120"/>
                  </a:cubicBezTo>
                  <a:cubicBezTo>
                    <a:pt x="1303" y="120"/>
                    <a:pt x="1311" y="117"/>
                    <a:pt x="1316" y="114"/>
                  </a:cubicBezTo>
                  <a:cubicBezTo>
                    <a:pt x="1320" y="128"/>
                    <a:pt x="1320" y="128"/>
                    <a:pt x="1320" y="128"/>
                  </a:cubicBezTo>
                  <a:cubicBezTo>
                    <a:pt x="1314" y="132"/>
                    <a:pt x="1305" y="134"/>
                    <a:pt x="1295" y="134"/>
                  </a:cubicBezTo>
                  <a:cubicBezTo>
                    <a:pt x="1277" y="134"/>
                    <a:pt x="1263" y="125"/>
                    <a:pt x="1263" y="100"/>
                  </a:cubicBezTo>
                  <a:lnTo>
                    <a:pt x="1263" y="11"/>
                  </a:lnTo>
                  <a:close/>
                  <a:moveTo>
                    <a:pt x="1340" y="0"/>
                  </a:moveTo>
                  <a:cubicBezTo>
                    <a:pt x="1346" y="0"/>
                    <a:pt x="1350" y="5"/>
                    <a:pt x="1350" y="10"/>
                  </a:cubicBezTo>
                  <a:cubicBezTo>
                    <a:pt x="1350" y="16"/>
                    <a:pt x="1346" y="20"/>
                    <a:pt x="1340" y="20"/>
                  </a:cubicBezTo>
                  <a:cubicBezTo>
                    <a:pt x="1335" y="20"/>
                    <a:pt x="1331" y="16"/>
                    <a:pt x="1331" y="10"/>
                  </a:cubicBezTo>
                  <a:cubicBezTo>
                    <a:pt x="1331" y="5"/>
                    <a:pt x="1335" y="0"/>
                    <a:pt x="1340" y="0"/>
                  </a:cubicBezTo>
                  <a:close/>
                  <a:moveTo>
                    <a:pt x="1333" y="39"/>
                  </a:moveTo>
                  <a:cubicBezTo>
                    <a:pt x="1348" y="39"/>
                    <a:pt x="1348" y="39"/>
                    <a:pt x="1348" y="39"/>
                  </a:cubicBezTo>
                  <a:cubicBezTo>
                    <a:pt x="1348" y="125"/>
                    <a:pt x="1348" y="125"/>
                    <a:pt x="1348" y="125"/>
                  </a:cubicBezTo>
                  <a:cubicBezTo>
                    <a:pt x="1348" y="132"/>
                    <a:pt x="1348" y="132"/>
                    <a:pt x="1348" y="132"/>
                  </a:cubicBezTo>
                  <a:cubicBezTo>
                    <a:pt x="1333" y="132"/>
                    <a:pt x="1333" y="132"/>
                    <a:pt x="1333" y="132"/>
                  </a:cubicBezTo>
                  <a:lnTo>
                    <a:pt x="1333" y="39"/>
                  </a:lnTo>
                  <a:close/>
                  <a:moveTo>
                    <a:pt x="1437" y="129"/>
                  </a:moveTo>
                  <a:cubicBezTo>
                    <a:pt x="1427" y="132"/>
                    <a:pt x="1415" y="134"/>
                    <a:pt x="1399" y="134"/>
                  </a:cubicBezTo>
                  <a:cubicBezTo>
                    <a:pt x="1378" y="134"/>
                    <a:pt x="1361" y="125"/>
                    <a:pt x="1361" y="104"/>
                  </a:cubicBezTo>
                  <a:cubicBezTo>
                    <a:pt x="1361" y="103"/>
                    <a:pt x="1361" y="103"/>
                    <a:pt x="1361" y="103"/>
                  </a:cubicBezTo>
                  <a:cubicBezTo>
                    <a:pt x="1361" y="85"/>
                    <a:pt x="1378" y="76"/>
                    <a:pt x="1404" y="75"/>
                  </a:cubicBezTo>
                  <a:cubicBezTo>
                    <a:pt x="1410" y="75"/>
                    <a:pt x="1416" y="75"/>
                    <a:pt x="1422" y="74"/>
                  </a:cubicBezTo>
                  <a:cubicBezTo>
                    <a:pt x="1422" y="69"/>
                    <a:pt x="1422" y="69"/>
                    <a:pt x="1422" y="69"/>
                  </a:cubicBezTo>
                  <a:cubicBezTo>
                    <a:pt x="1422" y="56"/>
                    <a:pt x="1412" y="52"/>
                    <a:pt x="1398" y="52"/>
                  </a:cubicBezTo>
                  <a:cubicBezTo>
                    <a:pt x="1386" y="52"/>
                    <a:pt x="1376" y="55"/>
                    <a:pt x="1369" y="58"/>
                  </a:cubicBezTo>
                  <a:cubicBezTo>
                    <a:pt x="1368" y="53"/>
                    <a:pt x="1366" y="48"/>
                    <a:pt x="1365" y="44"/>
                  </a:cubicBezTo>
                  <a:cubicBezTo>
                    <a:pt x="1375" y="40"/>
                    <a:pt x="1385" y="37"/>
                    <a:pt x="1399" y="37"/>
                  </a:cubicBezTo>
                  <a:cubicBezTo>
                    <a:pt x="1421" y="37"/>
                    <a:pt x="1437" y="46"/>
                    <a:pt x="1437" y="71"/>
                  </a:cubicBezTo>
                  <a:lnTo>
                    <a:pt x="1437" y="129"/>
                  </a:lnTo>
                  <a:close/>
                  <a:moveTo>
                    <a:pt x="1422" y="87"/>
                  </a:moveTo>
                  <a:cubicBezTo>
                    <a:pt x="1395" y="88"/>
                    <a:pt x="1376" y="88"/>
                    <a:pt x="1376" y="103"/>
                  </a:cubicBezTo>
                  <a:cubicBezTo>
                    <a:pt x="1376" y="104"/>
                    <a:pt x="1376" y="104"/>
                    <a:pt x="1376" y="104"/>
                  </a:cubicBezTo>
                  <a:cubicBezTo>
                    <a:pt x="1376" y="115"/>
                    <a:pt x="1386" y="120"/>
                    <a:pt x="1399" y="120"/>
                  </a:cubicBezTo>
                  <a:cubicBezTo>
                    <a:pt x="1409" y="120"/>
                    <a:pt x="1415" y="119"/>
                    <a:pt x="1422" y="117"/>
                  </a:cubicBezTo>
                  <a:lnTo>
                    <a:pt x="1422" y="87"/>
                  </a:lnTo>
                  <a:close/>
                  <a:moveTo>
                    <a:pt x="1454" y="1"/>
                  </a:moveTo>
                  <a:cubicBezTo>
                    <a:pt x="1470" y="1"/>
                    <a:pt x="1470" y="1"/>
                    <a:pt x="1470" y="1"/>
                  </a:cubicBezTo>
                  <a:cubicBezTo>
                    <a:pt x="1470" y="103"/>
                    <a:pt x="1470" y="103"/>
                    <a:pt x="1470" y="103"/>
                  </a:cubicBezTo>
                  <a:cubicBezTo>
                    <a:pt x="1470" y="116"/>
                    <a:pt x="1474" y="119"/>
                    <a:pt x="1479" y="119"/>
                  </a:cubicBezTo>
                  <a:cubicBezTo>
                    <a:pt x="1483" y="119"/>
                    <a:pt x="1484" y="118"/>
                    <a:pt x="1487" y="117"/>
                  </a:cubicBezTo>
                  <a:cubicBezTo>
                    <a:pt x="1491" y="131"/>
                    <a:pt x="1491" y="131"/>
                    <a:pt x="1491" y="131"/>
                  </a:cubicBezTo>
                  <a:cubicBezTo>
                    <a:pt x="1487" y="133"/>
                    <a:pt x="1483" y="134"/>
                    <a:pt x="1477" y="134"/>
                  </a:cubicBezTo>
                  <a:cubicBezTo>
                    <a:pt x="1464" y="134"/>
                    <a:pt x="1454" y="126"/>
                    <a:pt x="1454" y="103"/>
                  </a:cubicBezTo>
                  <a:lnTo>
                    <a:pt x="145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5" name="Freeform 7">
              <a:extLst>
                <a:ext uri="{FF2B5EF4-FFF2-40B4-BE49-F238E27FC236}">
                  <a16:creationId xmlns:a16="http://schemas.microsoft.com/office/drawing/2014/main" id="{7FDEF4AD-EEAE-41FE-85C0-31C502D6EF2C}"/>
                </a:ext>
              </a:extLst>
            </p:cNvPr>
            <p:cNvSpPr>
              <a:spLocks noEditPoints="1"/>
            </p:cNvSpPr>
            <p:nvPr userDrawn="1"/>
          </p:nvSpPr>
          <p:spPr bwMode="auto">
            <a:xfrm>
              <a:off x="6038850" y="3760788"/>
              <a:ext cx="5803900" cy="873125"/>
            </a:xfrm>
            <a:custGeom>
              <a:avLst/>
              <a:gdLst>
                <a:gd name="T0" fmla="*/ 184 w 2256"/>
                <a:gd name="T1" fmla="*/ 173 h 339"/>
                <a:gd name="T2" fmla="*/ 0 w 2256"/>
                <a:gd name="T3" fmla="*/ 334 h 339"/>
                <a:gd name="T4" fmla="*/ 50 w 2256"/>
                <a:gd name="T5" fmla="*/ 70 h 339"/>
                <a:gd name="T6" fmla="*/ 174 w 2256"/>
                <a:gd name="T7" fmla="*/ 112 h 339"/>
                <a:gd name="T8" fmla="*/ 50 w 2256"/>
                <a:gd name="T9" fmla="*/ 197 h 339"/>
                <a:gd name="T10" fmla="*/ 184 w 2256"/>
                <a:gd name="T11" fmla="*/ 243 h 339"/>
                <a:gd name="T12" fmla="*/ 279 w 2256"/>
                <a:gd name="T13" fmla="*/ 0 h 339"/>
                <a:gd name="T14" fmla="*/ 347 w 2256"/>
                <a:gd name="T15" fmla="*/ 293 h 339"/>
                <a:gd name="T16" fmla="*/ 341 w 2256"/>
                <a:gd name="T17" fmla="*/ 338 h 339"/>
                <a:gd name="T18" fmla="*/ 608 w 2256"/>
                <a:gd name="T19" fmla="*/ 327 h 339"/>
                <a:gd name="T20" fmla="*/ 407 w 2256"/>
                <a:gd name="T21" fmla="*/ 96 h 339"/>
                <a:gd name="T22" fmla="*/ 512 w 2256"/>
                <a:gd name="T23" fmla="*/ 294 h 339"/>
                <a:gd name="T24" fmla="*/ 608 w 2256"/>
                <a:gd name="T25" fmla="*/ 96 h 339"/>
                <a:gd name="T26" fmla="*/ 705 w 2256"/>
                <a:gd name="T27" fmla="*/ 233 h 339"/>
                <a:gd name="T28" fmla="*/ 849 w 2256"/>
                <a:gd name="T29" fmla="*/ 282 h 339"/>
                <a:gd name="T30" fmla="*/ 657 w 2256"/>
                <a:gd name="T31" fmla="*/ 220 h 339"/>
                <a:gd name="T32" fmla="*/ 867 w 2256"/>
                <a:gd name="T33" fmla="*/ 210 h 339"/>
                <a:gd name="T34" fmla="*/ 818 w 2256"/>
                <a:gd name="T35" fmla="*/ 197 h 339"/>
                <a:gd name="T36" fmla="*/ 705 w 2256"/>
                <a:gd name="T37" fmla="*/ 195 h 339"/>
                <a:gd name="T38" fmla="*/ 1017 w 2256"/>
                <a:gd name="T39" fmla="*/ 334 h 339"/>
                <a:gd name="T40" fmla="*/ 849 w 2256"/>
                <a:gd name="T41" fmla="*/ 24 h 339"/>
                <a:gd name="T42" fmla="*/ 1080 w 2256"/>
                <a:gd name="T43" fmla="*/ 24 h 339"/>
                <a:gd name="T44" fmla="*/ 1107 w 2256"/>
                <a:gd name="T45" fmla="*/ 211 h 339"/>
                <a:gd name="T46" fmla="*/ 1322 w 2256"/>
                <a:gd name="T47" fmla="*/ 219 h 339"/>
                <a:gd name="T48" fmla="*/ 1107 w 2256"/>
                <a:gd name="T49" fmla="*/ 211 h 339"/>
                <a:gd name="T50" fmla="*/ 1154 w 2256"/>
                <a:gd name="T51" fmla="*/ 211 h 339"/>
                <a:gd name="T52" fmla="*/ 1273 w 2256"/>
                <a:gd name="T53" fmla="*/ 219 h 339"/>
                <a:gd name="T54" fmla="*/ 1467 w 2256"/>
                <a:gd name="T55" fmla="*/ 91 h 339"/>
                <a:gd name="T56" fmla="*/ 1522 w 2256"/>
                <a:gd name="T57" fmla="*/ 334 h 339"/>
                <a:gd name="T58" fmla="*/ 1416 w 2256"/>
                <a:gd name="T59" fmla="*/ 140 h 339"/>
                <a:gd name="T60" fmla="*/ 1368 w 2256"/>
                <a:gd name="T61" fmla="*/ 103 h 339"/>
                <a:gd name="T62" fmla="*/ 1613 w 2256"/>
                <a:gd name="T63" fmla="*/ 220 h 339"/>
                <a:gd name="T64" fmla="*/ 1767 w 2256"/>
                <a:gd name="T65" fmla="*/ 98 h 339"/>
                <a:gd name="T66" fmla="*/ 1814 w 2256"/>
                <a:gd name="T67" fmla="*/ 327 h 339"/>
                <a:gd name="T68" fmla="*/ 1767 w 2256"/>
                <a:gd name="T69" fmla="*/ 290 h 339"/>
                <a:gd name="T70" fmla="*/ 1661 w 2256"/>
                <a:gd name="T71" fmla="*/ 210 h 339"/>
                <a:gd name="T72" fmla="*/ 1911 w 2256"/>
                <a:gd name="T73" fmla="*/ 233 h 339"/>
                <a:gd name="T74" fmla="*/ 2054 w 2256"/>
                <a:gd name="T75" fmla="*/ 282 h 339"/>
                <a:gd name="T76" fmla="*/ 1862 w 2256"/>
                <a:gd name="T77" fmla="*/ 220 h 339"/>
                <a:gd name="T78" fmla="*/ 2073 w 2256"/>
                <a:gd name="T79" fmla="*/ 210 h 339"/>
                <a:gd name="T80" fmla="*/ 2025 w 2256"/>
                <a:gd name="T81" fmla="*/ 197 h 339"/>
                <a:gd name="T82" fmla="*/ 1912 w 2256"/>
                <a:gd name="T83" fmla="*/ 195 h 339"/>
                <a:gd name="T84" fmla="*/ 2202 w 2256"/>
                <a:gd name="T85" fmla="*/ 91 h 339"/>
                <a:gd name="T86" fmla="*/ 2205 w 2256"/>
                <a:gd name="T87" fmla="*/ 136 h 339"/>
                <a:gd name="T88" fmla="*/ 2122 w 2256"/>
                <a:gd name="T89"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56" h="339">
                  <a:moveTo>
                    <a:pt x="111" y="24"/>
                  </a:moveTo>
                  <a:cubicBezTo>
                    <a:pt x="192" y="24"/>
                    <a:pt x="224" y="61"/>
                    <a:pt x="224" y="109"/>
                  </a:cubicBezTo>
                  <a:cubicBezTo>
                    <a:pt x="224" y="136"/>
                    <a:pt x="212" y="159"/>
                    <a:pt x="184" y="173"/>
                  </a:cubicBezTo>
                  <a:cubicBezTo>
                    <a:pt x="219" y="188"/>
                    <a:pt x="233" y="215"/>
                    <a:pt x="233" y="246"/>
                  </a:cubicBezTo>
                  <a:cubicBezTo>
                    <a:pt x="233" y="297"/>
                    <a:pt x="201" y="334"/>
                    <a:pt x="117" y="334"/>
                  </a:cubicBezTo>
                  <a:cubicBezTo>
                    <a:pt x="0" y="334"/>
                    <a:pt x="0" y="334"/>
                    <a:pt x="0" y="334"/>
                  </a:cubicBezTo>
                  <a:cubicBezTo>
                    <a:pt x="0" y="24"/>
                    <a:pt x="0" y="24"/>
                    <a:pt x="0" y="24"/>
                  </a:cubicBezTo>
                  <a:lnTo>
                    <a:pt x="111" y="24"/>
                  </a:lnTo>
                  <a:close/>
                  <a:moveTo>
                    <a:pt x="50" y="70"/>
                  </a:moveTo>
                  <a:cubicBezTo>
                    <a:pt x="50" y="154"/>
                    <a:pt x="50" y="154"/>
                    <a:pt x="50" y="154"/>
                  </a:cubicBezTo>
                  <a:cubicBezTo>
                    <a:pt x="111" y="154"/>
                    <a:pt x="111" y="154"/>
                    <a:pt x="111" y="154"/>
                  </a:cubicBezTo>
                  <a:cubicBezTo>
                    <a:pt x="158" y="154"/>
                    <a:pt x="174" y="135"/>
                    <a:pt x="174" y="112"/>
                  </a:cubicBezTo>
                  <a:cubicBezTo>
                    <a:pt x="174" y="87"/>
                    <a:pt x="158" y="70"/>
                    <a:pt x="111" y="70"/>
                  </a:cubicBezTo>
                  <a:lnTo>
                    <a:pt x="50" y="70"/>
                  </a:lnTo>
                  <a:close/>
                  <a:moveTo>
                    <a:pt x="50" y="197"/>
                  </a:moveTo>
                  <a:cubicBezTo>
                    <a:pt x="50" y="289"/>
                    <a:pt x="50" y="289"/>
                    <a:pt x="50" y="289"/>
                  </a:cubicBezTo>
                  <a:cubicBezTo>
                    <a:pt x="117" y="289"/>
                    <a:pt x="117" y="289"/>
                    <a:pt x="117" y="289"/>
                  </a:cubicBezTo>
                  <a:cubicBezTo>
                    <a:pt x="167" y="289"/>
                    <a:pt x="184" y="270"/>
                    <a:pt x="184" y="243"/>
                  </a:cubicBezTo>
                  <a:cubicBezTo>
                    <a:pt x="184" y="216"/>
                    <a:pt x="167" y="197"/>
                    <a:pt x="117" y="197"/>
                  </a:cubicBezTo>
                  <a:lnTo>
                    <a:pt x="50" y="197"/>
                  </a:lnTo>
                  <a:close/>
                  <a:moveTo>
                    <a:pt x="279" y="0"/>
                  </a:moveTo>
                  <a:cubicBezTo>
                    <a:pt x="326" y="0"/>
                    <a:pt x="326" y="0"/>
                    <a:pt x="326" y="0"/>
                  </a:cubicBezTo>
                  <a:cubicBezTo>
                    <a:pt x="326" y="256"/>
                    <a:pt x="326" y="256"/>
                    <a:pt x="326" y="256"/>
                  </a:cubicBezTo>
                  <a:cubicBezTo>
                    <a:pt x="326" y="285"/>
                    <a:pt x="335" y="293"/>
                    <a:pt x="347" y="293"/>
                  </a:cubicBezTo>
                  <a:cubicBezTo>
                    <a:pt x="355" y="293"/>
                    <a:pt x="359" y="292"/>
                    <a:pt x="364" y="290"/>
                  </a:cubicBezTo>
                  <a:cubicBezTo>
                    <a:pt x="377" y="332"/>
                    <a:pt x="377" y="332"/>
                    <a:pt x="377" y="332"/>
                  </a:cubicBezTo>
                  <a:cubicBezTo>
                    <a:pt x="367" y="335"/>
                    <a:pt x="357" y="338"/>
                    <a:pt x="341" y="338"/>
                  </a:cubicBezTo>
                  <a:cubicBezTo>
                    <a:pt x="306" y="338"/>
                    <a:pt x="279" y="317"/>
                    <a:pt x="279" y="256"/>
                  </a:cubicBezTo>
                  <a:lnTo>
                    <a:pt x="279" y="0"/>
                  </a:lnTo>
                  <a:close/>
                  <a:moveTo>
                    <a:pt x="608" y="327"/>
                  </a:moveTo>
                  <a:cubicBezTo>
                    <a:pt x="579" y="334"/>
                    <a:pt x="549" y="339"/>
                    <a:pt x="508" y="339"/>
                  </a:cubicBezTo>
                  <a:cubicBezTo>
                    <a:pt x="450" y="339"/>
                    <a:pt x="407" y="310"/>
                    <a:pt x="407" y="236"/>
                  </a:cubicBezTo>
                  <a:cubicBezTo>
                    <a:pt x="407" y="96"/>
                    <a:pt x="407" y="96"/>
                    <a:pt x="407" y="96"/>
                  </a:cubicBezTo>
                  <a:cubicBezTo>
                    <a:pt x="454" y="96"/>
                    <a:pt x="454" y="96"/>
                    <a:pt x="454" y="96"/>
                  </a:cubicBezTo>
                  <a:cubicBezTo>
                    <a:pt x="454" y="239"/>
                    <a:pt x="454" y="239"/>
                    <a:pt x="454" y="239"/>
                  </a:cubicBezTo>
                  <a:cubicBezTo>
                    <a:pt x="454" y="283"/>
                    <a:pt x="477" y="294"/>
                    <a:pt x="512" y="294"/>
                  </a:cubicBezTo>
                  <a:cubicBezTo>
                    <a:pt x="534" y="294"/>
                    <a:pt x="546" y="293"/>
                    <a:pt x="560" y="290"/>
                  </a:cubicBezTo>
                  <a:cubicBezTo>
                    <a:pt x="560" y="96"/>
                    <a:pt x="560" y="96"/>
                    <a:pt x="560" y="96"/>
                  </a:cubicBezTo>
                  <a:cubicBezTo>
                    <a:pt x="608" y="96"/>
                    <a:pt x="608" y="96"/>
                    <a:pt x="608" y="96"/>
                  </a:cubicBezTo>
                  <a:lnTo>
                    <a:pt x="608" y="327"/>
                  </a:lnTo>
                  <a:close/>
                  <a:moveTo>
                    <a:pt x="867" y="233"/>
                  </a:moveTo>
                  <a:cubicBezTo>
                    <a:pt x="705" y="233"/>
                    <a:pt x="705" y="233"/>
                    <a:pt x="705" y="233"/>
                  </a:cubicBezTo>
                  <a:cubicBezTo>
                    <a:pt x="705" y="235"/>
                    <a:pt x="705" y="235"/>
                    <a:pt x="705" y="235"/>
                  </a:cubicBezTo>
                  <a:cubicBezTo>
                    <a:pt x="705" y="274"/>
                    <a:pt x="731" y="294"/>
                    <a:pt x="773" y="294"/>
                  </a:cubicBezTo>
                  <a:cubicBezTo>
                    <a:pt x="803" y="294"/>
                    <a:pt x="832" y="289"/>
                    <a:pt x="849" y="282"/>
                  </a:cubicBezTo>
                  <a:cubicBezTo>
                    <a:pt x="862" y="325"/>
                    <a:pt x="862" y="325"/>
                    <a:pt x="862" y="325"/>
                  </a:cubicBezTo>
                  <a:cubicBezTo>
                    <a:pt x="838" y="334"/>
                    <a:pt x="808" y="339"/>
                    <a:pt x="773" y="339"/>
                  </a:cubicBezTo>
                  <a:cubicBezTo>
                    <a:pt x="701" y="339"/>
                    <a:pt x="657" y="304"/>
                    <a:pt x="657" y="220"/>
                  </a:cubicBezTo>
                  <a:cubicBezTo>
                    <a:pt x="657" y="210"/>
                    <a:pt x="657" y="210"/>
                    <a:pt x="657" y="210"/>
                  </a:cubicBezTo>
                  <a:cubicBezTo>
                    <a:pt x="657" y="126"/>
                    <a:pt x="698" y="91"/>
                    <a:pt x="762" y="91"/>
                  </a:cubicBezTo>
                  <a:cubicBezTo>
                    <a:pt x="826" y="91"/>
                    <a:pt x="867" y="126"/>
                    <a:pt x="867" y="210"/>
                  </a:cubicBezTo>
                  <a:lnTo>
                    <a:pt x="867" y="233"/>
                  </a:lnTo>
                  <a:close/>
                  <a:moveTo>
                    <a:pt x="705" y="197"/>
                  </a:moveTo>
                  <a:cubicBezTo>
                    <a:pt x="818" y="197"/>
                    <a:pt x="818" y="197"/>
                    <a:pt x="818" y="197"/>
                  </a:cubicBezTo>
                  <a:cubicBezTo>
                    <a:pt x="818" y="195"/>
                    <a:pt x="818" y="195"/>
                    <a:pt x="818" y="195"/>
                  </a:cubicBezTo>
                  <a:cubicBezTo>
                    <a:pt x="818" y="154"/>
                    <a:pt x="797" y="136"/>
                    <a:pt x="762" y="136"/>
                  </a:cubicBezTo>
                  <a:cubicBezTo>
                    <a:pt x="728" y="136"/>
                    <a:pt x="705" y="154"/>
                    <a:pt x="705" y="195"/>
                  </a:cubicBezTo>
                  <a:lnTo>
                    <a:pt x="705" y="197"/>
                  </a:lnTo>
                  <a:close/>
                  <a:moveTo>
                    <a:pt x="1017" y="214"/>
                  </a:moveTo>
                  <a:cubicBezTo>
                    <a:pt x="1017" y="334"/>
                    <a:pt x="1017" y="334"/>
                    <a:pt x="1017" y="334"/>
                  </a:cubicBezTo>
                  <a:cubicBezTo>
                    <a:pt x="967" y="334"/>
                    <a:pt x="967" y="334"/>
                    <a:pt x="967" y="334"/>
                  </a:cubicBezTo>
                  <a:cubicBezTo>
                    <a:pt x="967" y="215"/>
                    <a:pt x="967" y="215"/>
                    <a:pt x="967" y="215"/>
                  </a:cubicBezTo>
                  <a:cubicBezTo>
                    <a:pt x="849" y="24"/>
                    <a:pt x="849" y="24"/>
                    <a:pt x="849" y="24"/>
                  </a:cubicBezTo>
                  <a:cubicBezTo>
                    <a:pt x="904" y="24"/>
                    <a:pt x="904" y="24"/>
                    <a:pt x="904" y="24"/>
                  </a:cubicBezTo>
                  <a:cubicBezTo>
                    <a:pt x="992" y="169"/>
                    <a:pt x="992" y="169"/>
                    <a:pt x="992" y="169"/>
                  </a:cubicBezTo>
                  <a:cubicBezTo>
                    <a:pt x="1080" y="24"/>
                    <a:pt x="1080" y="24"/>
                    <a:pt x="1080" y="24"/>
                  </a:cubicBezTo>
                  <a:cubicBezTo>
                    <a:pt x="1136" y="24"/>
                    <a:pt x="1136" y="24"/>
                    <a:pt x="1136" y="24"/>
                  </a:cubicBezTo>
                  <a:lnTo>
                    <a:pt x="1017" y="214"/>
                  </a:lnTo>
                  <a:close/>
                  <a:moveTo>
                    <a:pt x="1107" y="211"/>
                  </a:moveTo>
                  <a:cubicBezTo>
                    <a:pt x="1107" y="126"/>
                    <a:pt x="1152" y="91"/>
                    <a:pt x="1214" y="91"/>
                  </a:cubicBezTo>
                  <a:cubicBezTo>
                    <a:pt x="1276" y="91"/>
                    <a:pt x="1322" y="126"/>
                    <a:pt x="1322" y="211"/>
                  </a:cubicBezTo>
                  <a:cubicBezTo>
                    <a:pt x="1322" y="219"/>
                    <a:pt x="1322" y="219"/>
                    <a:pt x="1322" y="219"/>
                  </a:cubicBezTo>
                  <a:cubicBezTo>
                    <a:pt x="1322" y="304"/>
                    <a:pt x="1276" y="339"/>
                    <a:pt x="1214" y="339"/>
                  </a:cubicBezTo>
                  <a:cubicBezTo>
                    <a:pt x="1152" y="339"/>
                    <a:pt x="1107" y="304"/>
                    <a:pt x="1107" y="219"/>
                  </a:cubicBezTo>
                  <a:lnTo>
                    <a:pt x="1107" y="211"/>
                  </a:lnTo>
                  <a:close/>
                  <a:moveTo>
                    <a:pt x="1273" y="211"/>
                  </a:moveTo>
                  <a:cubicBezTo>
                    <a:pt x="1273" y="154"/>
                    <a:pt x="1251" y="136"/>
                    <a:pt x="1214" y="136"/>
                  </a:cubicBezTo>
                  <a:cubicBezTo>
                    <a:pt x="1176" y="136"/>
                    <a:pt x="1154" y="154"/>
                    <a:pt x="1154" y="211"/>
                  </a:cubicBezTo>
                  <a:cubicBezTo>
                    <a:pt x="1154" y="219"/>
                    <a:pt x="1154" y="219"/>
                    <a:pt x="1154" y="219"/>
                  </a:cubicBezTo>
                  <a:cubicBezTo>
                    <a:pt x="1154" y="276"/>
                    <a:pt x="1176" y="294"/>
                    <a:pt x="1214" y="294"/>
                  </a:cubicBezTo>
                  <a:cubicBezTo>
                    <a:pt x="1251" y="294"/>
                    <a:pt x="1273" y="276"/>
                    <a:pt x="1273" y="219"/>
                  </a:cubicBezTo>
                  <a:lnTo>
                    <a:pt x="1273" y="211"/>
                  </a:lnTo>
                  <a:close/>
                  <a:moveTo>
                    <a:pt x="1368" y="103"/>
                  </a:moveTo>
                  <a:cubicBezTo>
                    <a:pt x="1391" y="96"/>
                    <a:pt x="1427" y="91"/>
                    <a:pt x="1467" y="91"/>
                  </a:cubicBezTo>
                  <a:cubicBezTo>
                    <a:pt x="1526" y="91"/>
                    <a:pt x="1570" y="120"/>
                    <a:pt x="1570" y="195"/>
                  </a:cubicBezTo>
                  <a:cubicBezTo>
                    <a:pt x="1570" y="334"/>
                    <a:pt x="1570" y="334"/>
                    <a:pt x="1570" y="334"/>
                  </a:cubicBezTo>
                  <a:cubicBezTo>
                    <a:pt x="1522" y="334"/>
                    <a:pt x="1522" y="334"/>
                    <a:pt x="1522" y="334"/>
                  </a:cubicBezTo>
                  <a:cubicBezTo>
                    <a:pt x="1522" y="191"/>
                    <a:pt x="1522" y="191"/>
                    <a:pt x="1522" y="191"/>
                  </a:cubicBezTo>
                  <a:cubicBezTo>
                    <a:pt x="1522" y="147"/>
                    <a:pt x="1499" y="136"/>
                    <a:pt x="1464" y="136"/>
                  </a:cubicBezTo>
                  <a:cubicBezTo>
                    <a:pt x="1442" y="136"/>
                    <a:pt x="1431" y="137"/>
                    <a:pt x="1416" y="140"/>
                  </a:cubicBezTo>
                  <a:cubicBezTo>
                    <a:pt x="1416" y="334"/>
                    <a:pt x="1416" y="334"/>
                    <a:pt x="1416" y="334"/>
                  </a:cubicBezTo>
                  <a:cubicBezTo>
                    <a:pt x="1368" y="334"/>
                    <a:pt x="1368" y="334"/>
                    <a:pt x="1368" y="334"/>
                  </a:cubicBezTo>
                  <a:lnTo>
                    <a:pt x="1368" y="103"/>
                  </a:lnTo>
                  <a:close/>
                  <a:moveTo>
                    <a:pt x="1814" y="327"/>
                  </a:moveTo>
                  <a:cubicBezTo>
                    <a:pt x="1787" y="336"/>
                    <a:pt x="1747" y="339"/>
                    <a:pt x="1724" y="339"/>
                  </a:cubicBezTo>
                  <a:cubicBezTo>
                    <a:pt x="1658" y="339"/>
                    <a:pt x="1613" y="301"/>
                    <a:pt x="1613" y="220"/>
                  </a:cubicBezTo>
                  <a:cubicBezTo>
                    <a:pt x="1613" y="210"/>
                    <a:pt x="1613" y="210"/>
                    <a:pt x="1613" y="210"/>
                  </a:cubicBezTo>
                  <a:cubicBezTo>
                    <a:pt x="1613" y="128"/>
                    <a:pt x="1661" y="91"/>
                    <a:pt x="1725" y="91"/>
                  </a:cubicBezTo>
                  <a:cubicBezTo>
                    <a:pt x="1741" y="91"/>
                    <a:pt x="1756" y="93"/>
                    <a:pt x="1767" y="98"/>
                  </a:cubicBezTo>
                  <a:cubicBezTo>
                    <a:pt x="1767" y="0"/>
                    <a:pt x="1767" y="0"/>
                    <a:pt x="1767" y="0"/>
                  </a:cubicBezTo>
                  <a:cubicBezTo>
                    <a:pt x="1814" y="0"/>
                    <a:pt x="1814" y="0"/>
                    <a:pt x="1814" y="0"/>
                  </a:cubicBezTo>
                  <a:lnTo>
                    <a:pt x="1814" y="327"/>
                  </a:lnTo>
                  <a:close/>
                  <a:moveTo>
                    <a:pt x="1661" y="220"/>
                  </a:moveTo>
                  <a:cubicBezTo>
                    <a:pt x="1661" y="278"/>
                    <a:pt x="1685" y="294"/>
                    <a:pt x="1725" y="294"/>
                  </a:cubicBezTo>
                  <a:cubicBezTo>
                    <a:pt x="1744" y="294"/>
                    <a:pt x="1755" y="293"/>
                    <a:pt x="1767" y="290"/>
                  </a:cubicBezTo>
                  <a:cubicBezTo>
                    <a:pt x="1767" y="144"/>
                    <a:pt x="1767" y="144"/>
                    <a:pt x="1767" y="144"/>
                  </a:cubicBezTo>
                  <a:cubicBezTo>
                    <a:pt x="1761" y="141"/>
                    <a:pt x="1747" y="136"/>
                    <a:pt x="1728" y="136"/>
                  </a:cubicBezTo>
                  <a:cubicBezTo>
                    <a:pt x="1689" y="136"/>
                    <a:pt x="1661" y="151"/>
                    <a:pt x="1661" y="210"/>
                  </a:cubicBezTo>
                  <a:lnTo>
                    <a:pt x="1661" y="220"/>
                  </a:lnTo>
                  <a:close/>
                  <a:moveTo>
                    <a:pt x="2073" y="233"/>
                  </a:moveTo>
                  <a:cubicBezTo>
                    <a:pt x="1911" y="233"/>
                    <a:pt x="1911" y="233"/>
                    <a:pt x="1911" y="233"/>
                  </a:cubicBezTo>
                  <a:cubicBezTo>
                    <a:pt x="1911" y="235"/>
                    <a:pt x="1911" y="235"/>
                    <a:pt x="1911" y="235"/>
                  </a:cubicBezTo>
                  <a:cubicBezTo>
                    <a:pt x="1911" y="274"/>
                    <a:pt x="1937" y="294"/>
                    <a:pt x="1979" y="294"/>
                  </a:cubicBezTo>
                  <a:cubicBezTo>
                    <a:pt x="2009" y="294"/>
                    <a:pt x="2037" y="289"/>
                    <a:pt x="2054" y="282"/>
                  </a:cubicBezTo>
                  <a:cubicBezTo>
                    <a:pt x="2068" y="325"/>
                    <a:pt x="2068" y="325"/>
                    <a:pt x="2068" y="325"/>
                  </a:cubicBezTo>
                  <a:cubicBezTo>
                    <a:pt x="2044" y="334"/>
                    <a:pt x="2013" y="339"/>
                    <a:pt x="1979" y="339"/>
                  </a:cubicBezTo>
                  <a:cubicBezTo>
                    <a:pt x="1907" y="339"/>
                    <a:pt x="1862" y="304"/>
                    <a:pt x="1862" y="220"/>
                  </a:cubicBezTo>
                  <a:cubicBezTo>
                    <a:pt x="1862" y="210"/>
                    <a:pt x="1862" y="210"/>
                    <a:pt x="1862" y="210"/>
                  </a:cubicBezTo>
                  <a:cubicBezTo>
                    <a:pt x="1862" y="126"/>
                    <a:pt x="1903" y="91"/>
                    <a:pt x="1968" y="91"/>
                  </a:cubicBezTo>
                  <a:cubicBezTo>
                    <a:pt x="2032" y="91"/>
                    <a:pt x="2073" y="126"/>
                    <a:pt x="2073" y="210"/>
                  </a:cubicBezTo>
                  <a:lnTo>
                    <a:pt x="2073" y="233"/>
                  </a:lnTo>
                  <a:close/>
                  <a:moveTo>
                    <a:pt x="1912" y="197"/>
                  </a:moveTo>
                  <a:cubicBezTo>
                    <a:pt x="2025" y="197"/>
                    <a:pt x="2025" y="197"/>
                    <a:pt x="2025" y="197"/>
                  </a:cubicBezTo>
                  <a:cubicBezTo>
                    <a:pt x="2025" y="195"/>
                    <a:pt x="2025" y="195"/>
                    <a:pt x="2025" y="195"/>
                  </a:cubicBezTo>
                  <a:cubicBezTo>
                    <a:pt x="2025" y="154"/>
                    <a:pt x="2003" y="136"/>
                    <a:pt x="1969" y="136"/>
                  </a:cubicBezTo>
                  <a:cubicBezTo>
                    <a:pt x="1934" y="136"/>
                    <a:pt x="1912" y="154"/>
                    <a:pt x="1912" y="195"/>
                  </a:cubicBezTo>
                  <a:lnTo>
                    <a:pt x="1912" y="197"/>
                  </a:lnTo>
                  <a:close/>
                  <a:moveTo>
                    <a:pt x="2122" y="103"/>
                  </a:moveTo>
                  <a:cubicBezTo>
                    <a:pt x="2142" y="96"/>
                    <a:pt x="2174" y="91"/>
                    <a:pt x="2202" y="91"/>
                  </a:cubicBezTo>
                  <a:cubicBezTo>
                    <a:pt x="2225" y="91"/>
                    <a:pt x="2240" y="94"/>
                    <a:pt x="2256" y="98"/>
                  </a:cubicBezTo>
                  <a:cubicBezTo>
                    <a:pt x="2242" y="141"/>
                    <a:pt x="2242" y="141"/>
                    <a:pt x="2242" y="141"/>
                  </a:cubicBezTo>
                  <a:cubicBezTo>
                    <a:pt x="2232" y="138"/>
                    <a:pt x="2221" y="136"/>
                    <a:pt x="2205" y="136"/>
                  </a:cubicBezTo>
                  <a:cubicBezTo>
                    <a:pt x="2187" y="136"/>
                    <a:pt x="2178" y="138"/>
                    <a:pt x="2170" y="140"/>
                  </a:cubicBezTo>
                  <a:cubicBezTo>
                    <a:pt x="2170" y="334"/>
                    <a:pt x="2170" y="334"/>
                    <a:pt x="2170" y="334"/>
                  </a:cubicBezTo>
                  <a:cubicBezTo>
                    <a:pt x="2122" y="334"/>
                    <a:pt x="2122" y="334"/>
                    <a:pt x="2122" y="334"/>
                  </a:cubicBezTo>
                  <a:lnTo>
                    <a:pt x="21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6" name="Freeform 8">
              <a:extLst>
                <a:ext uri="{FF2B5EF4-FFF2-40B4-BE49-F238E27FC236}">
                  <a16:creationId xmlns:a16="http://schemas.microsoft.com/office/drawing/2014/main" id="{459C9F11-E8D6-4768-9EB8-AED277CC252E}"/>
                </a:ext>
              </a:extLst>
            </p:cNvPr>
            <p:cNvSpPr>
              <a:spLocks noEditPoints="1"/>
            </p:cNvSpPr>
            <p:nvPr userDrawn="1"/>
          </p:nvSpPr>
          <p:spPr bwMode="auto">
            <a:xfrm>
              <a:off x="4721225" y="3724275"/>
              <a:ext cx="1006475" cy="1009650"/>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Tree>
    <p:extLst>
      <p:ext uri="{BB962C8B-B14F-4D97-AF65-F5344CB8AC3E}">
        <p14:creationId xmlns:p14="http://schemas.microsoft.com/office/powerpoint/2010/main" val="122395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for Icon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93EB9D-ECA7-4247-AED7-59137082BDC7}"/>
              </a:ext>
            </a:extLst>
          </p:cNvPr>
          <p:cNvSpPr>
            <a:spLocks noGrp="1"/>
          </p:cNvSpPr>
          <p:nvPr>
            <p:ph type="pic" sz="quarter" idx="13"/>
          </p:nvPr>
        </p:nvSpPr>
        <p:spPr>
          <a:xfrm>
            <a:off x="5583808" y="1663103"/>
            <a:ext cx="6094737" cy="3688286"/>
          </a:xfrm>
        </p:spPr>
        <p:txBody>
          <a:bodyPr/>
          <a:lstStyle>
            <a:lvl1pPr marL="0" indent="0" algn="ctr">
              <a:buNone/>
              <a:defRPr sz="1400">
                <a:solidFill>
                  <a:srgbClr val="FF0000"/>
                </a:solidFill>
              </a:defRPr>
            </a:lvl1pPr>
          </a:lstStyle>
          <a:p>
            <a:r>
              <a:rPr lang="en-US"/>
              <a:t>Click icon to add picture</a:t>
            </a:r>
            <a:endParaRPr lang="en-US" dirty="0"/>
          </a:p>
        </p:txBody>
      </p:sp>
      <p:sp>
        <p:nvSpPr>
          <p:cNvPr id="2" name="Title 1"/>
          <p:cNvSpPr>
            <a:spLocks noGrp="1"/>
          </p:cNvSpPr>
          <p:nvPr>
            <p:ph type="ctrTitle" hasCustomPrompt="1"/>
          </p:nvPr>
        </p:nvSpPr>
        <p:spPr>
          <a:xfrm>
            <a:off x="632267" y="603504"/>
            <a:ext cx="5899109" cy="2104232"/>
          </a:xfrm>
        </p:spPr>
        <p:txBody>
          <a:bodyPr anchor="b"/>
          <a:lstStyle>
            <a:lvl1pPr>
              <a:lnSpc>
                <a:spcPct val="90000"/>
              </a:lnSpc>
              <a:defRPr sz="5400" b="1">
                <a:solidFill>
                  <a:schemeClr val="tx1"/>
                </a:solidFill>
              </a:defRPr>
            </a:lvl1pPr>
          </a:lstStyle>
          <a:p>
            <a:r>
              <a:rPr lang="en-US" dirty="0"/>
              <a:t>Click to edit presentation title</a:t>
            </a:r>
          </a:p>
        </p:txBody>
      </p:sp>
      <p:sp>
        <p:nvSpPr>
          <p:cNvPr id="3" name="Subtitle 2"/>
          <p:cNvSpPr>
            <a:spLocks noGrp="1"/>
          </p:cNvSpPr>
          <p:nvPr>
            <p:ph type="subTitle" idx="1" hasCustomPrompt="1"/>
          </p:nvPr>
        </p:nvSpPr>
        <p:spPr>
          <a:xfrm>
            <a:off x="619991" y="3000467"/>
            <a:ext cx="4343829" cy="423063"/>
          </a:xfrm>
          <a:prstGeom prst="rect">
            <a:avLst/>
          </a:prstGeom>
        </p:spPr>
        <p:txBody>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sp>
        <p:nvSpPr>
          <p:cNvPr id="10" name="Text Placeholder 9"/>
          <p:cNvSpPr>
            <a:spLocks noGrp="1"/>
          </p:cNvSpPr>
          <p:nvPr>
            <p:ph type="body" sz="quarter" idx="10" hasCustomPrompt="1"/>
          </p:nvPr>
        </p:nvSpPr>
        <p:spPr>
          <a:xfrm>
            <a:off x="619990" y="3434471"/>
            <a:ext cx="4343829" cy="777240"/>
          </a:xfrm>
          <a:prstGeom prst="rect">
            <a:avLst/>
          </a:prstGeom>
        </p:spPr>
        <p:txBody>
          <a:bodyPr vert="horz" lIns="0" tIns="45720" rIns="0" bIns="45720" rtlCol="0">
            <a:noAutofit/>
          </a:bodyPr>
          <a:lstStyle>
            <a:lvl1pPr marL="169863" indent="-169863">
              <a:spcBef>
                <a:spcPts val="0"/>
              </a:spcBef>
              <a:buNone/>
              <a:defRPr lang="en-US" sz="1400" b="0" smtClean="0">
                <a:solidFill>
                  <a:schemeClr val="tx1"/>
                </a:solidFill>
              </a:defRPr>
            </a:lvl1pPr>
            <a:lvl2pPr>
              <a:defRPr lang="en-US" sz="1400" smtClean="0">
                <a:solidFill>
                  <a:schemeClr val="tx1">
                    <a:tint val="75000"/>
                  </a:schemeClr>
                </a:solidFill>
              </a:defRPr>
            </a:lvl2pPr>
            <a:lvl3pPr>
              <a:defRPr lang="en-US" sz="1400" smtClean="0">
                <a:solidFill>
                  <a:schemeClr val="tx1">
                    <a:tint val="75000"/>
                  </a:schemeClr>
                </a:solidFill>
              </a:defRPr>
            </a:lvl3pPr>
            <a:lvl4pPr>
              <a:defRPr lang="en-US" sz="1400" smtClean="0">
                <a:solidFill>
                  <a:schemeClr val="tx1">
                    <a:tint val="75000"/>
                  </a:schemeClr>
                </a:solidFill>
              </a:defRPr>
            </a:lvl4pPr>
            <a:lvl5pPr>
              <a:defRPr lang="en-US" sz="1400">
                <a:solidFill>
                  <a:schemeClr val="tx1">
                    <a:tint val="75000"/>
                  </a:schemeClr>
                </a:solidFill>
              </a:defRPr>
            </a:lvl5pPr>
          </a:lstStyle>
          <a:p>
            <a:pPr marL="0" lvl="0" indent="0"/>
            <a:r>
              <a:rPr lang="en-US" dirty="0"/>
              <a:t>Name, Title, Date</a:t>
            </a:r>
          </a:p>
        </p:txBody>
      </p:sp>
      <p:sp>
        <p:nvSpPr>
          <p:cNvPr id="8" name="TextBox 7">
            <a:extLst>
              <a:ext uri="{FF2B5EF4-FFF2-40B4-BE49-F238E27FC236}">
                <a16:creationId xmlns:a16="http://schemas.microsoft.com/office/drawing/2014/main" id="{7FB2FDF8-2A6B-9E40-B8DB-DA43BC615774}"/>
              </a:ext>
            </a:extLst>
          </p:cNvPr>
          <p:cNvSpPr txBox="1"/>
          <p:nvPr/>
        </p:nvSpPr>
        <p:spPr>
          <a:xfrm>
            <a:off x="619991" y="6627168"/>
            <a:ext cx="2435916" cy="230832"/>
          </a:xfrm>
          <a:prstGeom prst="rect">
            <a:avLst/>
          </a:prstGeom>
        </p:spPr>
        <p:txBody>
          <a:bodyPr lIns="0" rIns="0"/>
          <a:lstStyle>
            <a:defPPr>
              <a:defRPr lang="en-US"/>
            </a:defPPr>
            <a:lvl1pPr algn="r">
              <a:defRPr sz="900"/>
            </a:lvl1pPr>
          </a:lstStyle>
          <a:p>
            <a:pPr lvl="0" algn="l"/>
            <a:r>
              <a:rPr lang="en-US" sz="800"/>
              <a:t>Copyright © 2020 Blue Yonder Group, Inc.</a:t>
            </a:r>
            <a:endParaRPr lang="en-US" sz="800" dirty="0"/>
          </a:p>
        </p:txBody>
      </p:sp>
      <p:grpSp>
        <p:nvGrpSpPr>
          <p:cNvPr id="9" name="Group 8">
            <a:extLst>
              <a:ext uri="{FF2B5EF4-FFF2-40B4-BE49-F238E27FC236}">
                <a16:creationId xmlns:a16="http://schemas.microsoft.com/office/drawing/2014/main" id="{3161B3DC-D40E-4AF8-940E-DA784C898A66}"/>
              </a:ext>
            </a:extLst>
          </p:cNvPr>
          <p:cNvGrpSpPr/>
          <p:nvPr userDrawn="1"/>
        </p:nvGrpSpPr>
        <p:grpSpPr>
          <a:xfrm>
            <a:off x="9097298" y="5848510"/>
            <a:ext cx="2727495" cy="662722"/>
            <a:chOff x="4721225" y="3724275"/>
            <a:chExt cx="7121525" cy="1730375"/>
          </a:xfrm>
          <a:solidFill>
            <a:schemeClr val="accent1"/>
          </a:solidFill>
        </p:grpSpPr>
        <p:sp>
          <p:nvSpPr>
            <p:cNvPr id="11" name="Freeform 5">
              <a:extLst>
                <a:ext uri="{FF2B5EF4-FFF2-40B4-BE49-F238E27FC236}">
                  <a16:creationId xmlns:a16="http://schemas.microsoft.com/office/drawing/2014/main" id="{54D24466-884A-46CF-91EF-25258D0F1921}"/>
                </a:ext>
              </a:extLst>
            </p:cNvPr>
            <p:cNvSpPr>
              <a:spLocks noEditPoints="1"/>
            </p:cNvSpPr>
            <p:nvPr userDrawn="1"/>
          </p:nvSpPr>
          <p:spPr bwMode="auto">
            <a:xfrm>
              <a:off x="9864725" y="4995863"/>
              <a:ext cx="228600" cy="114300"/>
            </a:xfrm>
            <a:custGeom>
              <a:avLst/>
              <a:gdLst>
                <a:gd name="T0" fmla="*/ 56 w 144"/>
                <a:gd name="T1" fmla="*/ 12 h 72"/>
                <a:gd name="T2" fmla="*/ 34 w 144"/>
                <a:gd name="T3" fmla="*/ 12 h 72"/>
                <a:gd name="T4" fmla="*/ 34 w 144"/>
                <a:gd name="T5" fmla="*/ 72 h 72"/>
                <a:gd name="T6" fmla="*/ 22 w 144"/>
                <a:gd name="T7" fmla="*/ 72 h 72"/>
                <a:gd name="T8" fmla="*/ 22 w 144"/>
                <a:gd name="T9" fmla="*/ 12 h 72"/>
                <a:gd name="T10" fmla="*/ 0 w 144"/>
                <a:gd name="T11" fmla="*/ 12 h 72"/>
                <a:gd name="T12" fmla="*/ 0 w 144"/>
                <a:gd name="T13" fmla="*/ 0 h 72"/>
                <a:gd name="T14" fmla="*/ 56 w 144"/>
                <a:gd name="T15" fmla="*/ 0 h 72"/>
                <a:gd name="T16" fmla="*/ 56 w 144"/>
                <a:gd name="T17" fmla="*/ 12 h 72"/>
                <a:gd name="T18" fmla="*/ 144 w 144"/>
                <a:gd name="T19" fmla="*/ 72 h 72"/>
                <a:gd name="T20" fmla="*/ 133 w 144"/>
                <a:gd name="T21" fmla="*/ 72 h 72"/>
                <a:gd name="T22" fmla="*/ 133 w 144"/>
                <a:gd name="T23" fmla="*/ 12 h 72"/>
                <a:gd name="T24" fmla="*/ 113 w 144"/>
                <a:gd name="T25" fmla="*/ 72 h 72"/>
                <a:gd name="T26" fmla="*/ 103 w 144"/>
                <a:gd name="T27" fmla="*/ 72 h 72"/>
                <a:gd name="T28" fmla="*/ 82 w 144"/>
                <a:gd name="T29" fmla="*/ 12 h 72"/>
                <a:gd name="T30" fmla="*/ 82 w 144"/>
                <a:gd name="T31" fmla="*/ 72 h 72"/>
                <a:gd name="T32" fmla="*/ 71 w 144"/>
                <a:gd name="T33" fmla="*/ 72 h 72"/>
                <a:gd name="T34" fmla="*/ 71 w 144"/>
                <a:gd name="T35" fmla="*/ 0 h 72"/>
                <a:gd name="T36" fmla="*/ 90 w 144"/>
                <a:gd name="T37" fmla="*/ 0 h 72"/>
                <a:gd name="T38" fmla="*/ 108 w 144"/>
                <a:gd name="T39" fmla="*/ 55 h 72"/>
                <a:gd name="T40" fmla="*/ 126 w 144"/>
                <a:gd name="T41" fmla="*/ 0 h 72"/>
                <a:gd name="T42" fmla="*/ 144 w 144"/>
                <a:gd name="T43" fmla="*/ 0 h 72"/>
                <a:gd name="T44" fmla="*/ 144 w 144"/>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72">
                  <a:moveTo>
                    <a:pt x="56" y="12"/>
                  </a:moveTo>
                  <a:lnTo>
                    <a:pt x="34" y="12"/>
                  </a:lnTo>
                  <a:lnTo>
                    <a:pt x="34" y="72"/>
                  </a:lnTo>
                  <a:lnTo>
                    <a:pt x="22" y="72"/>
                  </a:lnTo>
                  <a:lnTo>
                    <a:pt x="22" y="12"/>
                  </a:lnTo>
                  <a:lnTo>
                    <a:pt x="0" y="12"/>
                  </a:lnTo>
                  <a:lnTo>
                    <a:pt x="0" y="0"/>
                  </a:lnTo>
                  <a:lnTo>
                    <a:pt x="56" y="0"/>
                  </a:lnTo>
                  <a:lnTo>
                    <a:pt x="56" y="12"/>
                  </a:lnTo>
                  <a:close/>
                  <a:moveTo>
                    <a:pt x="144" y="72"/>
                  </a:moveTo>
                  <a:lnTo>
                    <a:pt x="133" y="72"/>
                  </a:lnTo>
                  <a:lnTo>
                    <a:pt x="133" y="12"/>
                  </a:lnTo>
                  <a:lnTo>
                    <a:pt x="113" y="72"/>
                  </a:lnTo>
                  <a:lnTo>
                    <a:pt x="103" y="72"/>
                  </a:lnTo>
                  <a:lnTo>
                    <a:pt x="82" y="12"/>
                  </a:lnTo>
                  <a:lnTo>
                    <a:pt x="82" y="72"/>
                  </a:lnTo>
                  <a:lnTo>
                    <a:pt x="71" y="72"/>
                  </a:lnTo>
                  <a:lnTo>
                    <a:pt x="71" y="0"/>
                  </a:lnTo>
                  <a:lnTo>
                    <a:pt x="90" y="0"/>
                  </a:lnTo>
                  <a:lnTo>
                    <a:pt x="108" y="55"/>
                  </a:lnTo>
                  <a:lnTo>
                    <a:pt x="126" y="0"/>
                  </a:lnTo>
                  <a:lnTo>
                    <a:pt x="144" y="0"/>
                  </a:lnTo>
                  <a:lnTo>
                    <a:pt x="14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 name="Freeform 6">
              <a:extLst>
                <a:ext uri="{FF2B5EF4-FFF2-40B4-BE49-F238E27FC236}">
                  <a16:creationId xmlns:a16="http://schemas.microsoft.com/office/drawing/2014/main" id="{7F4C2F49-6A9B-4E7B-B957-BB88C4112883}"/>
                </a:ext>
              </a:extLst>
            </p:cNvPr>
            <p:cNvSpPr>
              <a:spLocks noEditPoints="1"/>
            </p:cNvSpPr>
            <p:nvPr userDrawn="1"/>
          </p:nvSpPr>
          <p:spPr bwMode="auto">
            <a:xfrm>
              <a:off x="6038850" y="4994275"/>
              <a:ext cx="3835400" cy="460375"/>
            </a:xfrm>
            <a:custGeom>
              <a:avLst/>
              <a:gdLst>
                <a:gd name="T0" fmla="*/ 80 w 1491"/>
                <a:gd name="T1" fmla="*/ 11 h 179"/>
                <a:gd name="T2" fmla="*/ 72 w 1491"/>
                <a:gd name="T3" fmla="*/ 61 h 179"/>
                <a:gd name="T4" fmla="*/ 163 w 1491"/>
                <a:gd name="T5" fmla="*/ 129 h 179"/>
                <a:gd name="T6" fmla="*/ 102 w 1491"/>
                <a:gd name="T7" fmla="*/ 39 h 179"/>
                <a:gd name="T8" fmla="*/ 147 w 1491"/>
                <a:gd name="T9" fmla="*/ 39 h 179"/>
                <a:gd name="T10" fmla="*/ 197 w 1491"/>
                <a:gd name="T11" fmla="*/ 1 h 179"/>
                <a:gd name="T12" fmla="*/ 218 w 1491"/>
                <a:gd name="T13" fmla="*/ 131 h 179"/>
                <a:gd name="T14" fmla="*/ 228 w 1491"/>
                <a:gd name="T15" fmla="*/ 33 h 179"/>
                <a:gd name="T16" fmla="*/ 260 w 1491"/>
                <a:gd name="T17" fmla="*/ 14 h 179"/>
                <a:gd name="T18" fmla="*/ 278 w 1491"/>
                <a:gd name="T19" fmla="*/ 53 h 179"/>
                <a:gd name="T20" fmla="*/ 228 w 1491"/>
                <a:gd name="T21" fmla="*/ 33 h 179"/>
                <a:gd name="T22" fmla="*/ 291 w 1491"/>
                <a:gd name="T23" fmla="*/ 10 h 179"/>
                <a:gd name="T24" fmla="*/ 308 w 1491"/>
                <a:gd name="T25" fmla="*/ 125 h 179"/>
                <a:gd name="T26" fmla="*/ 327 w 1491"/>
                <a:gd name="T27" fmla="*/ 1 h 179"/>
                <a:gd name="T28" fmla="*/ 359 w 1491"/>
                <a:gd name="T29" fmla="*/ 117 h 179"/>
                <a:gd name="T30" fmla="*/ 327 w 1491"/>
                <a:gd name="T31" fmla="*/ 1 h 179"/>
                <a:gd name="T32" fmla="*/ 395 w 1491"/>
                <a:gd name="T33" fmla="*/ 119 h 179"/>
                <a:gd name="T34" fmla="*/ 371 w 1491"/>
                <a:gd name="T35" fmla="*/ 103 h 179"/>
                <a:gd name="T36" fmla="*/ 455 w 1491"/>
                <a:gd name="T37" fmla="*/ 171 h 179"/>
                <a:gd name="T38" fmla="*/ 513 w 1491"/>
                <a:gd name="T39" fmla="*/ 132 h 179"/>
                <a:gd name="T40" fmla="*/ 468 w 1491"/>
                <a:gd name="T41" fmla="*/ 39 h 179"/>
                <a:gd name="T42" fmla="*/ 513 w 1491"/>
                <a:gd name="T43" fmla="*/ 39 h 179"/>
                <a:gd name="T44" fmla="*/ 583 w 1491"/>
                <a:gd name="T45" fmla="*/ 37 h 179"/>
                <a:gd name="T46" fmla="*/ 543 w 1491"/>
                <a:gd name="T47" fmla="*/ 88 h 179"/>
                <a:gd name="T48" fmla="*/ 558 w 1491"/>
                <a:gd name="T49" fmla="*/ 84 h 179"/>
                <a:gd name="T50" fmla="*/ 608 w 1491"/>
                <a:gd name="T51" fmla="*/ 84 h 179"/>
                <a:gd name="T52" fmla="*/ 638 w 1491"/>
                <a:gd name="T53" fmla="*/ 39 h 179"/>
                <a:gd name="T54" fmla="*/ 699 w 1491"/>
                <a:gd name="T55" fmla="*/ 117 h 179"/>
                <a:gd name="T56" fmla="*/ 734 w 1491"/>
                <a:gd name="T57" fmla="*/ 42 h 179"/>
                <a:gd name="T58" fmla="*/ 764 w 1491"/>
                <a:gd name="T59" fmla="*/ 52 h 179"/>
                <a:gd name="T60" fmla="*/ 734 w 1491"/>
                <a:gd name="T61" fmla="*/ 42 h 179"/>
                <a:gd name="T62" fmla="*/ 909 w 1491"/>
                <a:gd name="T63" fmla="*/ 88 h 179"/>
                <a:gd name="T64" fmla="*/ 832 w 1491"/>
                <a:gd name="T65" fmla="*/ 179 h 179"/>
                <a:gd name="T66" fmla="*/ 848 w 1491"/>
                <a:gd name="T67" fmla="*/ 54 h 179"/>
                <a:gd name="T68" fmla="*/ 893 w 1491"/>
                <a:gd name="T69" fmla="*/ 83 h 179"/>
                <a:gd name="T70" fmla="*/ 1001 w 1491"/>
                <a:gd name="T71" fmla="*/ 88 h 179"/>
                <a:gd name="T72" fmla="*/ 986 w 1491"/>
                <a:gd name="T73" fmla="*/ 84 h 179"/>
                <a:gd name="T74" fmla="*/ 961 w 1491"/>
                <a:gd name="T75" fmla="*/ 120 h 179"/>
                <a:gd name="T76" fmla="*/ 1030 w 1491"/>
                <a:gd name="T77" fmla="*/ 11 h 179"/>
                <a:gd name="T78" fmla="*/ 1030 w 1491"/>
                <a:gd name="T79" fmla="*/ 53 h 179"/>
                <a:gd name="T80" fmla="*/ 1071 w 1491"/>
                <a:gd name="T81" fmla="*/ 128 h 179"/>
                <a:gd name="T82" fmla="*/ 1156 w 1491"/>
                <a:gd name="T83" fmla="*/ 92 h 179"/>
                <a:gd name="T84" fmla="*/ 1150 w 1491"/>
                <a:gd name="T85" fmla="*/ 115 h 179"/>
                <a:gd name="T86" fmla="*/ 1076 w 1491"/>
                <a:gd name="T87" fmla="*/ 83 h 179"/>
                <a:gd name="T88" fmla="*/ 1092 w 1491"/>
                <a:gd name="T89" fmla="*/ 80 h 179"/>
                <a:gd name="T90" fmla="*/ 1092 w 1491"/>
                <a:gd name="T91" fmla="*/ 79 h 179"/>
                <a:gd name="T92" fmla="*/ 1248 w 1491"/>
                <a:gd name="T93" fmla="*/ 77 h 179"/>
                <a:gd name="T94" fmla="*/ 1208 w 1491"/>
                <a:gd name="T95" fmla="*/ 52 h 179"/>
                <a:gd name="T96" fmla="*/ 1172 w 1491"/>
                <a:gd name="T97" fmla="*/ 42 h 179"/>
                <a:gd name="T98" fmla="*/ 1314 w 1491"/>
                <a:gd name="T99" fmla="*/ 39 h 179"/>
                <a:gd name="T100" fmla="*/ 1295 w 1491"/>
                <a:gd name="T101" fmla="*/ 120 h 179"/>
                <a:gd name="T102" fmla="*/ 1263 w 1491"/>
                <a:gd name="T103" fmla="*/ 100 h 179"/>
                <a:gd name="T104" fmla="*/ 1340 w 1491"/>
                <a:gd name="T105" fmla="*/ 20 h 179"/>
                <a:gd name="T106" fmla="*/ 1348 w 1491"/>
                <a:gd name="T107" fmla="*/ 39 h 179"/>
                <a:gd name="T108" fmla="*/ 1333 w 1491"/>
                <a:gd name="T109" fmla="*/ 39 h 179"/>
                <a:gd name="T110" fmla="*/ 1361 w 1491"/>
                <a:gd name="T111" fmla="*/ 103 h 179"/>
                <a:gd name="T112" fmla="*/ 1398 w 1491"/>
                <a:gd name="T113" fmla="*/ 52 h 179"/>
                <a:gd name="T114" fmla="*/ 1437 w 1491"/>
                <a:gd name="T115" fmla="*/ 71 h 179"/>
                <a:gd name="T116" fmla="*/ 1376 w 1491"/>
                <a:gd name="T117" fmla="*/ 104 h 179"/>
                <a:gd name="T118" fmla="*/ 1454 w 1491"/>
                <a:gd name="T119" fmla="*/ 1 h 179"/>
                <a:gd name="T120" fmla="*/ 1487 w 1491"/>
                <a:gd name="T121" fmla="*/ 117 h 179"/>
                <a:gd name="T122" fmla="*/ 1454 w 1491"/>
                <a:gd name="T123" fmla="*/ 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1" h="179">
                  <a:moveTo>
                    <a:pt x="17" y="132"/>
                  </a:moveTo>
                  <a:cubicBezTo>
                    <a:pt x="0" y="132"/>
                    <a:pt x="0" y="132"/>
                    <a:pt x="0" y="132"/>
                  </a:cubicBezTo>
                  <a:cubicBezTo>
                    <a:pt x="0" y="11"/>
                    <a:pt x="0" y="11"/>
                    <a:pt x="0" y="11"/>
                  </a:cubicBezTo>
                  <a:cubicBezTo>
                    <a:pt x="80" y="11"/>
                    <a:pt x="80" y="11"/>
                    <a:pt x="80" y="11"/>
                  </a:cubicBezTo>
                  <a:cubicBezTo>
                    <a:pt x="80" y="26"/>
                    <a:pt x="80" y="26"/>
                    <a:pt x="80" y="26"/>
                  </a:cubicBezTo>
                  <a:cubicBezTo>
                    <a:pt x="17" y="26"/>
                    <a:pt x="17" y="26"/>
                    <a:pt x="17" y="26"/>
                  </a:cubicBezTo>
                  <a:cubicBezTo>
                    <a:pt x="17" y="61"/>
                    <a:pt x="17" y="61"/>
                    <a:pt x="17" y="61"/>
                  </a:cubicBezTo>
                  <a:cubicBezTo>
                    <a:pt x="72" y="61"/>
                    <a:pt x="72" y="61"/>
                    <a:pt x="72" y="61"/>
                  </a:cubicBezTo>
                  <a:cubicBezTo>
                    <a:pt x="72" y="76"/>
                    <a:pt x="72" y="76"/>
                    <a:pt x="72" y="76"/>
                  </a:cubicBezTo>
                  <a:cubicBezTo>
                    <a:pt x="17" y="76"/>
                    <a:pt x="17" y="76"/>
                    <a:pt x="17" y="76"/>
                  </a:cubicBezTo>
                  <a:lnTo>
                    <a:pt x="17" y="132"/>
                  </a:lnTo>
                  <a:close/>
                  <a:moveTo>
                    <a:pt x="163" y="129"/>
                  </a:moveTo>
                  <a:cubicBezTo>
                    <a:pt x="153" y="132"/>
                    <a:pt x="142" y="134"/>
                    <a:pt x="126" y="134"/>
                  </a:cubicBezTo>
                  <a:cubicBezTo>
                    <a:pt x="103" y="134"/>
                    <a:pt x="86" y="124"/>
                    <a:pt x="86" y="94"/>
                  </a:cubicBezTo>
                  <a:cubicBezTo>
                    <a:pt x="86" y="39"/>
                    <a:pt x="86" y="39"/>
                    <a:pt x="86" y="39"/>
                  </a:cubicBezTo>
                  <a:cubicBezTo>
                    <a:pt x="102" y="39"/>
                    <a:pt x="102" y="39"/>
                    <a:pt x="102" y="39"/>
                  </a:cubicBezTo>
                  <a:cubicBezTo>
                    <a:pt x="102" y="95"/>
                    <a:pt x="102" y="95"/>
                    <a:pt x="102" y="95"/>
                  </a:cubicBezTo>
                  <a:cubicBezTo>
                    <a:pt x="102" y="115"/>
                    <a:pt x="112" y="120"/>
                    <a:pt x="126" y="120"/>
                  </a:cubicBezTo>
                  <a:cubicBezTo>
                    <a:pt x="136" y="120"/>
                    <a:pt x="141" y="119"/>
                    <a:pt x="147" y="117"/>
                  </a:cubicBezTo>
                  <a:cubicBezTo>
                    <a:pt x="147" y="39"/>
                    <a:pt x="147" y="39"/>
                    <a:pt x="147" y="39"/>
                  </a:cubicBezTo>
                  <a:cubicBezTo>
                    <a:pt x="163" y="39"/>
                    <a:pt x="163" y="39"/>
                    <a:pt x="163" y="39"/>
                  </a:cubicBezTo>
                  <a:lnTo>
                    <a:pt x="163" y="129"/>
                  </a:lnTo>
                  <a:close/>
                  <a:moveTo>
                    <a:pt x="182" y="1"/>
                  </a:moveTo>
                  <a:cubicBezTo>
                    <a:pt x="197" y="1"/>
                    <a:pt x="197" y="1"/>
                    <a:pt x="197" y="1"/>
                  </a:cubicBezTo>
                  <a:cubicBezTo>
                    <a:pt x="197" y="103"/>
                    <a:pt x="197" y="103"/>
                    <a:pt x="197" y="103"/>
                  </a:cubicBezTo>
                  <a:cubicBezTo>
                    <a:pt x="197" y="116"/>
                    <a:pt x="201" y="119"/>
                    <a:pt x="206" y="119"/>
                  </a:cubicBezTo>
                  <a:cubicBezTo>
                    <a:pt x="210" y="119"/>
                    <a:pt x="212" y="118"/>
                    <a:pt x="214" y="117"/>
                  </a:cubicBezTo>
                  <a:cubicBezTo>
                    <a:pt x="218" y="131"/>
                    <a:pt x="218" y="131"/>
                    <a:pt x="218" y="131"/>
                  </a:cubicBezTo>
                  <a:cubicBezTo>
                    <a:pt x="214" y="133"/>
                    <a:pt x="211" y="134"/>
                    <a:pt x="204" y="134"/>
                  </a:cubicBezTo>
                  <a:cubicBezTo>
                    <a:pt x="192" y="134"/>
                    <a:pt x="182" y="126"/>
                    <a:pt x="182" y="103"/>
                  </a:cubicBezTo>
                  <a:lnTo>
                    <a:pt x="182" y="1"/>
                  </a:lnTo>
                  <a:close/>
                  <a:moveTo>
                    <a:pt x="228" y="33"/>
                  </a:moveTo>
                  <a:cubicBezTo>
                    <a:pt x="228" y="8"/>
                    <a:pt x="242" y="0"/>
                    <a:pt x="260" y="0"/>
                  </a:cubicBezTo>
                  <a:cubicBezTo>
                    <a:pt x="270" y="0"/>
                    <a:pt x="278" y="2"/>
                    <a:pt x="284" y="5"/>
                  </a:cubicBezTo>
                  <a:cubicBezTo>
                    <a:pt x="279" y="19"/>
                    <a:pt x="279" y="19"/>
                    <a:pt x="279" y="19"/>
                  </a:cubicBezTo>
                  <a:cubicBezTo>
                    <a:pt x="274" y="16"/>
                    <a:pt x="268" y="14"/>
                    <a:pt x="260" y="14"/>
                  </a:cubicBezTo>
                  <a:cubicBezTo>
                    <a:pt x="250" y="14"/>
                    <a:pt x="244" y="19"/>
                    <a:pt x="244" y="33"/>
                  </a:cubicBezTo>
                  <a:cubicBezTo>
                    <a:pt x="244" y="39"/>
                    <a:pt x="244" y="39"/>
                    <a:pt x="244" y="39"/>
                  </a:cubicBezTo>
                  <a:cubicBezTo>
                    <a:pt x="278" y="39"/>
                    <a:pt x="278" y="39"/>
                    <a:pt x="278" y="39"/>
                  </a:cubicBezTo>
                  <a:cubicBezTo>
                    <a:pt x="278" y="53"/>
                    <a:pt x="278" y="53"/>
                    <a:pt x="278" y="53"/>
                  </a:cubicBezTo>
                  <a:cubicBezTo>
                    <a:pt x="244" y="53"/>
                    <a:pt x="244" y="53"/>
                    <a:pt x="244" y="53"/>
                  </a:cubicBezTo>
                  <a:cubicBezTo>
                    <a:pt x="244" y="132"/>
                    <a:pt x="244" y="132"/>
                    <a:pt x="244" y="132"/>
                  </a:cubicBezTo>
                  <a:cubicBezTo>
                    <a:pt x="228" y="132"/>
                    <a:pt x="228" y="132"/>
                    <a:pt x="228" y="132"/>
                  </a:cubicBezTo>
                  <a:lnTo>
                    <a:pt x="228" y="33"/>
                  </a:lnTo>
                  <a:close/>
                  <a:moveTo>
                    <a:pt x="301" y="0"/>
                  </a:moveTo>
                  <a:cubicBezTo>
                    <a:pt x="306" y="0"/>
                    <a:pt x="311" y="5"/>
                    <a:pt x="311" y="10"/>
                  </a:cubicBezTo>
                  <a:cubicBezTo>
                    <a:pt x="311" y="16"/>
                    <a:pt x="306" y="20"/>
                    <a:pt x="301" y="20"/>
                  </a:cubicBezTo>
                  <a:cubicBezTo>
                    <a:pt x="295" y="20"/>
                    <a:pt x="291" y="16"/>
                    <a:pt x="291" y="10"/>
                  </a:cubicBezTo>
                  <a:cubicBezTo>
                    <a:pt x="291" y="5"/>
                    <a:pt x="295" y="0"/>
                    <a:pt x="301" y="0"/>
                  </a:cubicBezTo>
                  <a:close/>
                  <a:moveTo>
                    <a:pt x="293" y="39"/>
                  </a:moveTo>
                  <a:cubicBezTo>
                    <a:pt x="308" y="39"/>
                    <a:pt x="308" y="39"/>
                    <a:pt x="308" y="39"/>
                  </a:cubicBezTo>
                  <a:cubicBezTo>
                    <a:pt x="308" y="125"/>
                    <a:pt x="308" y="125"/>
                    <a:pt x="308" y="125"/>
                  </a:cubicBezTo>
                  <a:cubicBezTo>
                    <a:pt x="308" y="132"/>
                    <a:pt x="308" y="132"/>
                    <a:pt x="308" y="132"/>
                  </a:cubicBezTo>
                  <a:cubicBezTo>
                    <a:pt x="293" y="132"/>
                    <a:pt x="293" y="132"/>
                    <a:pt x="293" y="132"/>
                  </a:cubicBezTo>
                  <a:lnTo>
                    <a:pt x="293" y="39"/>
                  </a:lnTo>
                  <a:close/>
                  <a:moveTo>
                    <a:pt x="327" y="1"/>
                  </a:moveTo>
                  <a:cubicBezTo>
                    <a:pt x="342" y="1"/>
                    <a:pt x="342" y="1"/>
                    <a:pt x="342" y="1"/>
                  </a:cubicBezTo>
                  <a:cubicBezTo>
                    <a:pt x="342" y="103"/>
                    <a:pt x="342" y="103"/>
                    <a:pt x="342" y="103"/>
                  </a:cubicBezTo>
                  <a:cubicBezTo>
                    <a:pt x="342" y="116"/>
                    <a:pt x="346" y="119"/>
                    <a:pt x="351" y="119"/>
                  </a:cubicBezTo>
                  <a:cubicBezTo>
                    <a:pt x="355" y="119"/>
                    <a:pt x="357" y="118"/>
                    <a:pt x="359" y="117"/>
                  </a:cubicBezTo>
                  <a:cubicBezTo>
                    <a:pt x="363" y="131"/>
                    <a:pt x="363" y="131"/>
                    <a:pt x="363" y="131"/>
                  </a:cubicBezTo>
                  <a:cubicBezTo>
                    <a:pt x="360" y="133"/>
                    <a:pt x="356" y="134"/>
                    <a:pt x="350" y="134"/>
                  </a:cubicBezTo>
                  <a:cubicBezTo>
                    <a:pt x="337" y="134"/>
                    <a:pt x="327" y="126"/>
                    <a:pt x="327" y="103"/>
                  </a:cubicBezTo>
                  <a:lnTo>
                    <a:pt x="327" y="1"/>
                  </a:lnTo>
                  <a:close/>
                  <a:moveTo>
                    <a:pt x="371" y="1"/>
                  </a:moveTo>
                  <a:cubicBezTo>
                    <a:pt x="386" y="1"/>
                    <a:pt x="386" y="1"/>
                    <a:pt x="386" y="1"/>
                  </a:cubicBezTo>
                  <a:cubicBezTo>
                    <a:pt x="386" y="103"/>
                    <a:pt x="386" y="103"/>
                    <a:pt x="386" y="103"/>
                  </a:cubicBezTo>
                  <a:cubicBezTo>
                    <a:pt x="386" y="116"/>
                    <a:pt x="390" y="119"/>
                    <a:pt x="395" y="119"/>
                  </a:cubicBezTo>
                  <a:cubicBezTo>
                    <a:pt x="399" y="119"/>
                    <a:pt x="401" y="118"/>
                    <a:pt x="403" y="117"/>
                  </a:cubicBezTo>
                  <a:cubicBezTo>
                    <a:pt x="407" y="131"/>
                    <a:pt x="407" y="131"/>
                    <a:pt x="407" y="131"/>
                  </a:cubicBezTo>
                  <a:cubicBezTo>
                    <a:pt x="403" y="133"/>
                    <a:pt x="400" y="134"/>
                    <a:pt x="394" y="134"/>
                  </a:cubicBezTo>
                  <a:cubicBezTo>
                    <a:pt x="381" y="134"/>
                    <a:pt x="371" y="126"/>
                    <a:pt x="371" y="103"/>
                  </a:cubicBezTo>
                  <a:lnTo>
                    <a:pt x="371" y="1"/>
                  </a:lnTo>
                  <a:close/>
                  <a:moveTo>
                    <a:pt x="529" y="139"/>
                  </a:moveTo>
                  <a:cubicBezTo>
                    <a:pt x="529" y="168"/>
                    <a:pt x="512" y="179"/>
                    <a:pt x="489" y="179"/>
                  </a:cubicBezTo>
                  <a:cubicBezTo>
                    <a:pt x="475" y="179"/>
                    <a:pt x="465" y="176"/>
                    <a:pt x="455" y="171"/>
                  </a:cubicBezTo>
                  <a:cubicBezTo>
                    <a:pt x="459" y="158"/>
                    <a:pt x="459" y="158"/>
                    <a:pt x="459" y="158"/>
                  </a:cubicBezTo>
                  <a:cubicBezTo>
                    <a:pt x="467" y="162"/>
                    <a:pt x="477" y="165"/>
                    <a:pt x="489" y="165"/>
                  </a:cubicBezTo>
                  <a:cubicBezTo>
                    <a:pt x="504" y="165"/>
                    <a:pt x="513" y="159"/>
                    <a:pt x="513" y="139"/>
                  </a:cubicBezTo>
                  <a:cubicBezTo>
                    <a:pt x="513" y="132"/>
                    <a:pt x="513" y="132"/>
                    <a:pt x="513" y="132"/>
                  </a:cubicBezTo>
                  <a:cubicBezTo>
                    <a:pt x="508" y="133"/>
                    <a:pt x="500" y="134"/>
                    <a:pt x="491" y="134"/>
                  </a:cubicBezTo>
                  <a:cubicBezTo>
                    <a:pt x="470" y="134"/>
                    <a:pt x="452" y="125"/>
                    <a:pt x="452" y="94"/>
                  </a:cubicBezTo>
                  <a:cubicBezTo>
                    <a:pt x="452" y="39"/>
                    <a:pt x="452" y="39"/>
                    <a:pt x="452" y="39"/>
                  </a:cubicBezTo>
                  <a:cubicBezTo>
                    <a:pt x="468" y="39"/>
                    <a:pt x="468" y="39"/>
                    <a:pt x="468" y="39"/>
                  </a:cubicBezTo>
                  <a:cubicBezTo>
                    <a:pt x="468" y="95"/>
                    <a:pt x="468" y="95"/>
                    <a:pt x="468" y="95"/>
                  </a:cubicBezTo>
                  <a:cubicBezTo>
                    <a:pt x="468" y="115"/>
                    <a:pt x="477" y="120"/>
                    <a:pt x="492" y="120"/>
                  </a:cubicBezTo>
                  <a:cubicBezTo>
                    <a:pt x="502" y="120"/>
                    <a:pt x="507" y="119"/>
                    <a:pt x="513" y="117"/>
                  </a:cubicBezTo>
                  <a:cubicBezTo>
                    <a:pt x="513" y="39"/>
                    <a:pt x="513" y="39"/>
                    <a:pt x="513" y="39"/>
                  </a:cubicBezTo>
                  <a:cubicBezTo>
                    <a:pt x="529" y="39"/>
                    <a:pt x="529" y="39"/>
                    <a:pt x="529" y="39"/>
                  </a:cubicBezTo>
                  <a:lnTo>
                    <a:pt x="529" y="139"/>
                  </a:lnTo>
                  <a:close/>
                  <a:moveTo>
                    <a:pt x="543" y="84"/>
                  </a:moveTo>
                  <a:cubicBezTo>
                    <a:pt x="543" y="50"/>
                    <a:pt x="560" y="37"/>
                    <a:pt x="583" y="37"/>
                  </a:cubicBezTo>
                  <a:cubicBezTo>
                    <a:pt x="607" y="37"/>
                    <a:pt x="624" y="50"/>
                    <a:pt x="624" y="84"/>
                  </a:cubicBezTo>
                  <a:cubicBezTo>
                    <a:pt x="624" y="88"/>
                    <a:pt x="624" y="88"/>
                    <a:pt x="624" y="88"/>
                  </a:cubicBezTo>
                  <a:cubicBezTo>
                    <a:pt x="624" y="121"/>
                    <a:pt x="607" y="134"/>
                    <a:pt x="583" y="134"/>
                  </a:cubicBezTo>
                  <a:cubicBezTo>
                    <a:pt x="560" y="134"/>
                    <a:pt x="543" y="121"/>
                    <a:pt x="543" y="88"/>
                  </a:cubicBezTo>
                  <a:lnTo>
                    <a:pt x="543" y="84"/>
                  </a:lnTo>
                  <a:close/>
                  <a:moveTo>
                    <a:pt x="608" y="84"/>
                  </a:moveTo>
                  <a:cubicBezTo>
                    <a:pt x="608" y="60"/>
                    <a:pt x="599" y="52"/>
                    <a:pt x="583" y="52"/>
                  </a:cubicBezTo>
                  <a:cubicBezTo>
                    <a:pt x="568" y="52"/>
                    <a:pt x="558" y="60"/>
                    <a:pt x="558" y="84"/>
                  </a:cubicBezTo>
                  <a:cubicBezTo>
                    <a:pt x="558" y="88"/>
                    <a:pt x="558" y="88"/>
                    <a:pt x="558" y="88"/>
                  </a:cubicBezTo>
                  <a:cubicBezTo>
                    <a:pt x="558" y="112"/>
                    <a:pt x="568" y="120"/>
                    <a:pt x="583" y="120"/>
                  </a:cubicBezTo>
                  <a:cubicBezTo>
                    <a:pt x="599" y="120"/>
                    <a:pt x="608" y="112"/>
                    <a:pt x="608" y="88"/>
                  </a:cubicBezTo>
                  <a:lnTo>
                    <a:pt x="608" y="84"/>
                  </a:lnTo>
                  <a:close/>
                  <a:moveTo>
                    <a:pt x="715" y="129"/>
                  </a:moveTo>
                  <a:cubicBezTo>
                    <a:pt x="705" y="132"/>
                    <a:pt x="694" y="134"/>
                    <a:pt x="678" y="134"/>
                  </a:cubicBezTo>
                  <a:cubicBezTo>
                    <a:pt x="655" y="134"/>
                    <a:pt x="638" y="124"/>
                    <a:pt x="638" y="94"/>
                  </a:cubicBezTo>
                  <a:cubicBezTo>
                    <a:pt x="638" y="39"/>
                    <a:pt x="638" y="39"/>
                    <a:pt x="638" y="39"/>
                  </a:cubicBezTo>
                  <a:cubicBezTo>
                    <a:pt x="654" y="39"/>
                    <a:pt x="654" y="39"/>
                    <a:pt x="654" y="39"/>
                  </a:cubicBezTo>
                  <a:cubicBezTo>
                    <a:pt x="654" y="95"/>
                    <a:pt x="654" y="95"/>
                    <a:pt x="654" y="95"/>
                  </a:cubicBezTo>
                  <a:cubicBezTo>
                    <a:pt x="654" y="115"/>
                    <a:pt x="664" y="120"/>
                    <a:pt x="678" y="120"/>
                  </a:cubicBezTo>
                  <a:cubicBezTo>
                    <a:pt x="688" y="120"/>
                    <a:pt x="693" y="119"/>
                    <a:pt x="699" y="117"/>
                  </a:cubicBezTo>
                  <a:cubicBezTo>
                    <a:pt x="699" y="39"/>
                    <a:pt x="699" y="39"/>
                    <a:pt x="699" y="39"/>
                  </a:cubicBezTo>
                  <a:cubicBezTo>
                    <a:pt x="715" y="39"/>
                    <a:pt x="715" y="39"/>
                    <a:pt x="715" y="39"/>
                  </a:cubicBezTo>
                  <a:lnTo>
                    <a:pt x="715" y="129"/>
                  </a:lnTo>
                  <a:close/>
                  <a:moveTo>
                    <a:pt x="734" y="42"/>
                  </a:moveTo>
                  <a:cubicBezTo>
                    <a:pt x="741" y="40"/>
                    <a:pt x="752" y="37"/>
                    <a:pt x="763" y="37"/>
                  </a:cubicBezTo>
                  <a:cubicBezTo>
                    <a:pt x="772" y="37"/>
                    <a:pt x="778" y="38"/>
                    <a:pt x="783" y="40"/>
                  </a:cubicBezTo>
                  <a:cubicBezTo>
                    <a:pt x="779" y="54"/>
                    <a:pt x="779" y="54"/>
                    <a:pt x="779" y="54"/>
                  </a:cubicBezTo>
                  <a:cubicBezTo>
                    <a:pt x="775" y="53"/>
                    <a:pt x="770" y="52"/>
                    <a:pt x="764" y="52"/>
                  </a:cubicBezTo>
                  <a:cubicBezTo>
                    <a:pt x="756" y="52"/>
                    <a:pt x="753" y="53"/>
                    <a:pt x="749" y="54"/>
                  </a:cubicBezTo>
                  <a:cubicBezTo>
                    <a:pt x="749" y="132"/>
                    <a:pt x="749" y="132"/>
                    <a:pt x="749" y="132"/>
                  </a:cubicBezTo>
                  <a:cubicBezTo>
                    <a:pt x="734" y="132"/>
                    <a:pt x="734" y="132"/>
                    <a:pt x="734" y="132"/>
                  </a:cubicBezTo>
                  <a:lnTo>
                    <a:pt x="734" y="42"/>
                  </a:lnTo>
                  <a:close/>
                  <a:moveTo>
                    <a:pt x="832" y="42"/>
                  </a:moveTo>
                  <a:cubicBezTo>
                    <a:pt x="842" y="38"/>
                    <a:pt x="856" y="37"/>
                    <a:pt x="866" y="37"/>
                  </a:cubicBezTo>
                  <a:cubicBezTo>
                    <a:pt x="891" y="37"/>
                    <a:pt x="909" y="52"/>
                    <a:pt x="909" y="83"/>
                  </a:cubicBezTo>
                  <a:cubicBezTo>
                    <a:pt x="909" y="88"/>
                    <a:pt x="909" y="88"/>
                    <a:pt x="909" y="88"/>
                  </a:cubicBezTo>
                  <a:cubicBezTo>
                    <a:pt x="909" y="120"/>
                    <a:pt x="891" y="134"/>
                    <a:pt x="867" y="134"/>
                  </a:cubicBezTo>
                  <a:cubicBezTo>
                    <a:pt x="859" y="134"/>
                    <a:pt x="853" y="133"/>
                    <a:pt x="848" y="131"/>
                  </a:cubicBezTo>
                  <a:cubicBezTo>
                    <a:pt x="848" y="179"/>
                    <a:pt x="848" y="179"/>
                    <a:pt x="848" y="179"/>
                  </a:cubicBezTo>
                  <a:cubicBezTo>
                    <a:pt x="832" y="179"/>
                    <a:pt x="832" y="179"/>
                    <a:pt x="832" y="179"/>
                  </a:cubicBezTo>
                  <a:lnTo>
                    <a:pt x="832" y="42"/>
                  </a:lnTo>
                  <a:close/>
                  <a:moveTo>
                    <a:pt x="893" y="83"/>
                  </a:moveTo>
                  <a:cubicBezTo>
                    <a:pt x="893" y="59"/>
                    <a:pt x="883" y="52"/>
                    <a:pt x="866" y="52"/>
                  </a:cubicBezTo>
                  <a:cubicBezTo>
                    <a:pt x="857" y="52"/>
                    <a:pt x="852" y="53"/>
                    <a:pt x="848" y="54"/>
                  </a:cubicBezTo>
                  <a:cubicBezTo>
                    <a:pt x="848" y="116"/>
                    <a:pt x="848" y="116"/>
                    <a:pt x="848" y="116"/>
                  </a:cubicBezTo>
                  <a:cubicBezTo>
                    <a:pt x="851" y="118"/>
                    <a:pt x="858" y="120"/>
                    <a:pt x="866" y="120"/>
                  </a:cubicBezTo>
                  <a:cubicBezTo>
                    <a:pt x="882" y="120"/>
                    <a:pt x="893" y="113"/>
                    <a:pt x="893" y="88"/>
                  </a:cubicBezTo>
                  <a:lnTo>
                    <a:pt x="893" y="83"/>
                  </a:lnTo>
                  <a:close/>
                  <a:moveTo>
                    <a:pt x="920" y="84"/>
                  </a:moveTo>
                  <a:cubicBezTo>
                    <a:pt x="920" y="50"/>
                    <a:pt x="937" y="37"/>
                    <a:pt x="961" y="37"/>
                  </a:cubicBezTo>
                  <a:cubicBezTo>
                    <a:pt x="984" y="37"/>
                    <a:pt x="1001" y="50"/>
                    <a:pt x="1001" y="84"/>
                  </a:cubicBezTo>
                  <a:cubicBezTo>
                    <a:pt x="1001" y="88"/>
                    <a:pt x="1001" y="88"/>
                    <a:pt x="1001" y="88"/>
                  </a:cubicBezTo>
                  <a:cubicBezTo>
                    <a:pt x="1001" y="121"/>
                    <a:pt x="984" y="134"/>
                    <a:pt x="961" y="134"/>
                  </a:cubicBezTo>
                  <a:cubicBezTo>
                    <a:pt x="937" y="134"/>
                    <a:pt x="920" y="121"/>
                    <a:pt x="920" y="88"/>
                  </a:cubicBezTo>
                  <a:lnTo>
                    <a:pt x="920" y="84"/>
                  </a:lnTo>
                  <a:close/>
                  <a:moveTo>
                    <a:pt x="986" y="84"/>
                  </a:moveTo>
                  <a:cubicBezTo>
                    <a:pt x="986" y="60"/>
                    <a:pt x="976" y="52"/>
                    <a:pt x="961" y="52"/>
                  </a:cubicBezTo>
                  <a:cubicBezTo>
                    <a:pt x="945" y="52"/>
                    <a:pt x="936" y="60"/>
                    <a:pt x="936" y="84"/>
                  </a:cubicBezTo>
                  <a:cubicBezTo>
                    <a:pt x="936" y="88"/>
                    <a:pt x="936" y="88"/>
                    <a:pt x="936" y="88"/>
                  </a:cubicBezTo>
                  <a:cubicBezTo>
                    <a:pt x="936" y="112"/>
                    <a:pt x="945" y="120"/>
                    <a:pt x="961" y="120"/>
                  </a:cubicBezTo>
                  <a:cubicBezTo>
                    <a:pt x="976" y="120"/>
                    <a:pt x="986" y="112"/>
                    <a:pt x="986" y="88"/>
                  </a:cubicBezTo>
                  <a:lnTo>
                    <a:pt x="986" y="84"/>
                  </a:lnTo>
                  <a:close/>
                  <a:moveTo>
                    <a:pt x="1014" y="11"/>
                  </a:moveTo>
                  <a:cubicBezTo>
                    <a:pt x="1030" y="11"/>
                    <a:pt x="1030" y="11"/>
                    <a:pt x="1030" y="11"/>
                  </a:cubicBezTo>
                  <a:cubicBezTo>
                    <a:pt x="1030" y="39"/>
                    <a:pt x="1030" y="39"/>
                    <a:pt x="1030" y="39"/>
                  </a:cubicBezTo>
                  <a:cubicBezTo>
                    <a:pt x="1065" y="39"/>
                    <a:pt x="1065" y="39"/>
                    <a:pt x="1065" y="39"/>
                  </a:cubicBezTo>
                  <a:cubicBezTo>
                    <a:pt x="1065" y="53"/>
                    <a:pt x="1065" y="53"/>
                    <a:pt x="1065" y="53"/>
                  </a:cubicBezTo>
                  <a:cubicBezTo>
                    <a:pt x="1030" y="53"/>
                    <a:pt x="1030" y="53"/>
                    <a:pt x="1030" y="53"/>
                  </a:cubicBezTo>
                  <a:cubicBezTo>
                    <a:pt x="1030" y="101"/>
                    <a:pt x="1030" y="101"/>
                    <a:pt x="1030" y="101"/>
                  </a:cubicBezTo>
                  <a:cubicBezTo>
                    <a:pt x="1030" y="115"/>
                    <a:pt x="1036" y="120"/>
                    <a:pt x="1046" y="120"/>
                  </a:cubicBezTo>
                  <a:cubicBezTo>
                    <a:pt x="1054" y="120"/>
                    <a:pt x="1061" y="117"/>
                    <a:pt x="1066" y="114"/>
                  </a:cubicBezTo>
                  <a:cubicBezTo>
                    <a:pt x="1071" y="128"/>
                    <a:pt x="1071" y="128"/>
                    <a:pt x="1071" y="128"/>
                  </a:cubicBezTo>
                  <a:cubicBezTo>
                    <a:pt x="1064" y="132"/>
                    <a:pt x="1056" y="134"/>
                    <a:pt x="1046" y="134"/>
                  </a:cubicBezTo>
                  <a:cubicBezTo>
                    <a:pt x="1028" y="134"/>
                    <a:pt x="1014" y="125"/>
                    <a:pt x="1014" y="100"/>
                  </a:cubicBezTo>
                  <a:lnTo>
                    <a:pt x="1014" y="11"/>
                  </a:lnTo>
                  <a:close/>
                  <a:moveTo>
                    <a:pt x="1156" y="92"/>
                  </a:moveTo>
                  <a:cubicBezTo>
                    <a:pt x="1092" y="92"/>
                    <a:pt x="1092" y="92"/>
                    <a:pt x="1092" y="92"/>
                  </a:cubicBezTo>
                  <a:cubicBezTo>
                    <a:pt x="1092" y="93"/>
                    <a:pt x="1092" y="93"/>
                    <a:pt x="1092" y="93"/>
                  </a:cubicBezTo>
                  <a:cubicBezTo>
                    <a:pt x="1092" y="111"/>
                    <a:pt x="1103" y="120"/>
                    <a:pt x="1121" y="120"/>
                  </a:cubicBezTo>
                  <a:cubicBezTo>
                    <a:pt x="1132" y="120"/>
                    <a:pt x="1143" y="117"/>
                    <a:pt x="1150" y="115"/>
                  </a:cubicBezTo>
                  <a:cubicBezTo>
                    <a:pt x="1154" y="128"/>
                    <a:pt x="1154" y="128"/>
                    <a:pt x="1154" y="128"/>
                  </a:cubicBezTo>
                  <a:cubicBezTo>
                    <a:pt x="1145" y="132"/>
                    <a:pt x="1134" y="134"/>
                    <a:pt x="1121" y="134"/>
                  </a:cubicBezTo>
                  <a:cubicBezTo>
                    <a:pt x="1094" y="134"/>
                    <a:pt x="1076" y="120"/>
                    <a:pt x="1076" y="88"/>
                  </a:cubicBezTo>
                  <a:cubicBezTo>
                    <a:pt x="1076" y="83"/>
                    <a:pt x="1076" y="83"/>
                    <a:pt x="1076" y="83"/>
                  </a:cubicBezTo>
                  <a:cubicBezTo>
                    <a:pt x="1076" y="51"/>
                    <a:pt x="1092" y="37"/>
                    <a:pt x="1116" y="37"/>
                  </a:cubicBezTo>
                  <a:cubicBezTo>
                    <a:pt x="1141" y="37"/>
                    <a:pt x="1156" y="51"/>
                    <a:pt x="1156" y="83"/>
                  </a:cubicBezTo>
                  <a:lnTo>
                    <a:pt x="1156" y="92"/>
                  </a:lnTo>
                  <a:close/>
                  <a:moveTo>
                    <a:pt x="1092" y="80"/>
                  </a:moveTo>
                  <a:cubicBezTo>
                    <a:pt x="1141" y="80"/>
                    <a:pt x="1141" y="80"/>
                    <a:pt x="1141" y="80"/>
                  </a:cubicBezTo>
                  <a:cubicBezTo>
                    <a:pt x="1141" y="79"/>
                    <a:pt x="1141" y="79"/>
                    <a:pt x="1141" y="79"/>
                  </a:cubicBezTo>
                  <a:cubicBezTo>
                    <a:pt x="1141" y="60"/>
                    <a:pt x="1131" y="52"/>
                    <a:pt x="1116" y="52"/>
                  </a:cubicBezTo>
                  <a:cubicBezTo>
                    <a:pt x="1102" y="52"/>
                    <a:pt x="1092" y="60"/>
                    <a:pt x="1092" y="79"/>
                  </a:cubicBezTo>
                  <a:lnTo>
                    <a:pt x="1092" y="80"/>
                  </a:lnTo>
                  <a:close/>
                  <a:moveTo>
                    <a:pt x="1172" y="42"/>
                  </a:moveTo>
                  <a:cubicBezTo>
                    <a:pt x="1180" y="39"/>
                    <a:pt x="1193" y="37"/>
                    <a:pt x="1209" y="37"/>
                  </a:cubicBezTo>
                  <a:cubicBezTo>
                    <a:pt x="1231" y="37"/>
                    <a:pt x="1248" y="47"/>
                    <a:pt x="1248" y="77"/>
                  </a:cubicBezTo>
                  <a:cubicBezTo>
                    <a:pt x="1248" y="132"/>
                    <a:pt x="1248" y="132"/>
                    <a:pt x="1248" y="132"/>
                  </a:cubicBezTo>
                  <a:cubicBezTo>
                    <a:pt x="1233" y="132"/>
                    <a:pt x="1233" y="132"/>
                    <a:pt x="1233" y="132"/>
                  </a:cubicBezTo>
                  <a:cubicBezTo>
                    <a:pt x="1233" y="76"/>
                    <a:pt x="1233" y="76"/>
                    <a:pt x="1233" y="76"/>
                  </a:cubicBezTo>
                  <a:cubicBezTo>
                    <a:pt x="1233" y="56"/>
                    <a:pt x="1223" y="52"/>
                    <a:pt x="1208" y="52"/>
                  </a:cubicBezTo>
                  <a:cubicBezTo>
                    <a:pt x="1198" y="52"/>
                    <a:pt x="1193" y="52"/>
                    <a:pt x="1187" y="54"/>
                  </a:cubicBezTo>
                  <a:cubicBezTo>
                    <a:pt x="1187" y="132"/>
                    <a:pt x="1187" y="132"/>
                    <a:pt x="1187" y="132"/>
                  </a:cubicBezTo>
                  <a:cubicBezTo>
                    <a:pt x="1172" y="132"/>
                    <a:pt x="1172" y="132"/>
                    <a:pt x="1172" y="132"/>
                  </a:cubicBezTo>
                  <a:lnTo>
                    <a:pt x="1172" y="42"/>
                  </a:lnTo>
                  <a:close/>
                  <a:moveTo>
                    <a:pt x="1263" y="11"/>
                  </a:moveTo>
                  <a:cubicBezTo>
                    <a:pt x="1279" y="11"/>
                    <a:pt x="1279" y="11"/>
                    <a:pt x="1279" y="11"/>
                  </a:cubicBezTo>
                  <a:cubicBezTo>
                    <a:pt x="1279" y="39"/>
                    <a:pt x="1279" y="39"/>
                    <a:pt x="1279" y="39"/>
                  </a:cubicBezTo>
                  <a:cubicBezTo>
                    <a:pt x="1314" y="39"/>
                    <a:pt x="1314" y="39"/>
                    <a:pt x="1314" y="39"/>
                  </a:cubicBezTo>
                  <a:cubicBezTo>
                    <a:pt x="1314" y="53"/>
                    <a:pt x="1314" y="53"/>
                    <a:pt x="1314" y="53"/>
                  </a:cubicBezTo>
                  <a:cubicBezTo>
                    <a:pt x="1279" y="53"/>
                    <a:pt x="1279" y="53"/>
                    <a:pt x="1279" y="53"/>
                  </a:cubicBezTo>
                  <a:cubicBezTo>
                    <a:pt x="1279" y="101"/>
                    <a:pt x="1279" y="101"/>
                    <a:pt x="1279" y="101"/>
                  </a:cubicBezTo>
                  <a:cubicBezTo>
                    <a:pt x="1279" y="115"/>
                    <a:pt x="1286" y="120"/>
                    <a:pt x="1295" y="120"/>
                  </a:cubicBezTo>
                  <a:cubicBezTo>
                    <a:pt x="1303" y="120"/>
                    <a:pt x="1311" y="117"/>
                    <a:pt x="1316" y="114"/>
                  </a:cubicBezTo>
                  <a:cubicBezTo>
                    <a:pt x="1320" y="128"/>
                    <a:pt x="1320" y="128"/>
                    <a:pt x="1320" y="128"/>
                  </a:cubicBezTo>
                  <a:cubicBezTo>
                    <a:pt x="1314" y="132"/>
                    <a:pt x="1305" y="134"/>
                    <a:pt x="1295" y="134"/>
                  </a:cubicBezTo>
                  <a:cubicBezTo>
                    <a:pt x="1277" y="134"/>
                    <a:pt x="1263" y="125"/>
                    <a:pt x="1263" y="100"/>
                  </a:cubicBezTo>
                  <a:lnTo>
                    <a:pt x="1263" y="11"/>
                  </a:lnTo>
                  <a:close/>
                  <a:moveTo>
                    <a:pt x="1340" y="0"/>
                  </a:moveTo>
                  <a:cubicBezTo>
                    <a:pt x="1346" y="0"/>
                    <a:pt x="1350" y="5"/>
                    <a:pt x="1350" y="10"/>
                  </a:cubicBezTo>
                  <a:cubicBezTo>
                    <a:pt x="1350" y="16"/>
                    <a:pt x="1346" y="20"/>
                    <a:pt x="1340" y="20"/>
                  </a:cubicBezTo>
                  <a:cubicBezTo>
                    <a:pt x="1335" y="20"/>
                    <a:pt x="1331" y="16"/>
                    <a:pt x="1331" y="10"/>
                  </a:cubicBezTo>
                  <a:cubicBezTo>
                    <a:pt x="1331" y="5"/>
                    <a:pt x="1335" y="0"/>
                    <a:pt x="1340" y="0"/>
                  </a:cubicBezTo>
                  <a:close/>
                  <a:moveTo>
                    <a:pt x="1333" y="39"/>
                  </a:moveTo>
                  <a:cubicBezTo>
                    <a:pt x="1348" y="39"/>
                    <a:pt x="1348" y="39"/>
                    <a:pt x="1348" y="39"/>
                  </a:cubicBezTo>
                  <a:cubicBezTo>
                    <a:pt x="1348" y="125"/>
                    <a:pt x="1348" y="125"/>
                    <a:pt x="1348" y="125"/>
                  </a:cubicBezTo>
                  <a:cubicBezTo>
                    <a:pt x="1348" y="132"/>
                    <a:pt x="1348" y="132"/>
                    <a:pt x="1348" y="132"/>
                  </a:cubicBezTo>
                  <a:cubicBezTo>
                    <a:pt x="1333" y="132"/>
                    <a:pt x="1333" y="132"/>
                    <a:pt x="1333" y="132"/>
                  </a:cubicBezTo>
                  <a:lnTo>
                    <a:pt x="1333" y="39"/>
                  </a:lnTo>
                  <a:close/>
                  <a:moveTo>
                    <a:pt x="1437" y="129"/>
                  </a:moveTo>
                  <a:cubicBezTo>
                    <a:pt x="1427" y="132"/>
                    <a:pt x="1415" y="134"/>
                    <a:pt x="1399" y="134"/>
                  </a:cubicBezTo>
                  <a:cubicBezTo>
                    <a:pt x="1378" y="134"/>
                    <a:pt x="1361" y="125"/>
                    <a:pt x="1361" y="104"/>
                  </a:cubicBezTo>
                  <a:cubicBezTo>
                    <a:pt x="1361" y="103"/>
                    <a:pt x="1361" y="103"/>
                    <a:pt x="1361" y="103"/>
                  </a:cubicBezTo>
                  <a:cubicBezTo>
                    <a:pt x="1361" y="85"/>
                    <a:pt x="1378" y="76"/>
                    <a:pt x="1404" y="75"/>
                  </a:cubicBezTo>
                  <a:cubicBezTo>
                    <a:pt x="1410" y="75"/>
                    <a:pt x="1416" y="75"/>
                    <a:pt x="1422" y="74"/>
                  </a:cubicBezTo>
                  <a:cubicBezTo>
                    <a:pt x="1422" y="69"/>
                    <a:pt x="1422" y="69"/>
                    <a:pt x="1422" y="69"/>
                  </a:cubicBezTo>
                  <a:cubicBezTo>
                    <a:pt x="1422" y="56"/>
                    <a:pt x="1412" y="52"/>
                    <a:pt x="1398" y="52"/>
                  </a:cubicBezTo>
                  <a:cubicBezTo>
                    <a:pt x="1386" y="52"/>
                    <a:pt x="1376" y="55"/>
                    <a:pt x="1369" y="58"/>
                  </a:cubicBezTo>
                  <a:cubicBezTo>
                    <a:pt x="1368" y="53"/>
                    <a:pt x="1366" y="48"/>
                    <a:pt x="1365" y="44"/>
                  </a:cubicBezTo>
                  <a:cubicBezTo>
                    <a:pt x="1375" y="40"/>
                    <a:pt x="1385" y="37"/>
                    <a:pt x="1399" y="37"/>
                  </a:cubicBezTo>
                  <a:cubicBezTo>
                    <a:pt x="1421" y="37"/>
                    <a:pt x="1437" y="46"/>
                    <a:pt x="1437" y="71"/>
                  </a:cubicBezTo>
                  <a:lnTo>
                    <a:pt x="1437" y="129"/>
                  </a:lnTo>
                  <a:close/>
                  <a:moveTo>
                    <a:pt x="1422" y="87"/>
                  </a:moveTo>
                  <a:cubicBezTo>
                    <a:pt x="1395" y="88"/>
                    <a:pt x="1376" y="88"/>
                    <a:pt x="1376" y="103"/>
                  </a:cubicBezTo>
                  <a:cubicBezTo>
                    <a:pt x="1376" y="104"/>
                    <a:pt x="1376" y="104"/>
                    <a:pt x="1376" y="104"/>
                  </a:cubicBezTo>
                  <a:cubicBezTo>
                    <a:pt x="1376" y="115"/>
                    <a:pt x="1386" y="120"/>
                    <a:pt x="1399" y="120"/>
                  </a:cubicBezTo>
                  <a:cubicBezTo>
                    <a:pt x="1409" y="120"/>
                    <a:pt x="1415" y="119"/>
                    <a:pt x="1422" y="117"/>
                  </a:cubicBezTo>
                  <a:lnTo>
                    <a:pt x="1422" y="87"/>
                  </a:lnTo>
                  <a:close/>
                  <a:moveTo>
                    <a:pt x="1454" y="1"/>
                  </a:moveTo>
                  <a:cubicBezTo>
                    <a:pt x="1470" y="1"/>
                    <a:pt x="1470" y="1"/>
                    <a:pt x="1470" y="1"/>
                  </a:cubicBezTo>
                  <a:cubicBezTo>
                    <a:pt x="1470" y="103"/>
                    <a:pt x="1470" y="103"/>
                    <a:pt x="1470" y="103"/>
                  </a:cubicBezTo>
                  <a:cubicBezTo>
                    <a:pt x="1470" y="116"/>
                    <a:pt x="1474" y="119"/>
                    <a:pt x="1479" y="119"/>
                  </a:cubicBezTo>
                  <a:cubicBezTo>
                    <a:pt x="1483" y="119"/>
                    <a:pt x="1484" y="118"/>
                    <a:pt x="1487" y="117"/>
                  </a:cubicBezTo>
                  <a:cubicBezTo>
                    <a:pt x="1491" y="131"/>
                    <a:pt x="1491" y="131"/>
                    <a:pt x="1491" y="131"/>
                  </a:cubicBezTo>
                  <a:cubicBezTo>
                    <a:pt x="1487" y="133"/>
                    <a:pt x="1483" y="134"/>
                    <a:pt x="1477" y="134"/>
                  </a:cubicBezTo>
                  <a:cubicBezTo>
                    <a:pt x="1464" y="134"/>
                    <a:pt x="1454" y="126"/>
                    <a:pt x="1454" y="103"/>
                  </a:cubicBezTo>
                  <a:lnTo>
                    <a:pt x="145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4" name="Freeform 7">
              <a:extLst>
                <a:ext uri="{FF2B5EF4-FFF2-40B4-BE49-F238E27FC236}">
                  <a16:creationId xmlns:a16="http://schemas.microsoft.com/office/drawing/2014/main" id="{A92845A2-5445-4D6F-8468-A8B228B34F60}"/>
                </a:ext>
              </a:extLst>
            </p:cNvPr>
            <p:cNvSpPr>
              <a:spLocks noEditPoints="1"/>
            </p:cNvSpPr>
            <p:nvPr userDrawn="1"/>
          </p:nvSpPr>
          <p:spPr bwMode="auto">
            <a:xfrm>
              <a:off x="6038850" y="3760788"/>
              <a:ext cx="5803900" cy="873125"/>
            </a:xfrm>
            <a:custGeom>
              <a:avLst/>
              <a:gdLst>
                <a:gd name="T0" fmla="*/ 184 w 2256"/>
                <a:gd name="T1" fmla="*/ 173 h 339"/>
                <a:gd name="T2" fmla="*/ 0 w 2256"/>
                <a:gd name="T3" fmla="*/ 334 h 339"/>
                <a:gd name="T4" fmla="*/ 50 w 2256"/>
                <a:gd name="T5" fmla="*/ 70 h 339"/>
                <a:gd name="T6" fmla="*/ 174 w 2256"/>
                <a:gd name="T7" fmla="*/ 112 h 339"/>
                <a:gd name="T8" fmla="*/ 50 w 2256"/>
                <a:gd name="T9" fmla="*/ 197 h 339"/>
                <a:gd name="T10" fmla="*/ 184 w 2256"/>
                <a:gd name="T11" fmla="*/ 243 h 339"/>
                <a:gd name="T12" fmla="*/ 279 w 2256"/>
                <a:gd name="T13" fmla="*/ 0 h 339"/>
                <a:gd name="T14" fmla="*/ 347 w 2256"/>
                <a:gd name="T15" fmla="*/ 293 h 339"/>
                <a:gd name="T16" fmla="*/ 341 w 2256"/>
                <a:gd name="T17" fmla="*/ 338 h 339"/>
                <a:gd name="T18" fmla="*/ 608 w 2256"/>
                <a:gd name="T19" fmla="*/ 327 h 339"/>
                <a:gd name="T20" fmla="*/ 407 w 2256"/>
                <a:gd name="T21" fmla="*/ 96 h 339"/>
                <a:gd name="T22" fmla="*/ 512 w 2256"/>
                <a:gd name="T23" fmla="*/ 294 h 339"/>
                <a:gd name="T24" fmla="*/ 608 w 2256"/>
                <a:gd name="T25" fmla="*/ 96 h 339"/>
                <a:gd name="T26" fmla="*/ 705 w 2256"/>
                <a:gd name="T27" fmla="*/ 233 h 339"/>
                <a:gd name="T28" fmla="*/ 849 w 2256"/>
                <a:gd name="T29" fmla="*/ 282 h 339"/>
                <a:gd name="T30" fmla="*/ 657 w 2256"/>
                <a:gd name="T31" fmla="*/ 220 h 339"/>
                <a:gd name="T32" fmla="*/ 867 w 2256"/>
                <a:gd name="T33" fmla="*/ 210 h 339"/>
                <a:gd name="T34" fmla="*/ 818 w 2256"/>
                <a:gd name="T35" fmla="*/ 197 h 339"/>
                <a:gd name="T36" fmla="*/ 705 w 2256"/>
                <a:gd name="T37" fmla="*/ 195 h 339"/>
                <a:gd name="T38" fmla="*/ 1017 w 2256"/>
                <a:gd name="T39" fmla="*/ 334 h 339"/>
                <a:gd name="T40" fmla="*/ 849 w 2256"/>
                <a:gd name="T41" fmla="*/ 24 h 339"/>
                <a:gd name="T42" fmla="*/ 1080 w 2256"/>
                <a:gd name="T43" fmla="*/ 24 h 339"/>
                <a:gd name="T44" fmla="*/ 1107 w 2256"/>
                <a:gd name="T45" fmla="*/ 211 h 339"/>
                <a:gd name="T46" fmla="*/ 1322 w 2256"/>
                <a:gd name="T47" fmla="*/ 219 h 339"/>
                <a:gd name="T48" fmla="*/ 1107 w 2256"/>
                <a:gd name="T49" fmla="*/ 211 h 339"/>
                <a:gd name="T50" fmla="*/ 1154 w 2256"/>
                <a:gd name="T51" fmla="*/ 211 h 339"/>
                <a:gd name="T52" fmla="*/ 1273 w 2256"/>
                <a:gd name="T53" fmla="*/ 219 h 339"/>
                <a:gd name="T54" fmla="*/ 1467 w 2256"/>
                <a:gd name="T55" fmla="*/ 91 h 339"/>
                <a:gd name="T56" fmla="*/ 1522 w 2256"/>
                <a:gd name="T57" fmla="*/ 334 h 339"/>
                <a:gd name="T58" fmla="*/ 1416 w 2256"/>
                <a:gd name="T59" fmla="*/ 140 h 339"/>
                <a:gd name="T60" fmla="*/ 1368 w 2256"/>
                <a:gd name="T61" fmla="*/ 103 h 339"/>
                <a:gd name="T62" fmla="*/ 1613 w 2256"/>
                <a:gd name="T63" fmla="*/ 220 h 339"/>
                <a:gd name="T64" fmla="*/ 1767 w 2256"/>
                <a:gd name="T65" fmla="*/ 98 h 339"/>
                <a:gd name="T66" fmla="*/ 1814 w 2256"/>
                <a:gd name="T67" fmla="*/ 327 h 339"/>
                <a:gd name="T68" fmla="*/ 1767 w 2256"/>
                <a:gd name="T69" fmla="*/ 290 h 339"/>
                <a:gd name="T70" fmla="*/ 1661 w 2256"/>
                <a:gd name="T71" fmla="*/ 210 h 339"/>
                <a:gd name="T72" fmla="*/ 1911 w 2256"/>
                <a:gd name="T73" fmla="*/ 233 h 339"/>
                <a:gd name="T74" fmla="*/ 2054 w 2256"/>
                <a:gd name="T75" fmla="*/ 282 h 339"/>
                <a:gd name="T76" fmla="*/ 1862 w 2256"/>
                <a:gd name="T77" fmla="*/ 220 h 339"/>
                <a:gd name="T78" fmla="*/ 2073 w 2256"/>
                <a:gd name="T79" fmla="*/ 210 h 339"/>
                <a:gd name="T80" fmla="*/ 2025 w 2256"/>
                <a:gd name="T81" fmla="*/ 197 h 339"/>
                <a:gd name="T82" fmla="*/ 1912 w 2256"/>
                <a:gd name="T83" fmla="*/ 195 h 339"/>
                <a:gd name="T84" fmla="*/ 2202 w 2256"/>
                <a:gd name="T85" fmla="*/ 91 h 339"/>
                <a:gd name="T86" fmla="*/ 2205 w 2256"/>
                <a:gd name="T87" fmla="*/ 136 h 339"/>
                <a:gd name="T88" fmla="*/ 2122 w 2256"/>
                <a:gd name="T89"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56" h="339">
                  <a:moveTo>
                    <a:pt x="111" y="24"/>
                  </a:moveTo>
                  <a:cubicBezTo>
                    <a:pt x="192" y="24"/>
                    <a:pt x="224" y="61"/>
                    <a:pt x="224" y="109"/>
                  </a:cubicBezTo>
                  <a:cubicBezTo>
                    <a:pt x="224" y="136"/>
                    <a:pt x="212" y="159"/>
                    <a:pt x="184" y="173"/>
                  </a:cubicBezTo>
                  <a:cubicBezTo>
                    <a:pt x="219" y="188"/>
                    <a:pt x="233" y="215"/>
                    <a:pt x="233" y="246"/>
                  </a:cubicBezTo>
                  <a:cubicBezTo>
                    <a:pt x="233" y="297"/>
                    <a:pt x="201" y="334"/>
                    <a:pt x="117" y="334"/>
                  </a:cubicBezTo>
                  <a:cubicBezTo>
                    <a:pt x="0" y="334"/>
                    <a:pt x="0" y="334"/>
                    <a:pt x="0" y="334"/>
                  </a:cubicBezTo>
                  <a:cubicBezTo>
                    <a:pt x="0" y="24"/>
                    <a:pt x="0" y="24"/>
                    <a:pt x="0" y="24"/>
                  </a:cubicBezTo>
                  <a:lnTo>
                    <a:pt x="111" y="24"/>
                  </a:lnTo>
                  <a:close/>
                  <a:moveTo>
                    <a:pt x="50" y="70"/>
                  </a:moveTo>
                  <a:cubicBezTo>
                    <a:pt x="50" y="154"/>
                    <a:pt x="50" y="154"/>
                    <a:pt x="50" y="154"/>
                  </a:cubicBezTo>
                  <a:cubicBezTo>
                    <a:pt x="111" y="154"/>
                    <a:pt x="111" y="154"/>
                    <a:pt x="111" y="154"/>
                  </a:cubicBezTo>
                  <a:cubicBezTo>
                    <a:pt x="158" y="154"/>
                    <a:pt x="174" y="135"/>
                    <a:pt x="174" y="112"/>
                  </a:cubicBezTo>
                  <a:cubicBezTo>
                    <a:pt x="174" y="87"/>
                    <a:pt x="158" y="70"/>
                    <a:pt x="111" y="70"/>
                  </a:cubicBezTo>
                  <a:lnTo>
                    <a:pt x="50" y="70"/>
                  </a:lnTo>
                  <a:close/>
                  <a:moveTo>
                    <a:pt x="50" y="197"/>
                  </a:moveTo>
                  <a:cubicBezTo>
                    <a:pt x="50" y="289"/>
                    <a:pt x="50" y="289"/>
                    <a:pt x="50" y="289"/>
                  </a:cubicBezTo>
                  <a:cubicBezTo>
                    <a:pt x="117" y="289"/>
                    <a:pt x="117" y="289"/>
                    <a:pt x="117" y="289"/>
                  </a:cubicBezTo>
                  <a:cubicBezTo>
                    <a:pt x="167" y="289"/>
                    <a:pt x="184" y="270"/>
                    <a:pt x="184" y="243"/>
                  </a:cubicBezTo>
                  <a:cubicBezTo>
                    <a:pt x="184" y="216"/>
                    <a:pt x="167" y="197"/>
                    <a:pt x="117" y="197"/>
                  </a:cubicBezTo>
                  <a:lnTo>
                    <a:pt x="50" y="197"/>
                  </a:lnTo>
                  <a:close/>
                  <a:moveTo>
                    <a:pt x="279" y="0"/>
                  </a:moveTo>
                  <a:cubicBezTo>
                    <a:pt x="326" y="0"/>
                    <a:pt x="326" y="0"/>
                    <a:pt x="326" y="0"/>
                  </a:cubicBezTo>
                  <a:cubicBezTo>
                    <a:pt x="326" y="256"/>
                    <a:pt x="326" y="256"/>
                    <a:pt x="326" y="256"/>
                  </a:cubicBezTo>
                  <a:cubicBezTo>
                    <a:pt x="326" y="285"/>
                    <a:pt x="335" y="293"/>
                    <a:pt x="347" y="293"/>
                  </a:cubicBezTo>
                  <a:cubicBezTo>
                    <a:pt x="355" y="293"/>
                    <a:pt x="359" y="292"/>
                    <a:pt x="364" y="290"/>
                  </a:cubicBezTo>
                  <a:cubicBezTo>
                    <a:pt x="377" y="332"/>
                    <a:pt x="377" y="332"/>
                    <a:pt x="377" y="332"/>
                  </a:cubicBezTo>
                  <a:cubicBezTo>
                    <a:pt x="367" y="335"/>
                    <a:pt x="357" y="338"/>
                    <a:pt x="341" y="338"/>
                  </a:cubicBezTo>
                  <a:cubicBezTo>
                    <a:pt x="306" y="338"/>
                    <a:pt x="279" y="317"/>
                    <a:pt x="279" y="256"/>
                  </a:cubicBezTo>
                  <a:lnTo>
                    <a:pt x="279" y="0"/>
                  </a:lnTo>
                  <a:close/>
                  <a:moveTo>
                    <a:pt x="608" y="327"/>
                  </a:moveTo>
                  <a:cubicBezTo>
                    <a:pt x="579" y="334"/>
                    <a:pt x="549" y="339"/>
                    <a:pt x="508" y="339"/>
                  </a:cubicBezTo>
                  <a:cubicBezTo>
                    <a:pt x="450" y="339"/>
                    <a:pt x="407" y="310"/>
                    <a:pt x="407" y="236"/>
                  </a:cubicBezTo>
                  <a:cubicBezTo>
                    <a:pt x="407" y="96"/>
                    <a:pt x="407" y="96"/>
                    <a:pt x="407" y="96"/>
                  </a:cubicBezTo>
                  <a:cubicBezTo>
                    <a:pt x="454" y="96"/>
                    <a:pt x="454" y="96"/>
                    <a:pt x="454" y="96"/>
                  </a:cubicBezTo>
                  <a:cubicBezTo>
                    <a:pt x="454" y="239"/>
                    <a:pt x="454" y="239"/>
                    <a:pt x="454" y="239"/>
                  </a:cubicBezTo>
                  <a:cubicBezTo>
                    <a:pt x="454" y="283"/>
                    <a:pt x="477" y="294"/>
                    <a:pt x="512" y="294"/>
                  </a:cubicBezTo>
                  <a:cubicBezTo>
                    <a:pt x="534" y="294"/>
                    <a:pt x="546" y="293"/>
                    <a:pt x="560" y="290"/>
                  </a:cubicBezTo>
                  <a:cubicBezTo>
                    <a:pt x="560" y="96"/>
                    <a:pt x="560" y="96"/>
                    <a:pt x="560" y="96"/>
                  </a:cubicBezTo>
                  <a:cubicBezTo>
                    <a:pt x="608" y="96"/>
                    <a:pt x="608" y="96"/>
                    <a:pt x="608" y="96"/>
                  </a:cubicBezTo>
                  <a:lnTo>
                    <a:pt x="608" y="327"/>
                  </a:lnTo>
                  <a:close/>
                  <a:moveTo>
                    <a:pt x="867" y="233"/>
                  </a:moveTo>
                  <a:cubicBezTo>
                    <a:pt x="705" y="233"/>
                    <a:pt x="705" y="233"/>
                    <a:pt x="705" y="233"/>
                  </a:cubicBezTo>
                  <a:cubicBezTo>
                    <a:pt x="705" y="235"/>
                    <a:pt x="705" y="235"/>
                    <a:pt x="705" y="235"/>
                  </a:cubicBezTo>
                  <a:cubicBezTo>
                    <a:pt x="705" y="274"/>
                    <a:pt x="731" y="294"/>
                    <a:pt x="773" y="294"/>
                  </a:cubicBezTo>
                  <a:cubicBezTo>
                    <a:pt x="803" y="294"/>
                    <a:pt x="832" y="289"/>
                    <a:pt x="849" y="282"/>
                  </a:cubicBezTo>
                  <a:cubicBezTo>
                    <a:pt x="862" y="325"/>
                    <a:pt x="862" y="325"/>
                    <a:pt x="862" y="325"/>
                  </a:cubicBezTo>
                  <a:cubicBezTo>
                    <a:pt x="838" y="334"/>
                    <a:pt x="808" y="339"/>
                    <a:pt x="773" y="339"/>
                  </a:cubicBezTo>
                  <a:cubicBezTo>
                    <a:pt x="701" y="339"/>
                    <a:pt x="657" y="304"/>
                    <a:pt x="657" y="220"/>
                  </a:cubicBezTo>
                  <a:cubicBezTo>
                    <a:pt x="657" y="210"/>
                    <a:pt x="657" y="210"/>
                    <a:pt x="657" y="210"/>
                  </a:cubicBezTo>
                  <a:cubicBezTo>
                    <a:pt x="657" y="126"/>
                    <a:pt x="698" y="91"/>
                    <a:pt x="762" y="91"/>
                  </a:cubicBezTo>
                  <a:cubicBezTo>
                    <a:pt x="826" y="91"/>
                    <a:pt x="867" y="126"/>
                    <a:pt x="867" y="210"/>
                  </a:cubicBezTo>
                  <a:lnTo>
                    <a:pt x="867" y="233"/>
                  </a:lnTo>
                  <a:close/>
                  <a:moveTo>
                    <a:pt x="705" y="197"/>
                  </a:moveTo>
                  <a:cubicBezTo>
                    <a:pt x="818" y="197"/>
                    <a:pt x="818" y="197"/>
                    <a:pt x="818" y="197"/>
                  </a:cubicBezTo>
                  <a:cubicBezTo>
                    <a:pt x="818" y="195"/>
                    <a:pt x="818" y="195"/>
                    <a:pt x="818" y="195"/>
                  </a:cubicBezTo>
                  <a:cubicBezTo>
                    <a:pt x="818" y="154"/>
                    <a:pt x="797" y="136"/>
                    <a:pt x="762" y="136"/>
                  </a:cubicBezTo>
                  <a:cubicBezTo>
                    <a:pt x="728" y="136"/>
                    <a:pt x="705" y="154"/>
                    <a:pt x="705" y="195"/>
                  </a:cubicBezTo>
                  <a:lnTo>
                    <a:pt x="705" y="197"/>
                  </a:lnTo>
                  <a:close/>
                  <a:moveTo>
                    <a:pt x="1017" y="214"/>
                  </a:moveTo>
                  <a:cubicBezTo>
                    <a:pt x="1017" y="334"/>
                    <a:pt x="1017" y="334"/>
                    <a:pt x="1017" y="334"/>
                  </a:cubicBezTo>
                  <a:cubicBezTo>
                    <a:pt x="967" y="334"/>
                    <a:pt x="967" y="334"/>
                    <a:pt x="967" y="334"/>
                  </a:cubicBezTo>
                  <a:cubicBezTo>
                    <a:pt x="967" y="215"/>
                    <a:pt x="967" y="215"/>
                    <a:pt x="967" y="215"/>
                  </a:cubicBezTo>
                  <a:cubicBezTo>
                    <a:pt x="849" y="24"/>
                    <a:pt x="849" y="24"/>
                    <a:pt x="849" y="24"/>
                  </a:cubicBezTo>
                  <a:cubicBezTo>
                    <a:pt x="904" y="24"/>
                    <a:pt x="904" y="24"/>
                    <a:pt x="904" y="24"/>
                  </a:cubicBezTo>
                  <a:cubicBezTo>
                    <a:pt x="992" y="169"/>
                    <a:pt x="992" y="169"/>
                    <a:pt x="992" y="169"/>
                  </a:cubicBezTo>
                  <a:cubicBezTo>
                    <a:pt x="1080" y="24"/>
                    <a:pt x="1080" y="24"/>
                    <a:pt x="1080" y="24"/>
                  </a:cubicBezTo>
                  <a:cubicBezTo>
                    <a:pt x="1136" y="24"/>
                    <a:pt x="1136" y="24"/>
                    <a:pt x="1136" y="24"/>
                  </a:cubicBezTo>
                  <a:lnTo>
                    <a:pt x="1017" y="214"/>
                  </a:lnTo>
                  <a:close/>
                  <a:moveTo>
                    <a:pt x="1107" y="211"/>
                  </a:moveTo>
                  <a:cubicBezTo>
                    <a:pt x="1107" y="126"/>
                    <a:pt x="1152" y="91"/>
                    <a:pt x="1214" y="91"/>
                  </a:cubicBezTo>
                  <a:cubicBezTo>
                    <a:pt x="1276" y="91"/>
                    <a:pt x="1322" y="126"/>
                    <a:pt x="1322" y="211"/>
                  </a:cubicBezTo>
                  <a:cubicBezTo>
                    <a:pt x="1322" y="219"/>
                    <a:pt x="1322" y="219"/>
                    <a:pt x="1322" y="219"/>
                  </a:cubicBezTo>
                  <a:cubicBezTo>
                    <a:pt x="1322" y="304"/>
                    <a:pt x="1276" y="339"/>
                    <a:pt x="1214" y="339"/>
                  </a:cubicBezTo>
                  <a:cubicBezTo>
                    <a:pt x="1152" y="339"/>
                    <a:pt x="1107" y="304"/>
                    <a:pt x="1107" y="219"/>
                  </a:cubicBezTo>
                  <a:lnTo>
                    <a:pt x="1107" y="211"/>
                  </a:lnTo>
                  <a:close/>
                  <a:moveTo>
                    <a:pt x="1273" y="211"/>
                  </a:moveTo>
                  <a:cubicBezTo>
                    <a:pt x="1273" y="154"/>
                    <a:pt x="1251" y="136"/>
                    <a:pt x="1214" y="136"/>
                  </a:cubicBezTo>
                  <a:cubicBezTo>
                    <a:pt x="1176" y="136"/>
                    <a:pt x="1154" y="154"/>
                    <a:pt x="1154" y="211"/>
                  </a:cubicBezTo>
                  <a:cubicBezTo>
                    <a:pt x="1154" y="219"/>
                    <a:pt x="1154" y="219"/>
                    <a:pt x="1154" y="219"/>
                  </a:cubicBezTo>
                  <a:cubicBezTo>
                    <a:pt x="1154" y="276"/>
                    <a:pt x="1176" y="294"/>
                    <a:pt x="1214" y="294"/>
                  </a:cubicBezTo>
                  <a:cubicBezTo>
                    <a:pt x="1251" y="294"/>
                    <a:pt x="1273" y="276"/>
                    <a:pt x="1273" y="219"/>
                  </a:cubicBezTo>
                  <a:lnTo>
                    <a:pt x="1273" y="211"/>
                  </a:lnTo>
                  <a:close/>
                  <a:moveTo>
                    <a:pt x="1368" y="103"/>
                  </a:moveTo>
                  <a:cubicBezTo>
                    <a:pt x="1391" y="96"/>
                    <a:pt x="1427" y="91"/>
                    <a:pt x="1467" y="91"/>
                  </a:cubicBezTo>
                  <a:cubicBezTo>
                    <a:pt x="1526" y="91"/>
                    <a:pt x="1570" y="120"/>
                    <a:pt x="1570" y="195"/>
                  </a:cubicBezTo>
                  <a:cubicBezTo>
                    <a:pt x="1570" y="334"/>
                    <a:pt x="1570" y="334"/>
                    <a:pt x="1570" y="334"/>
                  </a:cubicBezTo>
                  <a:cubicBezTo>
                    <a:pt x="1522" y="334"/>
                    <a:pt x="1522" y="334"/>
                    <a:pt x="1522" y="334"/>
                  </a:cubicBezTo>
                  <a:cubicBezTo>
                    <a:pt x="1522" y="191"/>
                    <a:pt x="1522" y="191"/>
                    <a:pt x="1522" y="191"/>
                  </a:cubicBezTo>
                  <a:cubicBezTo>
                    <a:pt x="1522" y="147"/>
                    <a:pt x="1499" y="136"/>
                    <a:pt x="1464" y="136"/>
                  </a:cubicBezTo>
                  <a:cubicBezTo>
                    <a:pt x="1442" y="136"/>
                    <a:pt x="1431" y="137"/>
                    <a:pt x="1416" y="140"/>
                  </a:cubicBezTo>
                  <a:cubicBezTo>
                    <a:pt x="1416" y="334"/>
                    <a:pt x="1416" y="334"/>
                    <a:pt x="1416" y="334"/>
                  </a:cubicBezTo>
                  <a:cubicBezTo>
                    <a:pt x="1368" y="334"/>
                    <a:pt x="1368" y="334"/>
                    <a:pt x="1368" y="334"/>
                  </a:cubicBezTo>
                  <a:lnTo>
                    <a:pt x="1368" y="103"/>
                  </a:lnTo>
                  <a:close/>
                  <a:moveTo>
                    <a:pt x="1814" y="327"/>
                  </a:moveTo>
                  <a:cubicBezTo>
                    <a:pt x="1787" y="336"/>
                    <a:pt x="1747" y="339"/>
                    <a:pt x="1724" y="339"/>
                  </a:cubicBezTo>
                  <a:cubicBezTo>
                    <a:pt x="1658" y="339"/>
                    <a:pt x="1613" y="301"/>
                    <a:pt x="1613" y="220"/>
                  </a:cubicBezTo>
                  <a:cubicBezTo>
                    <a:pt x="1613" y="210"/>
                    <a:pt x="1613" y="210"/>
                    <a:pt x="1613" y="210"/>
                  </a:cubicBezTo>
                  <a:cubicBezTo>
                    <a:pt x="1613" y="128"/>
                    <a:pt x="1661" y="91"/>
                    <a:pt x="1725" y="91"/>
                  </a:cubicBezTo>
                  <a:cubicBezTo>
                    <a:pt x="1741" y="91"/>
                    <a:pt x="1756" y="93"/>
                    <a:pt x="1767" y="98"/>
                  </a:cubicBezTo>
                  <a:cubicBezTo>
                    <a:pt x="1767" y="0"/>
                    <a:pt x="1767" y="0"/>
                    <a:pt x="1767" y="0"/>
                  </a:cubicBezTo>
                  <a:cubicBezTo>
                    <a:pt x="1814" y="0"/>
                    <a:pt x="1814" y="0"/>
                    <a:pt x="1814" y="0"/>
                  </a:cubicBezTo>
                  <a:lnTo>
                    <a:pt x="1814" y="327"/>
                  </a:lnTo>
                  <a:close/>
                  <a:moveTo>
                    <a:pt x="1661" y="220"/>
                  </a:moveTo>
                  <a:cubicBezTo>
                    <a:pt x="1661" y="278"/>
                    <a:pt x="1685" y="294"/>
                    <a:pt x="1725" y="294"/>
                  </a:cubicBezTo>
                  <a:cubicBezTo>
                    <a:pt x="1744" y="294"/>
                    <a:pt x="1755" y="293"/>
                    <a:pt x="1767" y="290"/>
                  </a:cubicBezTo>
                  <a:cubicBezTo>
                    <a:pt x="1767" y="144"/>
                    <a:pt x="1767" y="144"/>
                    <a:pt x="1767" y="144"/>
                  </a:cubicBezTo>
                  <a:cubicBezTo>
                    <a:pt x="1761" y="141"/>
                    <a:pt x="1747" y="136"/>
                    <a:pt x="1728" y="136"/>
                  </a:cubicBezTo>
                  <a:cubicBezTo>
                    <a:pt x="1689" y="136"/>
                    <a:pt x="1661" y="151"/>
                    <a:pt x="1661" y="210"/>
                  </a:cubicBezTo>
                  <a:lnTo>
                    <a:pt x="1661" y="220"/>
                  </a:lnTo>
                  <a:close/>
                  <a:moveTo>
                    <a:pt x="2073" y="233"/>
                  </a:moveTo>
                  <a:cubicBezTo>
                    <a:pt x="1911" y="233"/>
                    <a:pt x="1911" y="233"/>
                    <a:pt x="1911" y="233"/>
                  </a:cubicBezTo>
                  <a:cubicBezTo>
                    <a:pt x="1911" y="235"/>
                    <a:pt x="1911" y="235"/>
                    <a:pt x="1911" y="235"/>
                  </a:cubicBezTo>
                  <a:cubicBezTo>
                    <a:pt x="1911" y="274"/>
                    <a:pt x="1937" y="294"/>
                    <a:pt x="1979" y="294"/>
                  </a:cubicBezTo>
                  <a:cubicBezTo>
                    <a:pt x="2009" y="294"/>
                    <a:pt x="2037" y="289"/>
                    <a:pt x="2054" y="282"/>
                  </a:cubicBezTo>
                  <a:cubicBezTo>
                    <a:pt x="2068" y="325"/>
                    <a:pt x="2068" y="325"/>
                    <a:pt x="2068" y="325"/>
                  </a:cubicBezTo>
                  <a:cubicBezTo>
                    <a:pt x="2044" y="334"/>
                    <a:pt x="2013" y="339"/>
                    <a:pt x="1979" y="339"/>
                  </a:cubicBezTo>
                  <a:cubicBezTo>
                    <a:pt x="1907" y="339"/>
                    <a:pt x="1862" y="304"/>
                    <a:pt x="1862" y="220"/>
                  </a:cubicBezTo>
                  <a:cubicBezTo>
                    <a:pt x="1862" y="210"/>
                    <a:pt x="1862" y="210"/>
                    <a:pt x="1862" y="210"/>
                  </a:cubicBezTo>
                  <a:cubicBezTo>
                    <a:pt x="1862" y="126"/>
                    <a:pt x="1903" y="91"/>
                    <a:pt x="1968" y="91"/>
                  </a:cubicBezTo>
                  <a:cubicBezTo>
                    <a:pt x="2032" y="91"/>
                    <a:pt x="2073" y="126"/>
                    <a:pt x="2073" y="210"/>
                  </a:cubicBezTo>
                  <a:lnTo>
                    <a:pt x="2073" y="233"/>
                  </a:lnTo>
                  <a:close/>
                  <a:moveTo>
                    <a:pt x="1912" y="197"/>
                  </a:moveTo>
                  <a:cubicBezTo>
                    <a:pt x="2025" y="197"/>
                    <a:pt x="2025" y="197"/>
                    <a:pt x="2025" y="197"/>
                  </a:cubicBezTo>
                  <a:cubicBezTo>
                    <a:pt x="2025" y="195"/>
                    <a:pt x="2025" y="195"/>
                    <a:pt x="2025" y="195"/>
                  </a:cubicBezTo>
                  <a:cubicBezTo>
                    <a:pt x="2025" y="154"/>
                    <a:pt x="2003" y="136"/>
                    <a:pt x="1969" y="136"/>
                  </a:cubicBezTo>
                  <a:cubicBezTo>
                    <a:pt x="1934" y="136"/>
                    <a:pt x="1912" y="154"/>
                    <a:pt x="1912" y="195"/>
                  </a:cubicBezTo>
                  <a:lnTo>
                    <a:pt x="1912" y="197"/>
                  </a:lnTo>
                  <a:close/>
                  <a:moveTo>
                    <a:pt x="2122" y="103"/>
                  </a:moveTo>
                  <a:cubicBezTo>
                    <a:pt x="2142" y="96"/>
                    <a:pt x="2174" y="91"/>
                    <a:pt x="2202" y="91"/>
                  </a:cubicBezTo>
                  <a:cubicBezTo>
                    <a:pt x="2225" y="91"/>
                    <a:pt x="2240" y="94"/>
                    <a:pt x="2256" y="98"/>
                  </a:cubicBezTo>
                  <a:cubicBezTo>
                    <a:pt x="2242" y="141"/>
                    <a:pt x="2242" y="141"/>
                    <a:pt x="2242" y="141"/>
                  </a:cubicBezTo>
                  <a:cubicBezTo>
                    <a:pt x="2232" y="138"/>
                    <a:pt x="2221" y="136"/>
                    <a:pt x="2205" y="136"/>
                  </a:cubicBezTo>
                  <a:cubicBezTo>
                    <a:pt x="2187" y="136"/>
                    <a:pt x="2178" y="138"/>
                    <a:pt x="2170" y="140"/>
                  </a:cubicBezTo>
                  <a:cubicBezTo>
                    <a:pt x="2170" y="334"/>
                    <a:pt x="2170" y="334"/>
                    <a:pt x="2170" y="334"/>
                  </a:cubicBezTo>
                  <a:cubicBezTo>
                    <a:pt x="2122" y="334"/>
                    <a:pt x="2122" y="334"/>
                    <a:pt x="2122" y="334"/>
                  </a:cubicBezTo>
                  <a:lnTo>
                    <a:pt x="21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5" name="Freeform 8">
              <a:extLst>
                <a:ext uri="{FF2B5EF4-FFF2-40B4-BE49-F238E27FC236}">
                  <a16:creationId xmlns:a16="http://schemas.microsoft.com/office/drawing/2014/main" id="{4D2C8BF2-4134-4597-B339-D83CA61B7D1D}"/>
                </a:ext>
              </a:extLst>
            </p:cNvPr>
            <p:cNvSpPr>
              <a:spLocks noEditPoints="1"/>
            </p:cNvSpPr>
            <p:nvPr userDrawn="1"/>
          </p:nvSpPr>
          <p:spPr bwMode="auto">
            <a:xfrm>
              <a:off x="4721225" y="3724275"/>
              <a:ext cx="1006475" cy="1009650"/>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Tree>
    <p:extLst>
      <p:ext uri="{BB962C8B-B14F-4D97-AF65-F5344CB8AC3E}">
        <p14:creationId xmlns:p14="http://schemas.microsoft.com/office/powerpoint/2010/main" val="372305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2369" y="1847088"/>
            <a:ext cx="5210623" cy="4297680"/>
          </a:xfrm>
          <a:prstGeom prst="rect">
            <a:avLst/>
          </a:prstGeom>
        </p:spPr>
        <p:txBody>
          <a:bodyPr vert="horz" lIns="0" tIns="45720" rIns="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89008" y="1847088"/>
            <a:ext cx="5210623" cy="4297680"/>
          </a:xfrm>
          <a:prstGeom prst="rect">
            <a:avLst/>
          </a:prstGeom>
        </p:spPr>
        <p:txBody>
          <a:bodyPr vert="horz" lIns="0" tIns="45720" rIns="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57E12BDE-6603-C54D-BF2E-739298A74037}"/>
              </a:ext>
            </a:extLst>
          </p:cNvPr>
          <p:cNvSpPr>
            <a:spLocks noGrp="1"/>
          </p:cNvSpPr>
          <p:nvPr>
            <p:ph type="sldNum" sz="quarter" idx="10"/>
          </p:nvPr>
        </p:nvSpPr>
        <p:spPr/>
        <p:txBody>
          <a:bodyPr/>
          <a:lstStyle/>
          <a:p>
            <a:fld id="{523A240F-EAFE-E84F-B44C-6D7A08E0E409}" type="slidenum">
              <a:rPr lang="en-US" smtClean="0"/>
              <a:t>‹#›</a:t>
            </a:fld>
            <a:endParaRPr lang="en-US"/>
          </a:p>
        </p:txBody>
      </p:sp>
      <p:sp>
        <p:nvSpPr>
          <p:cNvPr id="9" name="Title 8">
            <a:extLst>
              <a:ext uri="{FF2B5EF4-FFF2-40B4-BE49-F238E27FC236}">
                <a16:creationId xmlns:a16="http://schemas.microsoft.com/office/drawing/2014/main" id="{2F36F333-8170-B347-8E90-85681B44B80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055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2369" y="1847088"/>
            <a:ext cx="3364206" cy="4297680"/>
          </a:xfrm>
          <a:prstGeom prst="rect">
            <a:avLst/>
          </a:prstGeom>
        </p:spPr>
        <p:txBody>
          <a:bodyPr vert="horz" lIns="0" tIns="45720" rIns="0" bIns="45720" rtlCol="0">
            <a:noAutofit/>
          </a:bodyPr>
          <a:lstStyle>
            <a:lvl1pPr>
              <a:defRPr lang="en-US" sz="1800" dirty="0"/>
            </a:lvl1pPr>
            <a:lvl2pPr>
              <a:defRPr lang="en-US" sz="1800" dirty="0"/>
            </a:lvl2pPr>
            <a:lvl3pPr>
              <a:defRPr lang="en-US" sz="1800" dirty="0"/>
            </a:lvl3pPr>
            <a:lvl4pPr>
              <a:defRPr lang="en-US" sz="1800" dirty="0"/>
            </a:lvl4pPr>
            <a:lvl5pPr>
              <a:defRPr lang="en-US" sz="1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235421" y="1847088"/>
            <a:ext cx="3364205" cy="4297680"/>
          </a:xfrm>
          <a:prstGeom prst="rect">
            <a:avLst/>
          </a:prstGeom>
        </p:spPr>
        <p:txBody>
          <a:bodyPr vert="horz" lIns="0" tIns="45720" rIns="0" bIns="45720" rtlCol="0">
            <a:noAutofit/>
          </a:bodyPr>
          <a:lstStyle>
            <a:lvl1pPr>
              <a:defRPr lang="en-US" sz="1800" dirty="0"/>
            </a:lvl1pPr>
            <a:lvl2pPr>
              <a:defRPr lang="en-US" sz="1800" dirty="0"/>
            </a:lvl2pPr>
            <a:lvl3pPr>
              <a:defRPr lang="en-US" sz="1800" dirty="0"/>
            </a:lvl3pPr>
            <a:lvl4pPr>
              <a:defRPr lang="en-US" sz="1800" dirty="0"/>
            </a:lvl4pPr>
            <a:lvl5pPr>
              <a:defRPr lang="en-US" sz="1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57E12BDE-6603-C54D-BF2E-739298A74037}"/>
              </a:ext>
            </a:extLst>
          </p:cNvPr>
          <p:cNvSpPr>
            <a:spLocks noGrp="1"/>
          </p:cNvSpPr>
          <p:nvPr>
            <p:ph type="sldNum" sz="quarter" idx="10"/>
          </p:nvPr>
        </p:nvSpPr>
        <p:spPr/>
        <p:txBody>
          <a:bodyPr/>
          <a:lstStyle/>
          <a:p>
            <a:fld id="{523A240F-EAFE-E84F-B44C-6D7A08E0E409}" type="slidenum">
              <a:rPr lang="en-US" smtClean="0"/>
              <a:t>‹#›</a:t>
            </a:fld>
            <a:endParaRPr lang="en-US"/>
          </a:p>
        </p:txBody>
      </p:sp>
      <p:sp>
        <p:nvSpPr>
          <p:cNvPr id="9" name="Title 8">
            <a:extLst>
              <a:ext uri="{FF2B5EF4-FFF2-40B4-BE49-F238E27FC236}">
                <a16:creationId xmlns:a16="http://schemas.microsoft.com/office/drawing/2014/main" id="{2F36F333-8170-B347-8E90-85681B44B80C}"/>
              </a:ext>
            </a:extLst>
          </p:cNvPr>
          <p:cNvSpPr>
            <a:spLocks noGrp="1"/>
          </p:cNvSpPr>
          <p:nvPr>
            <p:ph type="title"/>
          </p:nvPr>
        </p:nvSpPr>
        <p:spPr/>
        <p:txBody>
          <a:bodyPr/>
          <a:lstStyle/>
          <a:p>
            <a:r>
              <a:rPr lang="en-US"/>
              <a:t>Click to edit Master title style</a:t>
            </a:r>
          </a:p>
        </p:txBody>
      </p:sp>
      <p:sp>
        <p:nvSpPr>
          <p:cNvPr id="7" name="Content Placeholder 3">
            <a:extLst>
              <a:ext uri="{FF2B5EF4-FFF2-40B4-BE49-F238E27FC236}">
                <a16:creationId xmlns:a16="http://schemas.microsoft.com/office/drawing/2014/main" id="{792E32E8-2525-7746-BD70-CB9A91433890}"/>
              </a:ext>
            </a:extLst>
          </p:cNvPr>
          <p:cNvSpPr>
            <a:spLocks noGrp="1"/>
          </p:cNvSpPr>
          <p:nvPr>
            <p:ph sz="half" idx="11"/>
          </p:nvPr>
        </p:nvSpPr>
        <p:spPr>
          <a:xfrm>
            <a:off x="4413895" y="1847088"/>
            <a:ext cx="3364205" cy="4297680"/>
          </a:xfrm>
          <a:prstGeom prst="rect">
            <a:avLst/>
          </a:prstGeom>
        </p:spPr>
        <p:txBody>
          <a:bodyPr vert="horz" lIns="0" tIns="45720" rIns="0" bIns="45720" rtlCol="0">
            <a:noAutofit/>
          </a:bodyPr>
          <a:lstStyle>
            <a:lvl1pPr>
              <a:defRPr lang="en-US" sz="1800" dirty="0"/>
            </a:lvl1pPr>
            <a:lvl2pPr>
              <a:defRPr lang="en-US" sz="1800" dirty="0"/>
            </a:lvl2pPr>
            <a:lvl3pPr>
              <a:defRPr lang="en-US" sz="1800" dirty="0"/>
            </a:lvl3pPr>
            <a:lvl4pPr>
              <a:defRPr lang="en-US" sz="1800" dirty="0"/>
            </a:lvl4pPr>
            <a:lvl5pPr>
              <a:defRPr lang="en-US" sz="1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412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Imag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073989E8-7664-1F4A-8444-CAB81F9744E5}"/>
              </a:ext>
            </a:extLst>
          </p:cNvPr>
          <p:cNvSpPr>
            <a:spLocks noGrp="1"/>
          </p:cNvSpPr>
          <p:nvPr>
            <p:ph type="pic" sz="quarter" idx="11"/>
          </p:nvPr>
        </p:nvSpPr>
        <p:spPr>
          <a:xfrm>
            <a:off x="7103265" y="2"/>
            <a:ext cx="5088735" cy="6857999"/>
          </a:xfrm>
          <a:custGeom>
            <a:avLst/>
            <a:gdLst>
              <a:gd name="connsiteX0" fmla="*/ 1603589 w 5087410"/>
              <a:gd name="connsiteY0" fmla="*/ 0 h 6857999"/>
              <a:gd name="connsiteX1" fmla="*/ 5087410 w 5087410"/>
              <a:gd name="connsiteY1" fmla="*/ 0 h 6857999"/>
              <a:gd name="connsiteX2" fmla="*/ 5087410 w 5087410"/>
              <a:gd name="connsiteY2" fmla="*/ 6857999 h 6857999"/>
              <a:gd name="connsiteX3" fmla="*/ 1622758 w 5087410"/>
              <a:gd name="connsiteY3" fmla="*/ 6857999 h 6857999"/>
              <a:gd name="connsiteX4" fmla="*/ 1592601 w 5087410"/>
              <a:gd name="connsiteY4" fmla="*/ 6833228 h 6857999"/>
              <a:gd name="connsiteX5" fmla="*/ 0 w 5087410"/>
              <a:gd name="connsiteY5" fmla="*/ 3421127 h 6857999"/>
              <a:gd name="connsiteX6" fmla="*/ 1592600 w 5087410"/>
              <a:gd name="connsiteY6" fmla="*/ 902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7410" h="6857999">
                <a:moveTo>
                  <a:pt x="1603589" y="0"/>
                </a:moveTo>
                <a:lnTo>
                  <a:pt x="5087410" y="0"/>
                </a:lnTo>
                <a:lnTo>
                  <a:pt x="5087410" y="6857999"/>
                </a:lnTo>
                <a:lnTo>
                  <a:pt x="1622758" y="6857999"/>
                </a:lnTo>
                <a:lnTo>
                  <a:pt x="1592601" y="6833228"/>
                </a:lnTo>
                <a:cubicBezTo>
                  <a:pt x="614233" y="5990006"/>
                  <a:pt x="0" y="4773586"/>
                  <a:pt x="0" y="3421127"/>
                </a:cubicBezTo>
                <a:cubicBezTo>
                  <a:pt x="0" y="2068668"/>
                  <a:pt x="614233" y="852249"/>
                  <a:pt x="1592600" y="9027"/>
                </a:cubicBezTo>
                <a:close/>
              </a:path>
            </a:pathLst>
          </a:custGeom>
          <a:solidFill>
            <a:schemeClr val="bg1">
              <a:lumMod val="95000"/>
            </a:schemeClr>
          </a:solidFill>
        </p:spPr>
        <p:txBody>
          <a:bodyPr wrap="square">
            <a:noAutofit/>
          </a:bodyPr>
          <a:lstStyle>
            <a:lvl1pPr algn="ctr">
              <a:defRPr>
                <a:solidFill>
                  <a:srgbClr val="FF0000"/>
                </a:solidFill>
              </a:defRPr>
            </a:lvl1pPr>
          </a:lstStyle>
          <a:p>
            <a:r>
              <a:rPr lang="en-US"/>
              <a:t>Click icon to add picture</a:t>
            </a:r>
            <a:endParaRPr lang="en-US" dirty="0"/>
          </a:p>
        </p:txBody>
      </p:sp>
      <p:sp>
        <p:nvSpPr>
          <p:cNvPr id="3" name="Content Placeholder 2"/>
          <p:cNvSpPr>
            <a:spLocks noGrp="1"/>
          </p:cNvSpPr>
          <p:nvPr>
            <p:ph sz="half" idx="1"/>
          </p:nvPr>
        </p:nvSpPr>
        <p:spPr>
          <a:xfrm>
            <a:off x="592369" y="1847088"/>
            <a:ext cx="5940761" cy="4297680"/>
          </a:xfrm>
          <a:prstGeom prst="rect">
            <a:avLst/>
          </a:prstGeom>
        </p:spPr>
        <p:txBody>
          <a:bodyPr vert="horz" lIns="0" tIns="45720" rIns="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57E12BDE-6603-C54D-BF2E-739298A74037}"/>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Title 8">
            <a:extLst>
              <a:ext uri="{FF2B5EF4-FFF2-40B4-BE49-F238E27FC236}">
                <a16:creationId xmlns:a16="http://schemas.microsoft.com/office/drawing/2014/main" id="{2F36F333-8170-B347-8E90-85681B44B80C}"/>
              </a:ext>
            </a:extLst>
          </p:cNvPr>
          <p:cNvSpPr>
            <a:spLocks noGrp="1"/>
          </p:cNvSpPr>
          <p:nvPr>
            <p:ph type="title"/>
          </p:nvPr>
        </p:nvSpPr>
        <p:spPr>
          <a:xfrm>
            <a:off x="592369" y="578520"/>
            <a:ext cx="5940762" cy="822960"/>
          </a:xfrm>
        </p:spPr>
        <p:txBody>
          <a:bodyPr/>
          <a:lstStyle/>
          <a:p>
            <a:r>
              <a:rPr lang="en-US"/>
              <a:t>Click to edit Master title style</a:t>
            </a:r>
            <a:endParaRPr lang="en-US" dirty="0"/>
          </a:p>
        </p:txBody>
      </p:sp>
    </p:spTree>
    <p:extLst>
      <p:ext uri="{BB962C8B-B14F-4D97-AF65-F5344CB8AC3E}">
        <p14:creationId xmlns:p14="http://schemas.microsoft.com/office/powerpoint/2010/main" val="136284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CC18E0B5-829F-DA4D-A88F-F79010E86195}"/>
              </a:ext>
            </a:extLst>
          </p:cNvPr>
          <p:cNvSpPr>
            <a:spLocks noGrp="1"/>
          </p:cNvSpPr>
          <p:nvPr>
            <p:ph type="sldNum" sz="quarter" idx="10"/>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244531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Cyan">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7840A2-84A7-604C-9296-20A7C350D7B6}"/>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7" name="TextBox 6">
            <a:extLst>
              <a:ext uri="{FF2B5EF4-FFF2-40B4-BE49-F238E27FC236}">
                <a16:creationId xmlns:a16="http://schemas.microsoft.com/office/drawing/2014/main" id="{D2FAF79E-94ED-1B44-A982-5B373B1913D9}"/>
              </a:ext>
            </a:extLst>
          </p:cNvPr>
          <p:cNvSpPr txBox="1"/>
          <p:nvPr/>
        </p:nvSpPr>
        <p:spPr>
          <a:xfrm>
            <a:off x="1058789" y="6627168"/>
            <a:ext cx="2435916" cy="230832"/>
          </a:xfrm>
          <a:prstGeom prst="rect">
            <a:avLst/>
          </a:prstGeom>
        </p:spPr>
        <p:txBody>
          <a:bodyPr lIns="0" rIns="0"/>
          <a:lstStyle>
            <a:defPPr>
              <a:defRPr lang="en-US"/>
            </a:defPPr>
            <a:lvl1pPr algn="r">
              <a:defRPr sz="900"/>
            </a:lvl1pPr>
          </a:lstStyle>
          <a:p>
            <a:pPr lvl="0" algn="l"/>
            <a:r>
              <a:rPr lang="en-US" sz="800">
                <a:solidFill>
                  <a:schemeClr val="bg1"/>
                </a:solidFill>
              </a:rPr>
              <a:t>Copyright © 2020 Blue Yonder Group, Inc.</a:t>
            </a:r>
            <a:endParaRPr lang="en-US" sz="800" dirty="0">
              <a:solidFill>
                <a:schemeClr val="bg1"/>
              </a:solidFill>
            </a:endParaRPr>
          </a:p>
        </p:txBody>
      </p:sp>
      <p:sp>
        <p:nvSpPr>
          <p:cNvPr id="8" name="Title 1">
            <a:extLst>
              <a:ext uri="{FF2B5EF4-FFF2-40B4-BE49-F238E27FC236}">
                <a16:creationId xmlns:a16="http://schemas.microsoft.com/office/drawing/2014/main" id="{3AE1E244-E9FE-4886-B550-BC03E5C11747}"/>
              </a:ext>
            </a:extLst>
          </p:cNvPr>
          <p:cNvSpPr>
            <a:spLocks noGrp="1"/>
          </p:cNvSpPr>
          <p:nvPr>
            <p:ph type="title"/>
          </p:nvPr>
        </p:nvSpPr>
        <p:spPr>
          <a:xfrm>
            <a:off x="592369" y="578520"/>
            <a:ext cx="11007264" cy="822960"/>
          </a:xfrm>
        </p:spPr>
        <p:txBody>
          <a:bodyPr/>
          <a:lstStyle>
            <a:lvl1pPr>
              <a:defRPr>
                <a:solidFill>
                  <a:schemeClr val="bg1"/>
                </a:solidFill>
              </a:defRPr>
            </a:lvl1pPr>
          </a:lstStyle>
          <a:p>
            <a:r>
              <a:rPr lang="en-US"/>
              <a:t>Click to edit Master title style</a:t>
            </a:r>
          </a:p>
        </p:txBody>
      </p:sp>
      <p:sp>
        <p:nvSpPr>
          <p:cNvPr id="9" name="Freeform 8">
            <a:extLst>
              <a:ext uri="{FF2B5EF4-FFF2-40B4-BE49-F238E27FC236}">
                <a16:creationId xmlns:a16="http://schemas.microsoft.com/office/drawing/2014/main" id="{64D8AD75-3C12-449C-9909-9C8CF483FBD5}"/>
              </a:ext>
            </a:extLst>
          </p:cNvPr>
          <p:cNvSpPr>
            <a:spLocks noEditPoints="1"/>
          </p:cNvSpPr>
          <p:nvPr userDrawn="1"/>
        </p:nvSpPr>
        <p:spPr bwMode="auto">
          <a:xfrm>
            <a:off x="456072" y="6349220"/>
            <a:ext cx="419302" cy="420625"/>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9261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2369" y="578520"/>
            <a:ext cx="11007264" cy="822960"/>
          </a:xfrm>
          <a:prstGeom prst="rect">
            <a:avLst/>
          </a:prstGeom>
        </p:spPr>
        <p:txBody>
          <a:bodyPr vert="horz" lIns="0" tIns="45720" rIns="0" bIns="45720" rtlCol="0" anchor="t">
            <a:noAutofit/>
          </a:bodyPr>
          <a:lstStyle/>
          <a:p>
            <a:r>
              <a:rPr lang="en-US"/>
              <a:t>Click to edit Master title style</a:t>
            </a:r>
            <a:endParaRPr lang="en-US" dirty="0"/>
          </a:p>
        </p:txBody>
      </p:sp>
      <p:sp>
        <p:nvSpPr>
          <p:cNvPr id="19" name="Slide Number Placeholder 5"/>
          <p:cNvSpPr>
            <a:spLocks noGrp="1"/>
          </p:cNvSpPr>
          <p:nvPr>
            <p:ph type="sldNum" sz="quarter" idx="4"/>
          </p:nvPr>
        </p:nvSpPr>
        <p:spPr>
          <a:xfrm>
            <a:off x="11141611" y="6613526"/>
            <a:ext cx="458022" cy="244475"/>
          </a:xfrm>
          <a:prstGeom prst="rect">
            <a:avLst/>
          </a:prstGeom>
        </p:spPr>
        <p:txBody>
          <a:bodyPr rIns="0"/>
          <a:lstStyle>
            <a:lvl1pPr algn="r">
              <a:defRPr sz="900"/>
            </a:lvl1pPr>
          </a:lstStyle>
          <a:p>
            <a:fld id="{523A240F-EAFE-E84F-B44C-6D7A08E0E409}" type="slidenum">
              <a:rPr lang="en-US" smtClean="0"/>
              <a:t>‹#›</a:t>
            </a:fld>
            <a:endParaRPr lang="en-US"/>
          </a:p>
        </p:txBody>
      </p:sp>
      <p:sp>
        <p:nvSpPr>
          <p:cNvPr id="3" name="Text Placeholder 2"/>
          <p:cNvSpPr>
            <a:spLocks noGrp="1"/>
          </p:cNvSpPr>
          <p:nvPr>
            <p:ph type="body" idx="1"/>
          </p:nvPr>
        </p:nvSpPr>
        <p:spPr>
          <a:xfrm>
            <a:off x="592368" y="1847210"/>
            <a:ext cx="11007265" cy="429768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reeform 8">
            <a:extLst>
              <a:ext uri="{FF2B5EF4-FFF2-40B4-BE49-F238E27FC236}">
                <a16:creationId xmlns:a16="http://schemas.microsoft.com/office/drawing/2014/main" id="{7585B6AE-7D29-4640-B558-40092F535F80}"/>
              </a:ext>
            </a:extLst>
          </p:cNvPr>
          <p:cNvSpPr>
            <a:spLocks noEditPoints="1"/>
          </p:cNvSpPr>
          <p:nvPr userDrawn="1"/>
        </p:nvSpPr>
        <p:spPr bwMode="auto">
          <a:xfrm>
            <a:off x="456072" y="6349220"/>
            <a:ext cx="419302" cy="420625"/>
          </a:xfrm>
          <a:custGeom>
            <a:avLst/>
            <a:gdLst>
              <a:gd name="T0" fmla="*/ 196 w 391"/>
              <a:gd name="T1" fmla="*/ 0 h 392"/>
              <a:gd name="T2" fmla="*/ 135 w 391"/>
              <a:gd name="T3" fmla="*/ 61 h 392"/>
              <a:gd name="T4" fmla="*/ 196 w 391"/>
              <a:gd name="T5" fmla="*/ 122 h 392"/>
              <a:gd name="T6" fmla="*/ 256 w 391"/>
              <a:gd name="T7" fmla="*/ 61 h 392"/>
              <a:gd name="T8" fmla="*/ 196 w 391"/>
              <a:gd name="T9" fmla="*/ 0 h 392"/>
              <a:gd name="T10" fmla="*/ 196 w 391"/>
              <a:gd name="T11" fmla="*/ 392 h 392"/>
              <a:gd name="T12" fmla="*/ 256 w 391"/>
              <a:gd name="T13" fmla="*/ 331 h 392"/>
              <a:gd name="T14" fmla="*/ 196 w 391"/>
              <a:gd name="T15" fmla="*/ 270 h 392"/>
              <a:gd name="T16" fmla="*/ 135 w 391"/>
              <a:gd name="T17" fmla="*/ 331 h 392"/>
              <a:gd name="T18" fmla="*/ 196 w 391"/>
              <a:gd name="T19" fmla="*/ 392 h 392"/>
              <a:gd name="T20" fmla="*/ 208 w 391"/>
              <a:gd name="T21" fmla="*/ 196 h 392"/>
              <a:gd name="T22" fmla="*/ 217 w 391"/>
              <a:gd name="T23" fmla="*/ 209 h 392"/>
              <a:gd name="T24" fmla="*/ 217 w 391"/>
              <a:gd name="T25" fmla="*/ 209 h 392"/>
              <a:gd name="T26" fmla="*/ 305 w 391"/>
              <a:gd name="T27" fmla="*/ 251 h 392"/>
              <a:gd name="T28" fmla="*/ 305 w 391"/>
              <a:gd name="T29" fmla="*/ 251 h 392"/>
              <a:gd name="T30" fmla="*/ 331 w 391"/>
              <a:gd name="T31" fmla="*/ 257 h 392"/>
              <a:gd name="T32" fmla="*/ 391 w 391"/>
              <a:gd name="T33" fmla="*/ 196 h 392"/>
              <a:gd name="T34" fmla="*/ 331 w 391"/>
              <a:gd name="T35" fmla="*/ 135 h 392"/>
              <a:gd name="T36" fmla="*/ 305 w 391"/>
              <a:gd name="T37" fmla="*/ 141 h 392"/>
              <a:gd name="T38" fmla="*/ 305 w 391"/>
              <a:gd name="T39" fmla="*/ 141 h 392"/>
              <a:gd name="T40" fmla="*/ 217 w 391"/>
              <a:gd name="T41" fmla="*/ 182 h 392"/>
              <a:gd name="T42" fmla="*/ 217 w 391"/>
              <a:gd name="T43" fmla="*/ 183 h 392"/>
              <a:gd name="T44" fmla="*/ 208 w 391"/>
              <a:gd name="T45" fmla="*/ 196 h 392"/>
              <a:gd name="T46" fmla="*/ 183 w 391"/>
              <a:gd name="T47" fmla="*/ 196 h 392"/>
              <a:gd name="T48" fmla="*/ 174 w 391"/>
              <a:gd name="T49" fmla="*/ 183 h 392"/>
              <a:gd name="T50" fmla="*/ 174 w 391"/>
              <a:gd name="T51" fmla="*/ 183 h 392"/>
              <a:gd name="T52" fmla="*/ 86 w 391"/>
              <a:gd name="T53" fmla="*/ 141 h 392"/>
              <a:gd name="T54" fmla="*/ 86 w 391"/>
              <a:gd name="T55" fmla="*/ 141 h 392"/>
              <a:gd name="T56" fmla="*/ 61 w 391"/>
              <a:gd name="T57" fmla="*/ 135 h 392"/>
              <a:gd name="T58" fmla="*/ 0 w 391"/>
              <a:gd name="T59" fmla="*/ 196 h 392"/>
              <a:gd name="T60" fmla="*/ 61 w 391"/>
              <a:gd name="T61" fmla="*/ 257 h 392"/>
              <a:gd name="T62" fmla="*/ 86 w 391"/>
              <a:gd name="T63" fmla="*/ 251 h 392"/>
              <a:gd name="T64" fmla="*/ 86 w 391"/>
              <a:gd name="T65" fmla="*/ 251 h 392"/>
              <a:gd name="T66" fmla="*/ 174 w 391"/>
              <a:gd name="T67" fmla="*/ 209 h 392"/>
              <a:gd name="T68" fmla="*/ 174 w 391"/>
              <a:gd name="T69" fmla="*/ 209 h 392"/>
              <a:gd name="T70" fmla="*/ 183 w 391"/>
              <a:gd name="T71" fmla="*/ 1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392">
                <a:moveTo>
                  <a:pt x="196" y="0"/>
                </a:moveTo>
                <a:cubicBezTo>
                  <a:pt x="162" y="0"/>
                  <a:pt x="135" y="27"/>
                  <a:pt x="135" y="61"/>
                </a:cubicBezTo>
                <a:cubicBezTo>
                  <a:pt x="135" y="94"/>
                  <a:pt x="162" y="122"/>
                  <a:pt x="196" y="122"/>
                </a:cubicBezTo>
                <a:cubicBezTo>
                  <a:pt x="229" y="122"/>
                  <a:pt x="256" y="94"/>
                  <a:pt x="256" y="61"/>
                </a:cubicBezTo>
                <a:cubicBezTo>
                  <a:pt x="256" y="27"/>
                  <a:pt x="229" y="0"/>
                  <a:pt x="196" y="0"/>
                </a:cubicBezTo>
                <a:close/>
                <a:moveTo>
                  <a:pt x="196" y="392"/>
                </a:moveTo>
                <a:cubicBezTo>
                  <a:pt x="229" y="392"/>
                  <a:pt x="256" y="364"/>
                  <a:pt x="256" y="331"/>
                </a:cubicBezTo>
                <a:cubicBezTo>
                  <a:pt x="256" y="297"/>
                  <a:pt x="229" y="270"/>
                  <a:pt x="196" y="270"/>
                </a:cubicBezTo>
                <a:cubicBezTo>
                  <a:pt x="162" y="270"/>
                  <a:pt x="135" y="297"/>
                  <a:pt x="135" y="331"/>
                </a:cubicBezTo>
                <a:cubicBezTo>
                  <a:pt x="135" y="364"/>
                  <a:pt x="162" y="392"/>
                  <a:pt x="196" y="392"/>
                </a:cubicBezTo>
                <a:close/>
                <a:moveTo>
                  <a:pt x="208" y="196"/>
                </a:moveTo>
                <a:cubicBezTo>
                  <a:pt x="208" y="202"/>
                  <a:pt x="212" y="207"/>
                  <a:pt x="217" y="209"/>
                </a:cubicBezTo>
                <a:cubicBezTo>
                  <a:pt x="217" y="209"/>
                  <a:pt x="217" y="209"/>
                  <a:pt x="217" y="209"/>
                </a:cubicBezTo>
                <a:cubicBezTo>
                  <a:pt x="305" y="251"/>
                  <a:pt x="305" y="251"/>
                  <a:pt x="305" y="251"/>
                </a:cubicBezTo>
                <a:cubicBezTo>
                  <a:pt x="305" y="251"/>
                  <a:pt x="305" y="251"/>
                  <a:pt x="305" y="251"/>
                </a:cubicBezTo>
                <a:cubicBezTo>
                  <a:pt x="313" y="254"/>
                  <a:pt x="321" y="257"/>
                  <a:pt x="331" y="257"/>
                </a:cubicBezTo>
                <a:cubicBezTo>
                  <a:pt x="364" y="257"/>
                  <a:pt x="391" y="229"/>
                  <a:pt x="391" y="196"/>
                </a:cubicBezTo>
                <a:cubicBezTo>
                  <a:pt x="391" y="162"/>
                  <a:pt x="364" y="135"/>
                  <a:pt x="331" y="135"/>
                </a:cubicBezTo>
                <a:cubicBezTo>
                  <a:pt x="321" y="135"/>
                  <a:pt x="313" y="137"/>
                  <a:pt x="305" y="141"/>
                </a:cubicBezTo>
                <a:cubicBezTo>
                  <a:pt x="305" y="141"/>
                  <a:pt x="305" y="141"/>
                  <a:pt x="305" y="141"/>
                </a:cubicBezTo>
                <a:cubicBezTo>
                  <a:pt x="217" y="182"/>
                  <a:pt x="217" y="182"/>
                  <a:pt x="217" y="182"/>
                </a:cubicBezTo>
                <a:cubicBezTo>
                  <a:pt x="217" y="183"/>
                  <a:pt x="217" y="183"/>
                  <a:pt x="217" y="183"/>
                </a:cubicBezTo>
                <a:cubicBezTo>
                  <a:pt x="212" y="185"/>
                  <a:pt x="208" y="190"/>
                  <a:pt x="208" y="196"/>
                </a:cubicBezTo>
                <a:close/>
                <a:moveTo>
                  <a:pt x="183" y="196"/>
                </a:moveTo>
                <a:cubicBezTo>
                  <a:pt x="183" y="190"/>
                  <a:pt x="179" y="185"/>
                  <a:pt x="174" y="183"/>
                </a:cubicBezTo>
                <a:cubicBezTo>
                  <a:pt x="174" y="183"/>
                  <a:pt x="174" y="183"/>
                  <a:pt x="174" y="183"/>
                </a:cubicBezTo>
                <a:cubicBezTo>
                  <a:pt x="86" y="141"/>
                  <a:pt x="86" y="141"/>
                  <a:pt x="86" y="141"/>
                </a:cubicBezTo>
                <a:cubicBezTo>
                  <a:pt x="86" y="141"/>
                  <a:pt x="86" y="141"/>
                  <a:pt x="86" y="141"/>
                </a:cubicBezTo>
                <a:cubicBezTo>
                  <a:pt x="79" y="137"/>
                  <a:pt x="70" y="135"/>
                  <a:pt x="61" y="135"/>
                </a:cubicBezTo>
                <a:cubicBezTo>
                  <a:pt x="27" y="135"/>
                  <a:pt x="0" y="162"/>
                  <a:pt x="0" y="196"/>
                </a:cubicBezTo>
                <a:cubicBezTo>
                  <a:pt x="0" y="229"/>
                  <a:pt x="27" y="257"/>
                  <a:pt x="61" y="257"/>
                </a:cubicBezTo>
                <a:cubicBezTo>
                  <a:pt x="70" y="257"/>
                  <a:pt x="79" y="254"/>
                  <a:pt x="86" y="251"/>
                </a:cubicBezTo>
                <a:cubicBezTo>
                  <a:pt x="86" y="251"/>
                  <a:pt x="86" y="251"/>
                  <a:pt x="86" y="251"/>
                </a:cubicBezTo>
                <a:cubicBezTo>
                  <a:pt x="174" y="209"/>
                  <a:pt x="174" y="209"/>
                  <a:pt x="174" y="209"/>
                </a:cubicBezTo>
                <a:cubicBezTo>
                  <a:pt x="174" y="209"/>
                  <a:pt x="174" y="209"/>
                  <a:pt x="174" y="209"/>
                </a:cubicBezTo>
                <a:cubicBezTo>
                  <a:pt x="179" y="207"/>
                  <a:pt x="183" y="202"/>
                  <a:pt x="183" y="1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extBox 6">
            <a:extLst>
              <a:ext uri="{FF2B5EF4-FFF2-40B4-BE49-F238E27FC236}">
                <a16:creationId xmlns:a16="http://schemas.microsoft.com/office/drawing/2014/main" id="{DBA5326E-3DAE-4BFC-8727-912F3EBC2BDF}"/>
              </a:ext>
            </a:extLst>
          </p:cNvPr>
          <p:cNvSpPr txBox="1"/>
          <p:nvPr userDrawn="1"/>
        </p:nvSpPr>
        <p:spPr>
          <a:xfrm>
            <a:off x="1058789" y="6627168"/>
            <a:ext cx="2435916" cy="230832"/>
          </a:xfrm>
          <a:prstGeom prst="rect">
            <a:avLst/>
          </a:prstGeom>
        </p:spPr>
        <p:txBody>
          <a:bodyPr lIns="0" rIns="0"/>
          <a:lstStyle>
            <a:defPPr>
              <a:defRPr lang="en-US"/>
            </a:defPPr>
            <a:lvl1pPr algn="r">
              <a:defRPr sz="900"/>
            </a:lvl1pPr>
          </a:lstStyle>
          <a:p>
            <a:pPr lvl="0" algn="l"/>
            <a:r>
              <a:rPr lang="en-US" sz="800" dirty="0"/>
              <a:t>Copyright © 2020 Blue Yonder Group, Inc.</a:t>
            </a:r>
          </a:p>
        </p:txBody>
      </p:sp>
    </p:spTree>
    <p:extLst>
      <p:ext uri="{BB962C8B-B14F-4D97-AF65-F5344CB8AC3E}">
        <p14:creationId xmlns:p14="http://schemas.microsoft.com/office/powerpoint/2010/main" val="3035518855"/>
      </p:ext>
    </p:extLst>
  </p:cSld>
  <p:clrMap bg1="lt1" tx1="dk1" bg2="lt2" tx2="dk2" accent1="accent1" accent2="accent2" accent3="accent3" accent4="accent4" accent5="accent5" accent6="accent6" hlink="hlink" folHlink="folHlink"/>
  <p:sldLayoutIdLst>
    <p:sldLayoutId id="2147483664" r:id="rId1"/>
    <p:sldLayoutId id="2147483661" r:id="rId2"/>
    <p:sldLayoutId id="2147483662" r:id="rId3"/>
    <p:sldLayoutId id="2147483663" r:id="rId4"/>
    <p:sldLayoutId id="2147483665" r:id="rId5"/>
    <p:sldLayoutId id="2147483666" r:id="rId6"/>
    <p:sldLayoutId id="2147483667" r:id="rId7"/>
    <p:sldLayoutId id="2147483668" r:id="rId8"/>
    <p:sldLayoutId id="2147483682" r:id="rId9"/>
    <p:sldLayoutId id="2147483669" r:id="rId10"/>
    <p:sldLayoutId id="2147483670" r:id="rId11"/>
    <p:sldLayoutId id="2147483672" r:id="rId12"/>
    <p:sldLayoutId id="2147483671" r:id="rId13"/>
    <p:sldLayoutId id="2147483675" r:id="rId14"/>
    <p:sldLayoutId id="2147483676" r:id="rId15"/>
    <p:sldLayoutId id="2147483677" r:id="rId16"/>
    <p:sldLayoutId id="2147483678" r:id="rId17"/>
    <p:sldLayoutId id="2147483679" r:id="rId18"/>
    <p:sldLayoutId id="2147483680" r:id="rId19"/>
    <p:sldLayoutId id="2147483681" r:id="rId20"/>
    <p:sldLayoutId id="2147483684" r:id="rId21"/>
    <p:sldLayoutId id="2147483685" r:id="rId22"/>
    <p:sldLayoutId id="2147483686" r:id="rId23"/>
    <p:sldLayoutId id="2147483687" r:id="rId24"/>
    <p:sldLayoutId id="2147483688"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457200" rtl="0" eaLnBrk="1" latinLnBrk="0" hangingPunct="1">
        <a:lnSpc>
          <a:spcPct val="100000"/>
        </a:lnSpc>
        <a:spcBef>
          <a:spcPts val="1200"/>
        </a:spcBef>
        <a:spcAft>
          <a:spcPts val="0"/>
        </a:spcAft>
        <a:buClr>
          <a:schemeClr val="tx2"/>
        </a:buClr>
        <a:buSzPct val="120000"/>
        <a:buFont typeface="Arial" panose="020B0604020202020204" pitchFamily="34" charset="0"/>
        <a:buNone/>
        <a:defRPr sz="2000" b="1" kern="1200">
          <a:solidFill>
            <a:schemeClr val="tx1">
              <a:lumMod val="90000"/>
              <a:lumOff val="10000"/>
            </a:schemeClr>
          </a:solidFill>
          <a:latin typeface="+mn-lt"/>
          <a:ea typeface="+mn-ea"/>
          <a:cs typeface="+mn-cs"/>
        </a:defRPr>
      </a:lvl1pPr>
      <a:lvl2pPr marL="228600" indent="-223838" algn="l" defTabSz="457200" rtl="0" eaLnBrk="1" latinLnBrk="0" hangingPunct="1">
        <a:lnSpc>
          <a:spcPct val="100000"/>
        </a:lnSpc>
        <a:spcBef>
          <a:spcPts val="1200"/>
        </a:spcBef>
        <a:spcAft>
          <a:spcPts val="0"/>
        </a:spcAft>
        <a:buClr>
          <a:schemeClr val="tx2"/>
        </a:buClr>
        <a:buSzPct val="120000"/>
        <a:buFont typeface="Arial" panose="020B0604020202020204" pitchFamily="34" charset="0"/>
        <a:buChar char="•"/>
        <a:tabLst/>
        <a:defRPr sz="2000" kern="1200">
          <a:solidFill>
            <a:schemeClr val="tx1">
              <a:lumMod val="90000"/>
              <a:lumOff val="10000"/>
            </a:schemeClr>
          </a:solidFill>
          <a:latin typeface="+mn-lt"/>
          <a:ea typeface="+mn-ea"/>
          <a:cs typeface="+mn-cs"/>
        </a:defRPr>
      </a:lvl2pPr>
      <a:lvl3pPr marL="515938" indent="-228600" algn="l" defTabSz="457200" rtl="0" eaLnBrk="1" latinLnBrk="0" hangingPunct="1">
        <a:lnSpc>
          <a:spcPct val="100000"/>
        </a:lnSpc>
        <a:spcBef>
          <a:spcPts val="1200"/>
        </a:spcBef>
        <a:spcAft>
          <a:spcPts val="0"/>
        </a:spcAft>
        <a:buClr>
          <a:schemeClr val="tx2"/>
        </a:buClr>
        <a:buSzPct val="120000"/>
        <a:buFont typeface="Arial" panose="020B0604020202020204" pitchFamily="34" charset="0"/>
        <a:buChar char="•"/>
        <a:tabLst/>
        <a:defRPr sz="2000" kern="1200">
          <a:solidFill>
            <a:schemeClr val="tx1">
              <a:lumMod val="90000"/>
              <a:lumOff val="10000"/>
            </a:schemeClr>
          </a:solidFill>
          <a:latin typeface="+mn-lt"/>
          <a:ea typeface="+mn-ea"/>
          <a:cs typeface="+mn-cs"/>
        </a:defRPr>
      </a:lvl3pPr>
      <a:lvl4pPr marL="803275" indent="-227013" algn="l" defTabSz="457200" rtl="0" eaLnBrk="1" latinLnBrk="0" hangingPunct="1">
        <a:lnSpc>
          <a:spcPct val="100000"/>
        </a:lnSpc>
        <a:spcBef>
          <a:spcPts val="1200"/>
        </a:spcBef>
        <a:spcAft>
          <a:spcPts val="0"/>
        </a:spcAft>
        <a:buClr>
          <a:schemeClr val="tx2"/>
        </a:buClr>
        <a:buSzPct val="120000"/>
        <a:buFont typeface="Arial" panose="020B0604020202020204" pitchFamily="34" charset="0"/>
        <a:buChar char="•"/>
        <a:tabLst/>
        <a:defRPr sz="2000" kern="1200">
          <a:solidFill>
            <a:schemeClr val="tx1">
              <a:lumMod val="90000"/>
              <a:lumOff val="10000"/>
            </a:schemeClr>
          </a:solidFill>
          <a:latin typeface="+mn-lt"/>
          <a:ea typeface="+mn-ea"/>
          <a:cs typeface="+mn-cs"/>
        </a:defRPr>
      </a:lvl4pPr>
      <a:lvl5pPr marL="1084263" indent="-225425" algn="l" defTabSz="457200" rtl="0" eaLnBrk="1" latinLnBrk="0" hangingPunct="1">
        <a:lnSpc>
          <a:spcPct val="100000"/>
        </a:lnSpc>
        <a:spcBef>
          <a:spcPts val="1200"/>
        </a:spcBef>
        <a:spcAft>
          <a:spcPts val="0"/>
        </a:spcAft>
        <a:buClr>
          <a:schemeClr val="tx2"/>
        </a:buClr>
        <a:buSzPct val="120000"/>
        <a:buFont typeface="Arial" panose="020B0604020202020204" pitchFamily="34" charset="0"/>
        <a:buChar char="•"/>
        <a:tabLst/>
        <a:defRPr sz="2000" kern="1200">
          <a:solidFill>
            <a:schemeClr val="tx1">
              <a:lumMod val="90000"/>
              <a:lumOff val="1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4" userDrawn="1">
          <p15:clr>
            <a:srgbClr val="F26B43"/>
          </p15:clr>
        </p15:guide>
        <p15:guide id="2" pos="3840" userDrawn="1">
          <p15:clr>
            <a:srgbClr val="F26B43"/>
          </p15:clr>
        </p15:guide>
        <p15:guide id="3" orient="horz" userDrawn="1">
          <p15:clr>
            <a:srgbClr val="F26B43"/>
          </p15:clr>
        </p15:guide>
        <p15:guide id="4" pos="384" userDrawn="1">
          <p15:clr>
            <a:srgbClr val="F26B43"/>
          </p15:clr>
        </p15:guide>
        <p15:guide id="5" pos="7680" userDrawn="1">
          <p15:clr>
            <a:srgbClr val="F26B43"/>
          </p15:clr>
        </p15:guide>
        <p15:guide id="6" orient="horz" pos="4320" userDrawn="1">
          <p15:clr>
            <a:srgbClr val="F26B43"/>
          </p15:clr>
        </p15:guide>
        <p15:guide id="8" orient="horz" pos="1200" userDrawn="1">
          <p15:clr>
            <a:srgbClr val="F26B43"/>
          </p15:clr>
        </p15:guide>
        <p15:guide id="9" orient="horz" pos="2568" userDrawn="1">
          <p15:clr>
            <a:srgbClr val="F26B43"/>
          </p15:clr>
        </p15:guide>
        <p15:guide id="10" pos="7296" userDrawn="1">
          <p15:clr>
            <a:srgbClr val="F26B43"/>
          </p15:clr>
        </p15:guide>
        <p15:guide id="1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5.xml"/><Relationship Id="rId5" Type="http://schemas.openxmlformats.org/officeDocument/2006/relationships/image" Target="../media/image15.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www.google.com/url?sa=i&amp;rct=j&amp;q=&amp;esrc=s&amp;source=images&amp;cd=&amp;cad=rja&amp;uact=8&amp;ved=0ahUKEwiwveqA-K7LAhWBWz4KHSV1DwAQjRwIBw&amp;url=http://reputationalcompliance.com/2012/03/19/ethical-issues-in-business/&amp;psig=AFQjCNG9rseBU0ks2FjreOw1QF4_VaajYA&amp;ust=1457452497186636" TargetMode="External"/><Relationship Id="rId1" Type="http://schemas.openxmlformats.org/officeDocument/2006/relationships/slideLayout" Target="../slideLayouts/slideLayout8.xml"/><Relationship Id="rId4" Type="http://schemas.microsoft.com/office/2007/relationships/hdphoto" Target="../media/hdphoto2.wd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hyperlink" Target="http://www.google.co.uk/url?sa=i&amp;rct=j&amp;q=&amp;esrc=s&amp;source=images&amp;cd=&amp;cad=rja&amp;uact=8&amp;ved=0CAcQjRxqFQoTCPm_wvzPyccCFUfbGgodCEEI0Q&amp;url=http://www.rw-designer.com/icon-detail/7506&amp;ei=-TLfVbnfIse2a4iCoYgN&amp;psig=AFQjCNFOm7enpS83LvIWDnZOt9bB2KeS_Q&amp;ust=1440777335293711" TargetMode="External"/><Relationship Id="rId7" Type="http://schemas.openxmlformats.org/officeDocument/2006/relationships/diagramQuickStyle" Target="../diagrams/quickStyle3.xml"/><Relationship Id="rId2" Type="http://schemas.openxmlformats.org/officeDocument/2006/relationships/image" Target="../media/image27.png"/><Relationship Id="rId1" Type="http://schemas.openxmlformats.org/officeDocument/2006/relationships/slideLayout" Target="../slideLayouts/slideLayout2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28.png"/><Relationship Id="rId9" Type="http://schemas.microsoft.com/office/2007/relationships/diagramDrawing" Target="../diagrams/drawing3.xml"/></Relationships>
</file>

<file path=ppt/slides/_rels/slide47.xml.rels><?xml version="1.0" encoding="UTF-8" standalone="yes"?>
<Relationships xmlns="http://schemas.openxmlformats.org/package/2006/relationships"><Relationship Id="rId3" Type="http://schemas.openxmlformats.org/officeDocument/2006/relationships/hyperlink" Target="http://publicdomainpictures.net/view-image.php?image=17472&amp;picture=circle-of-life&amp;large=1" TargetMode="External"/><Relationship Id="rId2" Type="http://schemas.openxmlformats.org/officeDocument/2006/relationships/image" Target="../media/image29.jpg"/><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260F0A-2927-48C6-9C16-00A6FCC070DA}"/>
              </a:ext>
            </a:extLst>
          </p:cNvPr>
          <p:cNvGraphicFramePr>
            <a:graphicFrameLocks noChangeAspect="1"/>
          </p:cNvGraphicFramePr>
          <p:nvPr>
            <p:custDataLst>
              <p:tags r:id="rId2"/>
            </p:custDataLst>
          </p:nvPr>
        </p:nvGraphicFramePr>
        <p:xfrm>
          <a:off x="1525195" y="857775"/>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26260F0A-2927-48C6-9C16-00A6FCC070DA}"/>
                          </a:ext>
                        </a:extLst>
                      </p:cNvPr>
                      <p:cNvPicPr/>
                      <p:nvPr/>
                    </p:nvPicPr>
                    <p:blipFill>
                      <a:blip r:embed="rId6"/>
                      <a:stretch>
                        <a:fillRect/>
                      </a:stretch>
                    </p:blipFill>
                    <p:spPr>
                      <a:xfrm>
                        <a:off x="1525195" y="857775"/>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5A67CE-C373-4210-9AFA-4C83B17ABAF3}"/>
              </a:ext>
            </a:extLst>
          </p:cNvPr>
          <p:cNvSpPr/>
          <p:nvPr>
            <p:custDataLst>
              <p:tags r:id="rId3"/>
            </p:custDataLst>
          </p:nvPr>
        </p:nvSpPr>
        <p:spPr>
          <a:xfrm>
            <a:off x="1524000" y="856580"/>
            <a:ext cx="119094" cy="1190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342991" rtl="0" eaLnBrk="1" fontAlgn="auto" latinLnBrk="0" hangingPunct="1">
              <a:lnSpc>
                <a:spcPct val="70000"/>
              </a:lnSpc>
              <a:spcBef>
                <a:spcPct val="0"/>
              </a:spcBef>
              <a:spcAft>
                <a:spcPct val="0"/>
              </a:spcAft>
              <a:buClrTx/>
              <a:buSzTx/>
              <a:buFontTx/>
              <a:buNone/>
              <a:tabLst/>
              <a:defRPr/>
            </a:pPr>
            <a:endParaRPr kumimoji="0" lang="en-US" sz="4051" b="0" i="0" u="none" strike="noStrike" kern="1200" cap="none" spc="0" normalizeH="0" baseline="0" noProof="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pic>
        <p:nvPicPr>
          <p:cNvPr id="8" name="Picture Placeholder 7" descr="A picture containing outdoor, water, boat, photo&#10;&#10;Description automatically generated">
            <a:extLst>
              <a:ext uri="{FF2B5EF4-FFF2-40B4-BE49-F238E27FC236}">
                <a16:creationId xmlns:a16="http://schemas.microsoft.com/office/drawing/2014/main" id="{3BA38933-5FFE-9244-BEB8-6E25EC43E100}"/>
              </a:ext>
            </a:extLst>
          </p:cNvPr>
          <p:cNvPicPr>
            <a:picLocks noGrp="1" noChangeAspect="1"/>
          </p:cNvPicPr>
          <p:nvPr>
            <p:ph type="pic" sz="quarter" idx="11"/>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l="19262" r="19262"/>
          <a:stretch/>
        </p:blipFill>
        <p:spPr/>
      </p:pic>
      <p:sp>
        <p:nvSpPr>
          <p:cNvPr id="18" name="Title 17">
            <a:extLst>
              <a:ext uri="{FF2B5EF4-FFF2-40B4-BE49-F238E27FC236}">
                <a16:creationId xmlns:a16="http://schemas.microsoft.com/office/drawing/2014/main" id="{136189E0-087F-4493-995D-0F143C2DE082}"/>
              </a:ext>
            </a:extLst>
          </p:cNvPr>
          <p:cNvSpPr>
            <a:spLocks noGrp="1"/>
          </p:cNvSpPr>
          <p:nvPr>
            <p:ph type="ctrTitle"/>
          </p:nvPr>
        </p:nvSpPr>
        <p:spPr>
          <a:xfrm>
            <a:off x="457163" y="904664"/>
            <a:ext cx="5638837" cy="2819254"/>
          </a:xfrm>
        </p:spPr>
        <p:txBody>
          <a:bodyPr/>
          <a:lstStyle/>
          <a:p>
            <a:pPr>
              <a:lnSpc>
                <a:spcPct val="90000"/>
              </a:lnSpc>
            </a:pPr>
            <a:r>
              <a:rPr lang="en-US" sz="5400" b="1" dirty="0">
                <a:solidFill>
                  <a:srgbClr val="FFFFFF"/>
                </a:solidFill>
                <a:effectLst>
                  <a:glow rad="101600">
                    <a:schemeClr val="tx1">
                      <a:alpha val="16000"/>
                    </a:schemeClr>
                  </a:glow>
                </a:effectLst>
                <a:latin typeface="Constantia"/>
              </a:rPr>
              <a:t>The Digital Fulfillment Company</a:t>
            </a:r>
            <a:endParaRPr lang="en-US" dirty="0">
              <a:effectLst>
                <a:glow rad="101600">
                  <a:schemeClr val="tx1">
                    <a:alpha val="16000"/>
                  </a:schemeClr>
                </a:glow>
              </a:effectLst>
            </a:endParaRPr>
          </a:p>
        </p:txBody>
      </p:sp>
      <p:sp>
        <p:nvSpPr>
          <p:cNvPr id="6" name="Subtitle 5">
            <a:extLst>
              <a:ext uri="{FF2B5EF4-FFF2-40B4-BE49-F238E27FC236}">
                <a16:creationId xmlns:a16="http://schemas.microsoft.com/office/drawing/2014/main" id="{5AE84B1D-E4E3-974D-8B80-2A0714ECF902}"/>
              </a:ext>
            </a:extLst>
          </p:cNvPr>
          <p:cNvSpPr>
            <a:spLocks noGrp="1"/>
          </p:cNvSpPr>
          <p:nvPr>
            <p:ph type="subTitle" idx="1"/>
          </p:nvPr>
        </p:nvSpPr>
        <p:spPr>
          <a:xfrm>
            <a:off x="457164" y="3723918"/>
            <a:ext cx="5821449" cy="1252529"/>
          </a:xfrm>
        </p:spPr>
        <p:txBody>
          <a:bodyPr/>
          <a:lstStyle/>
          <a:p>
            <a:r>
              <a:rPr lang="en-US"/>
              <a:t>Fulfilling customer demand </a:t>
            </a:r>
            <a:br>
              <a:rPr lang="en-US"/>
            </a:br>
            <a:r>
              <a:rPr lang="en-US"/>
              <a:t>when, how and where they want it.</a:t>
            </a:r>
          </a:p>
        </p:txBody>
      </p:sp>
    </p:spTree>
    <p:extLst>
      <p:ext uri="{BB962C8B-B14F-4D97-AF65-F5344CB8AC3E}">
        <p14:creationId xmlns:p14="http://schemas.microsoft.com/office/powerpoint/2010/main" val="1592344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t>Key Success Factors</a:t>
            </a:r>
          </a:p>
        </p:txBody>
      </p:sp>
      <p:sp>
        <p:nvSpPr>
          <p:cNvPr id="31747" name="Rectangle 3"/>
          <p:cNvSpPr>
            <a:spLocks noGrp="1" noChangeArrowheads="1"/>
          </p:cNvSpPr>
          <p:nvPr>
            <p:ph type="body" idx="1"/>
          </p:nvPr>
        </p:nvSpPr>
        <p:spPr>
          <a:xfrm>
            <a:off x="1524000" y="1371601"/>
            <a:ext cx="8686800" cy="4576763"/>
          </a:xfrm>
          <a:noFill/>
          <a:ln/>
        </p:spPr>
        <p:txBody>
          <a:bodyPr/>
          <a:lstStyle/>
          <a:p>
            <a:pPr lvl="1">
              <a:buFont typeface="Wingdings" pitchFamily="2" charset="2"/>
              <a:buChar char="Ø"/>
            </a:pPr>
            <a:r>
              <a:rPr lang="en-US" sz="2400">
                <a:solidFill>
                  <a:schemeClr val="accent2"/>
                </a:solidFill>
              </a:rPr>
              <a:t>Proper Detailed Planning</a:t>
            </a:r>
          </a:p>
          <a:p>
            <a:pPr lvl="2">
              <a:buFont typeface="Wingdings" pitchFamily="2" charset="2"/>
              <a:buChar char="§"/>
            </a:pPr>
            <a:r>
              <a:rPr lang="en-US">
                <a:solidFill>
                  <a:schemeClr val="accent2"/>
                </a:solidFill>
              </a:rPr>
              <a:t>Detailed planning by project management teams well in advance of execution.</a:t>
            </a:r>
          </a:p>
          <a:p>
            <a:pPr lvl="2">
              <a:buFont typeface="Wingdings" pitchFamily="2" charset="2"/>
              <a:buChar char="§"/>
            </a:pPr>
            <a:r>
              <a:rPr lang="en-US">
                <a:solidFill>
                  <a:schemeClr val="accent2"/>
                </a:solidFill>
              </a:rPr>
              <a:t>Appropriate Quality Checks</a:t>
            </a:r>
          </a:p>
          <a:p>
            <a:pPr lvl="2">
              <a:buFont typeface="Wingdings" pitchFamily="2" charset="2"/>
              <a:buChar char="§"/>
            </a:pPr>
            <a:r>
              <a:rPr lang="en-US">
                <a:solidFill>
                  <a:schemeClr val="accent2"/>
                </a:solidFill>
              </a:rPr>
              <a:t>Development of quality assurance processes throughout the life of the project and consistent execution of those quality checks. </a:t>
            </a:r>
          </a:p>
          <a:p>
            <a:pPr lvl="1">
              <a:buFont typeface="Wingdings" pitchFamily="2" charset="2"/>
              <a:buChar char="Ø"/>
            </a:pPr>
            <a:r>
              <a:rPr lang="en-US" sz="2400">
                <a:solidFill>
                  <a:schemeClr val="accent2"/>
                </a:solidFill>
              </a:rPr>
              <a:t>Comprehensive Strategy for Testing</a:t>
            </a:r>
          </a:p>
          <a:p>
            <a:pPr lvl="2">
              <a:buFont typeface="Wingdings" pitchFamily="2" charset="2"/>
              <a:buChar char="§"/>
            </a:pPr>
            <a:r>
              <a:rPr lang="en-US">
                <a:solidFill>
                  <a:schemeClr val="accent2"/>
                </a:solidFill>
              </a:rPr>
              <a:t>Preparations for testing must begin early and include strategies for unit, system, end to end testing.  Preparations must also include test environment preparation.</a:t>
            </a:r>
          </a:p>
        </p:txBody>
      </p:sp>
    </p:spTree>
    <p:extLst>
      <p:ext uri="{BB962C8B-B14F-4D97-AF65-F5344CB8AC3E}">
        <p14:creationId xmlns:p14="http://schemas.microsoft.com/office/powerpoint/2010/main" val="362815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t>Desired Future State</a:t>
            </a:r>
          </a:p>
        </p:txBody>
      </p:sp>
      <p:sp>
        <p:nvSpPr>
          <p:cNvPr id="33795" name="Rectangle 3"/>
          <p:cNvSpPr>
            <a:spLocks noGrp="1" noChangeArrowheads="1"/>
          </p:cNvSpPr>
          <p:nvPr>
            <p:ph type="body" idx="1"/>
          </p:nvPr>
        </p:nvSpPr>
        <p:spPr>
          <a:xfrm>
            <a:off x="1524000" y="1371600"/>
            <a:ext cx="8686800" cy="5029200"/>
          </a:xfrm>
          <a:noFill/>
          <a:ln/>
        </p:spPr>
        <p:txBody>
          <a:bodyPr/>
          <a:lstStyle/>
          <a:p>
            <a:pPr lvl="1">
              <a:lnSpc>
                <a:spcPct val="80000"/>
              </a:lnSpc>
              <a:buFont typeface="Wingdings" pitchFamily="2" charset="2"/>
              <a:buChar char="Ø"/>
            </a:pPr>
            <a:r>
              <a:rPr lang="en-US" sz="1700">
                <a:solidFill>
                  <a:schemeClr val="accent2"/>
                </a:solidFill>
              </a:rPr>
              <a:t>Change from doing Daily Maintenance on Planograms to doing more Analysis.</a:t>
            </a:r>
          </a:p>
          <a:p>
            <a:pPr lvl="1">
              <a:lnSpc>
                <a:spcPct val="80000"/>
              </a:lnSpc>
              <a:buFont typeface="Wingdings" pitchFamily="2" charset="2"/>
              <a:buChar char="Ø"/>
            </a:pPr>
            <a:r>
              <a:rPr lang="en-US" sz="1700">
                <a:solidFill>
                  <a:schemeClr val="accent2"/>
                </a:solidFill>
              </a:rPr>
              <a:t>Be able to measure Space to Sales information.</a:t>
            </a:r>
          </a:p>
          <a:p>
            <a:pPr lvl="1">
              <a:lnSpc>
                <a:spcPct val="80000"/>
              </a:lnSpc>
              <a:buFont typeface="Wingdings" pitchFamily="2" charset="2"/>
              <a:buChar char="Ø"/>
            </a:pPr>
            <a:r>
              <a:rPr lang="en-US" sz="1700">
                <a:solidFill>
                  <a:schemeClr val="accent2"/>
                </a:solidFill>
              </a:rPr>
              <a:t>More analytical information, requiring less Labor.</a:t>
            </a:r>
          </a:p>
          <a:p>
            <a:pPr lvl="1">
              <a:lnSpc>
                <a:spcPct val="80000"/>
              </a:lnSpc>
              <a:buFont typeface="Wingdings" pitchFamily="2" charset="2"/>
              <a:buChar char="Ø"/>
            </a:pPr>
            <a:r>
              <a:rPr lang="en-US" sz="1700">
                <a:solidFill>
                  <a:schemeClr val="accent2"/>
                </a:solidFill>
              </a:rPr>
              <a:t>Prevent Out of Stock situations.</a:t>
            </a:r>
          </a:p>
          <a:p>
            <a:pPr lvl="1">
              <a:lnSpc>
                <a:spcPct val="80000"/>
              </a:lnSpc>
              <a:buFont typeface="Wingdings" pitchFamily="2" charset="2"/>
              <a:buChar char="Ø"/>
            </a:pPr>
            <a:r>
              <a:rPr lang="en-US" sz="1700">
                <a:solidFill>
                  <a:schemeClr val="accent2"/>
                </a:solidFill>
              </a:rPr>
              <a:t>More efficient operations.</a:t>
            </a:r>
          </a:p>
          <a:p>
            <a:pPr lvl="1">
              <a:lnSpc>
                <a:spcPct val="80000"/>
              </a:lnSpc>
              <a:buFont typeface="Wingdings" pitchFamily="2" charset="2"/>
              <a:buChar char="Ø"/>
            </a:pPr>
            <a:r>
              <a:rPr lang="en-US" sz="1700">
                <a:solidFill>
                  <a:schemeClr val="accent2"/>
                </a:solidFill>
              </a:rPr>
              <a:t>Create and maintain cluster specific planograms and associated assortments.</a:t>
            </a:r>
          </a:p>
          <a:p>
            <a:pPr lvl="1">
              <a:lnSpc>
                <a:spcPct val="80000"/>
              </a:lnSpc>
              <a:buFont typeface="Wingdings" pitchFamily="2" charset="2"/>
              <a:buChar char="Ø"/>
            </a:pPr>
            <a:r>
              <a:rPr lang="en-US" sz="1700">
                <a:solidFill>
                  <a:schemeClr val="accent2"/>
                </a:solidFill>
              </a:rPr>
              <a:t>Maintain and analyze planogram to store relationships within one integrated system.</a:t>
            </a:r>
          </a:p>
          <a:p>
            <a:pPr lvl="1">
              <a:lnSpc>
                <a:spcPct val="80000"/>
              </a:lnSpc>
              <a:buFont typeface="Wingdings" pitchFamily="2" charset="2"/>
              <a:buChar char="Ø"/>
            </a:pPr>
            <a:r>
              <a:rPr lang="en-US" sz="1700">
                <a:solidFill>
                  <a:schemeClr val="accent2"/>
                </a:solidFill>
              </a:rPr>
              <a:t>Creation of a consistent process that supports the various businesses within XYZ and is scalable and executable given each category assortment and unique timelines.</a:t>
            </a:r>
          </a:p>
          <a:p>
            <a:pPr lvl="1">
              <a:lnSpc>
                <a:spcPct val="80000"/>
              </a:lnSpc>
              <a:buFont typeface="Wingdings" pitchFamily="2" charset="2"/>
              <a:buChar char="Ø"/>
            </a:pPr>
            <a:r>
              <a:rPr lang="en-US" sz="1700">
                <a:solidFill>
                  <a:schemeClr val="accent2"/>
                </a:solidFill>
              </a:rPr>
              <a:t>Replacement of multiple databases used to manage the relationship between sku, planogram, and store layouts.</a:t>
            </a:r>
          </a:p>
          <a:p>
            <a:pPr lvl="1">
              <a:lnSpc>
                <a:spcPct val="80000"/>
              </a:lnSpc>
              <a:buFont typeface="Wingdings" pitchFamily="2" charset="2"/>
              <a:buChar char="Ø"/>
            </a:pPr>
            <a:r>
              <a:rPr lang="en-US" sz="1700">
                <a:solidFill>
                  <a:schemeClr val="accent2"/>
                </a:solidFill>
              </a:rPr>
              <a:t>Integration of all departments into one System.</a:t>
            </a:r>
          </a:p>
          <a:p>
            <a:pPr lvl="1">
              <a:lnSpc>
                <a:spcPct val="80000"/>
              </a:lnSpc>
              <a:buFont typeface="Wingdings" pitchFamily="2" charset="2"/>
              <a:buChar char="Ø"/>
            </a:pPr>
            <a:r>
              <a:rPr lang="en-US" sz="1700">
                <a:solidFill>
                  <a:schemeClr val="accent2"/>
                </a:solidFill>
              </a:rPr>
              <a:t>Augmentation of current Layout floor planning processes with an integrated database supporting the Intactix Floor Planning and Space Planning applications providing for analysis at all levels.</a:t>
            </a:r>
          </a:p>
          <a:p>
            <a:pPr lvl="1">
              <a:lnSpc>
                <a:spcPct val="80000"/>
              </a:lnSpc>
              <a:buFont typeface="Wingdings" pitchFamily="2" charset="2"/>
              <a:buChar char="Ø"/>
            </a:pPr>
            <a:r>
              <a:rPr lang="en-US" sz="1700">
                <a:solidFill>
                  <a:schemeClr val="accent2"/>
                </a:solidFill>
              </a:rPr>
              <a:t>Going to a fully supported, upgradeable, state of the art Space Management System.</a:t>
            </a:r>
          </a:p>
          <a:p>
            <a:pPr lvl="1">
              <a:lnSpc>
                <a:spcPct val="80000"/>
              </a:lnSpc>
              <a:buFont typeface="Wingdings" pitchFamily="2" charset="2"/>
              <a:buChar char="Ø"/>
            </a:pPr>
            <a:r>
              <a:rPr lang="en-US" sz="1700">
                <a:solidFill>
                  <a:schemeClr val="accent2"/>
                </a:solidFill>
              </a:rPr>
              <a:t>Automated optimization of floor plans and space plans.</a:t>
            </a:r>
          </a:p>
        </p:txBody>
      </p:sp>
    </p:spTree>
    <p:extLst>
      <p:ext uri="{BB962C8B-B14F-4D97-AF65-F5344CB8AC3E}">
        <p14:creationId xmlns:p14="http://schemas.microsoft.com/office/powerpoint/2010/main" val="60599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chandising Standards &amp; Guidelines</a:t>
            </a:r>
          </a:p>
        </p:txBody>
      </p:sp>
      <p:sp>
        <p:nvSpPr>
          <p:cNvPr id="8"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pyright © 2016 BY Software Group, Inc. Confidential</a:t>
            </a:r>
          </a:p>
        </p:txBody>
      </p:sp>
    </p:spTree>
    <p:extLst>
      <p:ext uri="{BB962C8B-B14F-4D97-AF65-F5344CB8AC3E}">
        <p14:creationId xmlns:p14="http://schemas.microsoft.com/office/powerpoint/2010/main" val="298268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Merchandising Standards &amp; Guidelines</a:t>
            </a:r>
          </a:p>
        </p:txBody>
      </p:sp>
      <p:sp>
        <p:nvSpPr>
          <p:cNvPr id="9" name="Content Placeholder 8"/>
          <p:cNvSpPr>
            <a:spLocks noGrp="1"/>
          </p:cNvSpPr>
          <p:nvPr>
            <p:ph idx="1"/>
          </p:nvPr>
        </p:nvSpPr>
        <p:spPr>
          <a:xfrm>
            <a:off x="1981201" y="1738924"/>
            <a:ext cx="4864101" cy="4568869"/>
          </a:xfrm>
        </p:spPr>
        <p:txBody>
          <a:bodyPr/>
          <a:lstStyle/>
          <a:p>
            <a:pPr>
              <a:lnSpc>
                <a:spcPct val="150000"/>
              </a:lnSpc>
            </a:pPr>
            <a:r>
              <a:rPr lang="en-US" dirty="0"/>
              <a:t>Best Practices</a:t>
            </a:r>
          </a:p>
          <a:p>
            <a:pPr>
              <a:lnSpc>
                <a:spcPct val="150000"/>
              </a:lnSpc>
            </a:pPr>
            <a:r>
              <a:rPr lang="en-US" dirty="0"/>
              <a:t>Defining Merchandising Standards &amp; Guidelines</a:t>
            </a:r>
          </a:p>
          <a:p>
            <a:pPr>
              <a:lnSpc>
                <a:spcPct val="150000"/>
              </a:lnSpc>
            </a:pPr>
            <a:r>
              <a:rPr lang="en-US" dirty="0"/>
              <a:t>Merchandising Drivers</a:t>
            </a:r>
          </a:p>
          <a:p>
            <a:pPr>
              <a:lnSpc>
                <a:spcPct val="150000"/>
              </a:lnSpc>
            </a:pPr>
            <a:r>
              <a:rPr lang="en-US" dirty="0"/>
              <a:t>Merchandised Items</a:t>
            </a:r>
          </a:p>
          <a:p>
            <a:pPr>
              <a:lnSpc>
                <a:spcPct val="150000"/>
              </a:lnSpc>
            </a:pPr>
            <a:r>
              <a:rPr lang="en-US" dirty="0"/>
              <a:t>Example</a:t>
            </a:r>
          </a:p>
          <a:p>
            <a:pPr>
              <a:lnSpc>
                <a:spcPct val="150000"/>
              </a:lnSpc>
            </a:pPr>
            <a:r>
              <a:rPr lang="en-US" dirty="0"/>
              <a:t>Homework</a:t>
            </a:r>
          </a:p>
          <a:p>
            <a:pPr>
              <a:lnSpc>
                <a:spcPct val="150000"/>
              </a:lnSpc>
            </a:pPr>
            <a:endParaRPr lang="en-US" dirty="0"/>
          </a:p>
          <a:p>
            <a:pPr>
              <a:lnSpc>
                <a:spcPct val="150000"/>
              </a:lnSpc>
            </a:pPr>
            <a:endParaRPr lang="en-US" sz="2400" dirty="0"/>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grpSp>
        <p:nvGrpSpPr>
          <p:cNvPr id="5" name="Group 4"/>
          <p:cNvGrpSpPr>
            <a:grpSpLocks noChangeAspect="1"/>
          </p:cNvGrpSpPr>
          <p:nvPr/>
        </p:nvGrpSpPr>
        <p:grpSpPr>
          <a:xfrm>
            <a:off x="7359665" y="1875791"/>
            <a:ext cx="2125664" cy="2080276"/>
            <a:chOff x="8385176" y="4341813"/>
            <a:chExt cx="446088" cy="436563"/>
          </a:xfrm>
          <a:solidFill>
            <a:schemeClr val="accent5"/>
          </a:solidFill>
        </p:grpSpPr>
        <p:sp>
          <p:nvSpPr>
            <p:cNvPr id="8" name="Freeform 604"/>
            <p:cNvSpPr>
              <a:spLocks/>
            </p:cNvSpPr>
            <p:nvPr/>
          </p:nvSpPr>
          <p:spPr bwMode="auto">
            <a:xfrm>
              <a:off x="8437563" y="4394200"/>
              <a:ext cx="127000" cy="38100"/>
            </a:xfrm>
            <a:custGeom>
              <a:avLst/>
              <a:gdLst>
                <a:gd name="T0" fmla="*/ 80 w 80"/>
                <a:gd name="T1" fmla="*/ 24 h 24"/>
                <a:gd name="T2" fmla="*/ 80 w 80"/>
                <a:gd name="T3" fmla="*/ 10 h 24"/>
                <a:gd name="T4" fmla="*/ 80 w 80"/>
                <a:gd name="T5" fmla="*/ 10 h 24"/>
                <a:gd name="T6" fmla="*/ 68 w 80"/>
                <a:gd name="T7" fmla="*/ 4 h 24"/>
                <a:gd name="T8" fmla="*/ 57 w 80"/>
                <a:gd name="T9" fmla="*/ 2 h 24"/>
                <a:gd name="T10" fmla="*/ 45 w 80"/>
                <a:gd name="T11" fmla="*/ 0 h 24"/>
                <a:gd name="T12" fmla="*/ 35 w 80"/>
                <a:gd name="T13" fmla="*/ 0 h 24"/>
                <a:gd name="T14" fmla="*/ 14 w 80"/>
                <a:gd name="T15" fmla="*/ 4 h 24"/>
                <a:gd name="T16" fmla="*/ 0 w 80"/>
                <a:gd name="T17" fmla="*/ 8 h 24"/>
                <a:gd name="T18" fmla="*/ 0 w 80"/>
                <a:gd name="T19" fmla="*/ 24 h 24"/>
                <a:gd name="T20" fmla="*/ 0 w 80"/>
                <a:gd name="T21" fmla="*/ 24 h 24"/>
                <a:gd name="T22" fmla="*/ 12 w 80"/>
                <a:gd name="T23" fmla="*/ 20 h 24"/>
                <a:gd name="T24" fmla="*/ 31 w 80"/>
                <a:gd name="T25" fmla="*/ 14 h 24"/>
                <a:gd name="T26" fmla="*/ 43 w 80"/>
                <a:gd name="T27" fmla="*/ 14 h 24"/>
                <a:gd name="T28" fmla="*/ 55 w 80"/>
                <a:gd name="T29" fmla="*/ 16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10"/>
                  </a:ln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6"/>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0" name="Freeform 605"/>
            <p:cNvSpPr>
              <a:spLocks/>
            </p:cNvSpPr>
            <p:nvPr/>
          </p:nvSpPr>
          <p:spPr bwMode="auto">
            <a:xfrm>
              <a:off x="8437563" y="4462463"/>
              <a:ext cx="127000" cy="38100"/>
            </a:xfrm>
            <a:custGeom>
              <a:avLst/>
              <a:gdLst>
                <a:gd name="T0" fmla="*/ 80 w 80"/>
                <a:gd name="T1" fmla="*/ 24 h 24"/>
                <a:gd name="T2" fmla="*/ 80 w 80"/>
                <a:gd name="T3" fmla="*/ 8 h 24"/>
                <a:gd name="T4" fmla="*/ 80 w 80"/>
                <a:gd name="T5" fmla="*/ 8 h 24"/>
                <a:gd name="T6" fmla="*/ 68 w 80"/>
                <a:gd name="T7" fmla="*/ 4 h 24"/>
                <a:gd name="T8" fmla="*/ 57 w 80"/>
                <a:gd name="T9" fmla="*/ 0 h 24"/>
                <a:gd name="T10" fmla="*/ 45 w 80"/>
                <a:gd name="T11" fmla="*/ 0 h 24"/>
                <a:gd name="T12" fmla="*/ 35 w 80"/>
                <a:gd name="T13" fmla="*/ 0 h 24"/>
                <a:gd name="T14" fmla="*/ 14 w 80"/>
                <a:gd name="T15" fmla="*/ 4 h 24"/>
                <a:gd name="T16" fmla="*/ 0 w 80"/>
                <a:gd name="T17" fmla="*/ 8 h 24"/>
                <a:gd name="T18" fmla="*/ 0 w 80"/>
                <a:gd name="T19" fmla="*/ 22 h 24"/>
                <a:gd name="T20" fmla="*/ 0 w 80"/>
                <a:gd name="T21" fmla="*/ 22 h 24"/>
                <a:gd name="T22" fmla="*/ 12 w 80"/>
                <a:gd name="T23" fmla="*/ 18 h 24"/>
                <a:gd name="T24" fmla="*/ 31 w 80"/>
                <a:gd name="T25" fmla="*/ 14 h 24"/>
                <a:gd name="T26" fmla="*/ 43 w 80"/>
                <a:gd name="T27" fmla="*/ 14 h 24"/>
                <a:gd name="T28" fmla="*/ 55 w 80"/>
                <a:gd name="T29" fmla="*/ 14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8" y="4"/>
                  </a:lnTo>
                  <a:lnTo>
                    <a:pt x="57" y="0"/>
                  </a:lnTo>
                  <a:lnTo>
                    <a:pt x="45" y="0"/>
                  </a:lnTo>
                  <a:lnTo>
                    <a:pt x="35" y="0"/>
                  </a:lnTo>
                  <a:lnTo>
                    <a:pt x="14" y="4"/>
                  </a:lnTo>
                  <a:lnTo>
                    <a:pt x="0" y="8"/>
                  </a:lnTo>
                  <a:lnTo>
                    <a:pt x="0" y="22"/>
                  </a:lnTo>
                  <a:lnTo>
                    <a:pt x="0" y="22"/>
                  </a:lnTo>
                  <a:lnTo>
                    <a:pt x="12" y="18"/>
                  </a:lnTo>
                  <a:lnTo>
                    <a:pt x="31" y="14"/>
                  </a:lnTo>
                  <a:lnTo>
                    <a:pt x="43" y="14"/>
                  </a:lnTo>
                  <a:lnTo>
                    <a:pt x="55" y="14"/>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Freeform 606"/>
            <p:cNvSpPr>
              <a:spLocks/>
            </p:cNvSpPr>
            <p:nvPr/>
          </p:nvSpPr>
          <p:spPr bwMode="auto">
            <a:xfrm>
              <a:off x="8437563" y="4527550"/>
              <a:ext cx="127000" cy="41275"/>
            </a:xfrm>
            <a:custGeom>
              <a:avLst/>
              <a:gdLst>
                <a:gd name="T0" fmla="*/ 80 w 80"/>
                <a:gd name="T1" fmla="*/ 26 h 26"/>
                <a:gd name="T2" fmla="*/ 80 w 80"/>
                <a:gd name="T3" fmla="*/ 10 h 26"/>
                <a:gd name="T4" fmla="*/ 80 w 80"/>
                <a:gd name="T5" fmla="*/ 10 h 26"/>
                <a:gd name="T6" fmla="*/ 68 w 80"/>
                <a:gd name="T7" fmla="*/ 4 h 26"/>
                <a:gd name="T8" fmla="*/ 57 w 80"/>
                <a:gd name="T9" fmla="*/ 2 h 26"/>
                <a:gd name="T10" fmla="*/ 45 w 80"/>
                <a:gd name="T11" fmla="*/ 0 h 26"/>
                <a:gd name="T12" fmla="*/ 35 w 80"/>
                <a:gd name="T13" fmla="*/ 2 h 26"/>
                <a:gd name="T14" fmla="*/ 14 w 80"/>
                <a:gd name="T15" fmla="*/ 4 h 26"/>
                <a:gd name="T16" fmla="*/ 0 w 80"/>
                <a:gd name="T17" fmla="*/ 10 h 26"/>
                <a:gd name="T18" fmla="*/ 0 w 80"/>
                <a:gd name="T19" fmla="*/ 24 h 26"/>
                <a:gd name="T20" fmla="*/ 0 w 80"/>
                <a:gd name="T21" fmla="*/ 24 h 26"/>
                <a:gd name="T22" fmla="*/ 12 w 80"/>
                <a:gd name="T23" fmla="*/ 20 h 26"/>
                <a:gd name="T24" fmla="*/ 31 w 80"/>
                <a:gd name="T25" fmla="*/ 16 h 26"/>
                <a:gd name="T26" fmla="*/ 43 w 80"/>
                <a:gd name="T27" fmla="*/ 14 h 26"/>
                <a:gd name="T28" fmla="*/ 55 w 80"/>
                <a:gd name="T29" fmla="*/ 16 h 26"/>
                <a:gd name="T30" fmla="*/ 68 w 80"/>
                <a:gd name="T31" fmla="*/ 20 h 26"/>
                <a:gd name="T32" fmla="*/ 80 w 80"/>
                <a:gd name="T33" fmla="*/ 26 h 26"/>
                <a:gd name="T34" fmla="*/ 80 w 80"/>
                <a:gd name="T3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6"/>
                  </a:moveTo>
                  <a:lnTo>
                    <a:pt x="80" y="10"/>
                  </a:lnTo>
                  <a:lnTo>
                    <a:pt x="80" y="10"/>
                  </a:lnTo>
                  <a:lnTo>
                    <a:pt x="68" y="4"/>
                  </a:lnTo>
                  <a:lnTo>
                    <a:pt x="57" y="2"/>
                  </a:lnTo>
                  <a:lnTo>
                    <a:pt x="45" y="0"/>
                  </a:lnTo>
                  <a:lnTo>
                    <a:pt x="35" y="2"/>
                  </a:lnTo>
                  <a:lnTo>
                    <a:pt x="14" y="4"/>
                  </a:lnTo>
                  <a:lnTo>
                    <a:pt x="0" y="10"/>
                  </a:lnTo>
                  <a:lnTo>
                    <a:pt x="0" y="24"/>
                  </a:lnTo>
                  <a:lnTo>
                    <a:pt x="0" y="24"/>
                  </a:lnTo>
                  <a:lnTo>
                    <a:pt x="12" y="20"/>
                  </a:lnTo>
                  <a:lnTo>
                    <a:pt x="31" y="16"/>
                  </a:lnTo>
                  <a:lnTo>
                    <a:pt x="43" y="14"/>
                  </a:lnTo>
                  <a:lnTo>
                    <a:pt x="55" y="16"/>
                  </a:lnTo>
                  <a:lnTo>
                    <a:pt x="68" y="20"/>
                  </a:lnTo>
                  <a:lnTo>
                    <a:pt x="80" y="26"/>
                  </a:lnTo>
                  <a:lnTo>
                    <a:pt x="8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607"/>
            <p:cNvSpPr>
              <a:spLocks/>
            </p:cNvSpPr>
            <p:nvPr/>
          </p:nvSpPr>
          <p:spPr bwMode="auto">
            <a:xfrm>
              <a:off x="8437563" y="4595813"/>
              <a:ext cx="127000" cy="38100"/>
            </a:xfrm>
            <a:custGeom>
              <a:avLst/>
              <a:gdLst>
                <a:gd name="T0" fmla="*/ 80 w 80"/>
                <a:gd name="T1" fmla="*/ 10 h 24"/>
                <a:gd name="T2" fmla="*/ 80 w 80"/>
                <a:gd name="T3" fmla="*/ 10 h 24"/>
                <a:gd name="T4" fmla="*/ 68 w 80"/>
                <a:gd name="T5" fmla="*/ 4 h 24"/>
                <a:gd name="T6" fmla="*/ 57 w 80"/>
                <a:gd name="T7" fmla="*/ 2 h 24"/>
                <a:gd name="T8" fmla="*/ 45 w 80"/>
                <a:gd name="T9" fmla="*/ 0 h 24"/>
                <a:gd name="T10" fmla="*/ 35 w 80"/>
                <a:gd name="T11" fmla="*/ 0 h 24"/>
                <a:gd name="T12" fmla="*/ 14 w 80"/>
                <a:gd name="T13" fmla="*/ 4 h 24"/>
                <a:gd name="T14" fmla="*/ 0 w 80"/>
                <a:gd name="T15" fmla="*/ 8 h 24"/>
                <a:gd name="T16" fmla="*/ 0 w 80"/>
                <a:gd name="T17" fmla="*/ 24 h 24"/>
                <a:gd name="T18" fmla="*/ 0 w 80"/>
                <a:gd name="T19" fmla="*/ 24 h 24"/>
                <a:gd name="T20" fmla="*/ 12 w 80"/>
                <a:gd name="T21" fmla="*/ 20 h 24"/>
                <a:gd name="T22" fmla="*/ 31 w 80"/>
                <a:gd name="T23" fmla="*/ 14 h 24"/>
                <a:gd name="T24" fmla="*/ 43 w 80"/>
                <a:gd name="T25" fmla="*/ 14 h 24"/>
                <a:gd name="T26" fmla="*/ 55 w 80"/>
                <a:gd name="T27" fmla="*/ 14 h 24"/>
                <a:gd name="T28" fmla="*/ 68 w 80"/>
                <a:gd name="T29" fmla="*/ 18 h 24"/>
                <a:gd name="T30" fmla="*/ 80 w 80"/>
                <a:gd name="T31" fmla="*/ 24 h 24"/>
                <a:gd name="T32" fmla="*/ 80 w 80"/>
                <a:gd name="T3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4">
                  <a:moveTo>
                    <a:pt x="80" y="10"/>
                  </a:move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4"/>
                  </a:lnTo>
                  <a:lnTo>
                    <a:pt x="68" y="18"/>
                  </a:lnTo>
                  <a:lnTo>
                    <a:pt x="80" y="24"/>
                  </a:lnTo>
                  <a:lnTo>
                    <a:pt x="8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608"/>
            <p:cNvSpPr>
              <a:spLocks/>
            </p:cNvSpPr>
            <p:nvPr/>
          </p:nvSpPr>
          <p:spPr bwMode="auto">
            <a:xfrm>
              <a:off x="8648701" y="4394200"/>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6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6"/>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609"/>
            <p:cNvSpPr>
              <a:spLocks/>
            </p:cNvSpPr>
            <p:nvPr/>
          </p:nvSpPr>
          <p:spPr bwMode="auto">
            <a:xfrm>
              <a:off x="8648701" y="4462463"/>
              <a:ext cx="127000" cy="38100"/>
            </a:xfrm>
            <a:custGeom>
              <a:avLst/>
              <a:gdLst>
                <a:gd name="T0" fmla="*/ 80 w 80"/>
                <a:gd name="T1" fmla="*/ 22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0 h 24"/>
                <a:gd name="T14" fmla="*/ 11 w 80"/>
                <a:gd name="T15" fmla="*/ 4 h 24"/>
                <a:gd name="T16" fmla="*/ 0 w 80"/>
                <a:gd name="T17" fmla="*/ 8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18 h 24"/>
                <a:gd name="T32" fmla="*/ 80 w 80"/>
                <a:gd name="T33" fmla="*/ 22 h 24"/>
                <a:gd name="T34" fmla="*/ 80 w 80"/>
                <a:gd name="T3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2"/>
                  </a:moveTo>
                  <a:lnTo>
                    <a:pt x="80" y="8"/>
                  </a:lnTo>
                  <a:lnTo>
                    <a:pt x="80" y="8"/>
                  </a:lnTo>
                  <a:lnTo>
                    <a:pt x="66" y="4"/>
                  </a:lnTo>
                  <a:lnTo>
                    <a:pt x="47" y="0"/>
                  </a:lnTo>
                  <a:lnTo>
                    <a:pt x="35" y="0"/>
                  </a:lnTo>
                  <a:lnTo>
                    <a:pt x="23" y="0"/>
                  </a:lnTo>
                  <a:lnTo>
                    <a:pt x="11" y="4"/>
                  </a:lnTo>
                  <a:lnTo>
                    <a:pt x="0" y="8"/>
                  </a:lnTo>
                  <a:lnTo>
                    <a:pt x="0" y="24"/>
                  </a:lnTo>
                  <a:lnTo>
                    <a:pt x="0" y="24"/>
                  </a:lnTo>
                  <a:lnTo>
                    <a:pt x="13" y="18"/>
                  </a:lnTo>
                  <a:lnTo>
                    <a:pt x="25" y="14"/>
                  </a:lnTo>
                  <a:lnTo>
                    <a:pt x="39" y="14"/>
                  </a:lnTo>
                  <a:lnTo>
                    <a:pt x="50" y="14"/>
                  </a:lnTo>
                  <a:lnTo>
                    <a:pt x="70" y="18"/>
                  </a:lnTo>
                  <a:lnTo>
                    <a:pt x="80" y="22"/>
                  </a:lnTo>
                  <a:lnTo>
                    <a:pt x="8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610"/>
            <p:cNvSpPr>
              <a:spLocks/>
            </p:cNvSpPr>
            <p:nvPr/>
          </p:nvSpPr>
          <p:spPr bwMode="auto">
            <a:xfrm>
              <a:off x="8648701" y="4527550"/>
              <a:ext cx="127000" cy="41275"/>
            </a:xfrm>
            <a:custGeom>
              <a:avLst/>
              <a:gdLst>
                <a:gd name="T0" fmla="*/ 80 w 80"/>
                <a:gd name="T1" fmla="*/ 24 h 26"/>
                <a:gd name="T2" fmla="*/ 80 w 80"/>
                <a:gd name="T3" fmla="*/ 10 h 26"/>
                <a:gd name="T4" fmla="*/ 80 w 80"/>
                <a:gd name="T5" fmla="*/ 10 h 26"/>
                <a:gd name="T6" fmla="*/ 66 w 80"/>
                <a:gd name="T7" fmla="*/ 4 h 26"/>
                <a:gd name="T8" fmla="*/ 47 w 80"/>
                <a:gd name="T9" fmla="*/ 2 h 26"/>
                <a:gd name="T10" fmla="*/ 35 w 80"/>
                <a:gd name="T11" fmla="*/ 0 h 26"/>
                <a:gd name="T12" fmla="*/ 23 w 80"/>
                <a:gd name="T13" fmla="*/ 2 h 26"/>
                <a:gd name="T14" fmla="*/ 11 w 80"/>
                <a:gd name="T15" fmla="*/ 4 h 26"/>
                <a:gd name="T16" fmla="*/ 0 w 80"/>
                <a:gd name="T17" fmla="*/ 10 h 26"/>
                <a:gd name="T18" fmla="*/ 0 w 80"/>
                <a:gd name="T19" fmla="*/ 26 h 26"/>
                <a:gd name="T20" fmla="*/ 0 w 80"/>
                <a:gd name="T21" fmla="*/ 26 h 26"/>
                <a:gd name="T22" fmla="*/ 13 w 80"/>
                <a:gd name="T23" fmla="*/ 20 h 26"/>
                <a:gd name="T24" fmla="*/ 25 w 80"/>
                <a:gd name="T25" fmla="*/ 16 h 26"/>
                <a:gd name="T26" fmla="*/ 39 w 80"/>
                <a:gd name="T27" fmla="*/ 14 h 26"/>
                <a:gd name="T28" fmla="*/ 50 w 80"/>
                <a:gd name="T29" fmla="*/ 16 h 26"/>
                <a:gd name="T30" fmla="*/ 70 w 80"/>
                <a:gd name="T31" fmla="*/ 20 h 26"/>
                <a:gd name="T32" fmla="*/ 80 w 80"/>
                <a:gd name="T33" fmla="*/ 24 h 26"/>
                <a:gd name="T34" fmla="*/ 80 w 80"/>
                <a:gd name="T3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4"/>
                  </a:moveTo>
                  <a:lnTo>
                    <a:pt x="80" y="10"/>
                  </a:lnTo>
                  <a:lnTo>
                    <a:pt x="80" y="10"/>
                  </a:lnTo>
                  <a:lnTo>
                    <a:pt x="66" y="4"/>
                  </a:lnTo>
                  <a:lnTo>
                    <a:pt x="47" y="2"/>
                  </a:lnTo>
                  <a:lnTo>
                    <a:pt x="35" y="0"/>
                  </a:lnTo>
                  <a:lnTo>
                    <a:pt x="23" y="2"/>
                  </a:lnTo>
                  <a:lnTo>
                    <a:pt x="11" y="4"/>
                  </a:lnTo>
                  <a:lnTo>
                    <a:pt x="0" y="10"/>
                  </a:lnTo>
                  <a:lnTo>
                    <a:pt x="0" y="26"/>
                  </a:lnTo>
                  <a:lnTo>
                    <a:pt x="0" y="26"/>
                  </a:lnTo>
                  <a:lnTo>
                    <a:pt x="13" y="20"/>
                  </a:lnTo>
                  <a:lnTo>
                    <a:pt x="25" y="16"/>
                  </a:lnTo>
                  <a:lnTo>
                    <a:pt x="39" y="14"/>
                  </a:lnTo>
                  <a:lnTo>
                    <a:pt x="50" y="16"/>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6" name="Freeform 611"/>
            <p:cNvSpPr>
              <a:spLocks/>
            </p:cNvSpPr>
            <p:nvPr/>
          </p:nvSpPr>
          <p:spPr bwMode="auto">
            <a:xfrm>
              <a:off x="8648701" y="4595813"/>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4"/>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12"/>
            <p:cNvSpPr>
              <a:spLocks/>
            </p:cNvSpPr>
            <p:nvPr/>
          </p:nvSpPr>
          <p:spPr bwMode="auto">
            <a:xfrm>
              <a:off x="8385176" y="4757738"/>
              <a:ext cx="446088" cy="20638"/>
            </a:xfrm>
            <a:custGeom>
              <a:avLst/>
              <a:gdLst>
                <a:gd name="T0" fmla="*/ 0 w 281"/>
                <a:gd name="T1" fmla="*/ 0 h 13"/>
                <a:gd name="T2" fmla="*/ 0 w 281"/>
                <a:gd name="T3" fmla="*/ 0 h 13"/>
                <a:gd name="T4" fmla="*/ 14 w 281"/>
                <a:gd name="T5" fmla="*/ 13 h 13"/>
                <a:gd name="T6" fmla="*/ 265 w 281"/>
                <a:gd name="T7" fmla="*/ 13 h 13"/>
                <a:gd name="T8" fmla="*/ 281 w 281"/>
                <a:gd name="T9" fmla="*/ 0 h 13"/>
                <a:gd name="T10" fmla="*/ 0 w 281"/>
                <a:gd name="T11" fmla="*/ 0 h 13"/>
              </a:gdLst>
              <a:ahLst/>
              <a:cxnLst>
                <a:cxn ang="0">
                  <a:pos x="T0" y="T1"/>
                </a:cxn>
                <a:cxn ang="0">
                  <a:pos x="T2" y="T3"/>
                </a:cxn>
                <a:cxn ang="0">
                  <a:pos x="T4" y="T5"/>
                </a:cxn>
                <a:cxn ang="0">
                  <a:pos x="T6" y="T7"/>
                </a:cxn>
                <a:cxn ang="0">
                  <a:pos x="T8" y="T9"/>
                </a:cxn>
                <a:cxn ang="0">
                  <a:pos x="T10" y="T11"/>
                </a:cxn>
              </a:cxnLst>
              <a:rect l="0" t="0" r="r" b="b"/>
              <a:pathLst>
                <a:path w="281" h="13">
                  <a:moveTo>
                    <a:pt x="0" y="0"/>
                  </a:moveTo>
                  <a:lnTo>
                    <a:pt x="0" y="0"/>
                  </a:lnTo>
                  <a:lnTo>
                    <a:pt x="14" y="13"/>
                  </a:lnTo>
                  <a:lnTo>
                    <a:pt x="265" y="13"/>
                  </a:lnTo>
                  <a:lnTo>
                    <a:pt x="28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13"/>
            <p:cNvSpPr>
              <a:spLocks noEditPoints="1"/>
            </p:cNvSpPr>
            <p:nvPr/>
          </p:nvSpPr>
          <p:spPr bwMode="auto">
            <a:xfrm>
              <a:off x="8385176" y="4341813"/>
              <a:ext cx="442913" cy="393700"/>
            </a:xfrm>
            <a:custGeom>
              <a:avLst/>
              <a:gdLst>
                <a:gd name="T0" fmla="*/ 12 w 279"/>
                <a:gd name="T1" fmla="*/ 242 h 248"/>
                <a:gd name="T2" fmla="*/ 31 w 279"/>
                <a:gd name="T3" fmla="*/ 232 h 248"/>
                <a:gd name="T4" fmla="*/ 62 w 279"/>
                <a:gd name="T5" fmla="*/ 225 h 248"/>
                <a:gd name="T6" fmla="*/ 76 w 279"/>
                <a:gd name="T7" fmla="*/ 225 h 248"/>
                <a:gd name="T8" fmla="*/ 105 w 279"/>
                <a:gd name="T9" fmla="*/ 229 h 248"/>
                <a:gd name="T10" fmla="*/ 133 w 279"/>
                <a:gd name="T11" fmla="*/ 240 h 248"/>
                <a:gd name="T12" fmla="*/ 136 w 279"/>
                <a:gd name="T13" fmla="*/ 242 h 248"/>
                <a:gd name="T14" fmla="*/ 144 w 279"/>
                <a:gd name="T15" fmla="*/ 242 h 248"/>
                <a:gd name="T16" fmla="*/ 148 w 279"/>
                <a:gd name="T17" fmla="*/ 240 h 248"/>
                <a:gd name="T18" fmla="*/ 150 w 279"/>
                <a:gd name="T19" fmla="*/ 238 h 248"/>
                <a:gd name="T20" fmla="*/ 152 w 279"/>
                <a:gd name="T21" fmla="*/ 236 h 248"/>
                <a:gd name="T22" fmla="*/ 156 w 279"/>
                <a:gd name="T23" fmla="*/ 234 h 248"/>
                <a:gd name="T24" fmla="*/ 160 w 279"/>
                <a:gd name="T25" fmla="*/ 234 h 248"/>
                <a:gd name="T26" fmla="*/ 162 w 279"/>
                <a:gd name="T27" fmla="*/ 232 h 248"/>
                <a:gd name="T28" fmla="*/ 166 w 279"/>
                <a:gd name="T29" fmla="*/ 230 h 248"/>
                <a:gd name="T30" fmla="*/ 168 w 279"/>
                <a:gd name="T31" fmla="*/ 230 h 248"/>
                <a:gd name="T32" fmla="*/ 185 w 279"/>
                <a:gd name="T33" fmla="*/ 227 h 248"/>
                <a:gd name="T34" fmla="*/ 205 w 279"/>
                <a:gd name="T35" fmla="*/ 225 h 248"/>
                <a:gd name="T36" fmla="*/ 246 w 279"/>
                <a:gd name="T37" fmla="*/ 232 h 248"/>
                <a:gd name="T38" fmla="*/ 267 w 279"/>
                <a:gd name="T39" fmla="*/ 240 h 248"/>
                <a:gd name="T40" fmla="*/ 267 w 279"/>
                <a:gd name="T41" fmla="*/ 240 h 248"/>
                <a:gd name="T42" fmla="*/ 269 w 279"/>
                <a:gd name="T43" fmla="*/ 240 h 248"/>
                <a:gd name="T44" fmla="*/ 269 w 279"/>
                <a:gd name="T45" fmla="*/ 242 h 248"/>
                <a:gd name="T46" fmla="*/ 279 w 279"/>
                <a:gd name="T47" fmla="*/ 248 h 248"/>
                <a:gd name="T48" fmla="*/ 275 w 279"/>
                <a:gd name="T49" fmla="*/ 16 h 248"/>
                <a:gd name="T50" fmla="*/ 257 w 279"/>
                <a:gd name="T51" fmla="*/ 10 h 248"/>
                <a:gd name="T52" fmla="*/ 222 w 279"/>
                <a:gd name="T53" fmla="*/ 2 h 248"/>
                <a:gd name="T54" fmla="*/ 207 w 279"/>
                <a:gd name="T55" fmla="*/ 0 h 248"/>
                <a:gd name="T56" fmla="*/ 164 w 279"/>
                <a:gd name="T57" fmla="*/ 8 h 248"/>
                <a:gd name="T58" fmla="*/ 140 w 279"/>
                <a:gd name="T59" fmla="*/ 20 h 248"/>
                <a:gd name="T60" fmla="*/ 131 w 279"/>
                <a:gd name="T61" fmla="*/ 14 h 248"/>
                <a:gd name="T62" fmla="*/ 97 w 279"/>
                <a:gd name="T63" fmla="*/ 2 h 248"/>
                <a:gd name="T64" fmla="*/ 74 w 279"/>
                <a:gd name="T65" fmla="*/ 0 h 248"/>
                <a:gd name="T66" fmla="*/ 41 w 279"/>
                <a:gd name="T67" fmla="*/ 4 h 248"/>
                <a:gd name="T68" fmla="*/ 6 w 279"/>
                <a:gd name="T69" fmla="*/ 16 h 248"/>
                <a:gd name="T70" fmla="*/ 0 w 279"/>
                <a:gd name="T71" fmla="*/ 248 h 248"/>
                <a:gd name="T72" fmla="*/ 148 w 279"/>
                <a:gd name="T73" fmla="*/ 225 h 248"/>
                <a:gd name="T74" fmla="*/ 148 w 279"/>
                <a:gd name="T75" fmla="*/ 33 h 248"/>
                <a:gd name="T76" fmla="*/ 168 w 279"/>
                <a:gd name="T77" fmla="*/ 22 h 248"/>
                <a:gd name="T78" fmla="*/ 207 w 279"/>
                <a:gd name="T79" fmla="*/ 14 h 248"/>
                <a:gd name="T80" fmla="*/ 220 w 279"/>
                <a:gd name="T81" fmla="*/ 16 h 248"/>
                <a:gd name="T82" fmla="*/ 250 w 279"/>
                <a:gd name="T83" fmla="*/ 22 h 248"/>
                <a:gd name="T84" fmla="*/ 265 w 279"/>
                <a:gd name="T85" fmla="*/ 223 h 248"/>
                <a:gd name="T86" fmla="*/ 265 w 279"/>
                <a:gd name="T87" fmla="*/ 223 h 248"/>
                <a:gd name="T88" fmla="*/ 240 w 279"/>
                <a:gd name="T89" fmla="*/ 215 h 248"/>
                <a:gd name="T90" fmla="*/ 205 w 279"/>
                <a:gd name="T91" fmla="*/ 211 h 248"/>
                <a:gd name="T92" fmla="*/ 181 w 279"/>
                <a:gd name="T93" fmla="*/ 213 h 248"/>
                <a:gd name="T94" fmla="*/ 160 w 279"/>
                <a:gd name="T95" fmla="*/ 219 h 248"/>
                <a:gd name="T96" fmla="*/ 160 w 279"/>
                <a:gd name="T97" fmla="*/ 219 h 248"/>
                <a:gd name="T98" fmla="*/ 154 w 279"/>
                <a:gd name="T99" fmla="*/ 221 h 248"/>
                <a:gd name="T100" fmla="*/ 154 w 279"/>
                <a:gd name="T101" fmla="*/ 221 h 248"/>
                <a:gd name="T102" fmla="*/ 148 w 279"/>
                <a:gd name="T103" fmla="*/ 225 h 248"/>
                <a:gd name="T104" fmla="*/ 15 w 279"/>
                <a:gd name="T105" fmla="*/ 28 h 248"/>
                <a:gd name="T106" fmla="*/ 45 w 279"/>
                <a:gd name="T107" fmla="*/ 18 h 248"/>
                <a:gd name="T108" fmla="*/ 74 w 279"/>
                <a:gd name="T109" fmla="*/ 14 h 248"/>
                <a:gd name="T110" fmla="*/ 95 w 279"/>
                <a:gd name="T111" fmla="*/ 16 h 248"/>
                <a:gd name="T112" fmla="*/ 125 w 279"/>
                <a:gd name="T113" fmla="*/ 28 h 248"/>
                <a:gd name="T114" fmla="*/ 133 w 279"/>
                <a:gd name="T115" fmla="*/ 225 h 248"/>
                <a:gd name="T116" fmla="*/ 119 w 279"/>
                <a:gd name="T117" fmla="*/ 219 h 248"/>
                <a:gd name="T118" fmla="*/ 92 w 279"/>
                <a:gd name="T119" fmla="*/ 211 h 248"/>
                <a:gd name="T120" fmla="*/ 76 w 279"/>
                <a:gd name="T121" fmla="*/ 211 h 248"/>
                <a:gd name="T122" fmla="*/ 41 w 279"/>
                <a:gd name="T123" fmla="*/ 215 h 248"/>
                <a:gd name="T124" fmla="*/ 15 w 279"/>
                <a:gd name="T125"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248">
                  <a:moveTo>
                    <a:pt x="12" y="242"/>
                  </a:moveTo>
                  <a:lnTo>
                    <a:pt x="12" y="242"/>
                  </a:lnTo>
                  <a:lnTo>
                    <a:pt x="17" y="238"/>
                  </a:lnTo>
                  <a:lnTo>
                    <a:pt x="31" y="232"/>
                  </a:lnTo>
                  <a:lnTo>
                    <a:pt x="51" y="227"/>
                  </a:lnTo>
                  <a:lnTo>
                    <a:pt x="62" y="225"/>
                  </a:lnTo>
                  <a:lnTo>
                    <a:pt x="76" y="225"/>
                  </a:lnTo>
                  <a:lnTo>
                    <a:pt x="76" y="225"/>
                  </a:lnTo>
                  <a:lnTo>
                    <a:pt x="92" y="225"/>
                  </a:lnTo>
                  <a:lnTo>
                    <a:pt x="105" y="229"/>
                  </a:lnTo>
                  <a:lnTo>
                    <a:pt x="119" y="232"/>
                  </a:lnTo>
                  <a:lnTo>
                    <a:pt x="133" y="240"/>
                  </a:lnTo>
                  <a:lnTo>
                    <a:pt x="133" y="240"/>
                  </a:lnTo>
                  <a:lnTo>
                    <a:pt x="136" y="242"/>
                  </a:lnTo>
                  <a:lnTo>
                    <a:pt x="140" y="244"/>
                  </a:lnTo>
                  <a:lnTo>
                    <a:pt x="144" y="242"/>
                  </a:lnTo>
                  <a:lnTo>
                    <a:pt x="144" y="242"/>
                  </a:lnTo>
                  <a:lnTo>
                    <a:pt x="148" y="240"/>
                  </a:lnTo>
                  <a:lnTo>
                    <a:pt x="148" y="240"/>
                  </a:lnTo>
                  <a:lnTo>
                    <a:pt x="150" y="238"/>
                  </a:lnTo>
                  <a:lnTo>
                    <a:pt x="150" y="238"/>
                  </a:lnTo>
                  <a:lnTo>
                    <a:pt x="152" y="236"/>
                  </a:lnTo>
                  <a:lnTo>
                    <a:pt x="152" y="236"/>
                  </a:lnTo>
                  <a:lnTo>
                    <a:pt x="156" y="234"/>
                  </a:lnTo>
                  <a:lnTo>
                    <a:pt x="156" y="234"/>
                  </a:lnTo>
                  <a:lnTo>
                    <a:pt x="160" y="234"/>
                  </a:lnTo>
                  <a:lnTo>
                    <a:pt x="160" y="234"/>
                  </a:lnTo>
                  <a:lnTo>
                    <a:pt x="162" y="232"/>
                  </a:lnTo>
                  <a:lnTo>
                    <a:pt x="162" y="232"/>
                  </a:lnTo>
                  <a:lnTo>
                    <a:pt x="166" y="230"/>
                  </a:lnTo>
                  <a:lnTo>
                    <a:pt x="166" y="230"/>
                  </a:lnTo>
                  <a:lnTo>
                    <a:pt x="168" y="230"/>
                  </a:lnTo>
                  <a:lnTo>
                    <a:pt x="168" y="230"/>
                  </a:lnTo>
                  <a:lnTo>
                    <a:pt x="185" y="227"/>
                  </a:lnTo>
                  <a:lnTo>
                    <a:pt x="205" y="225"/>
                  </a:lnTo>
                  <a:lnTo>
                    <a:pt x="205" y="225"/>
                  </a:lnTo>
                  <a:lnTo>
                    <a:pt x="226" y="227"/>
                  </a:lnTo>
                  <a:lnTo>
                    <a:pt x="246" y="232"/>
                  </a:lnTo>
                  <a:lnTo>
                    <a:pt x="259" y="236"/>
                  </a:lnTo>
                  <a:lnTo>
                    <a:pt x="267" y="240"/>
                  </a:lnTo>
                  <a:lnTo>
                    <a:pt x="267" y="240"/>
                  </a:lnTo>
                  <a:lnTo>
                    <a:pt x="267" y="240"/>
                  </a:lnTo>
                  <a:lnTo>
                    <a:pt x="267" y="240"/>
                  </a:lnTo>
                  <a:lnTo>
                    <a:pt x="269" y="240"/>
                  </a:lnTo>
                  <a:lnTo>
                    <a:pt x="269" y="240"/>
                  </a:lnTo>
                  <a:lnTo>
                    <a:pt x="269" y="242"/>
                  </a:lnTo>
                  <a:lnTo>
                    <a:pt x="269" y="242"/>
                  </a:lnTo>
                  <a:lnTo>
                    <a:pt x="279" y="248"/>
                  </a:lnTo>
                  <a:lnTo>
                    <a:pt x="279" y="18"/>
                  </a:lnTo>
                  <a:lnTo>
                    <a:pt x="275" y="16"/>
                  </a:lnTo>
                  <a:lnTo>
                    <a:pt x="275" y="16"/>
                  </a:lnTo>
                  <a:lnTo>
                    <a:pt x="257" y="10"/>
                  </a:lnTo>
                  <a:lnTo>
                    <a:pt x="240" y="4"/>
                  </a:lnTo>
                  <a:lnTo>
                    <a:pt x="222" y="2"/>
                  </a:lnTo>
                  <a:lnTo>
                    <a:pt x="207" y="0"/>
                  </a:lnTo>
                  <a:lnTo>
                    <a:pt x="207" y="0"/>
                  </a:lnTo>
                  <a:lnTo>
                    <a:pt x="183" y="2"/>
                  </a:lnTo>
                  <a:lnTo>
                    <a:pt x="164" y="8"/>
                  </a:lnTo>
                  <a:lnTo>
                    <a:pt x="150" y="14"/>
                  </a:lnTo>
                  <a:lnTo>
                    <a:pt x="140" y="20"/>
                  </a:lnTo>
                  <a:lnTo>
                    <a:pt x="140" y="20"/>
                  </a:lnTo>
                  <a:lnTo>
                    <a:pt x="131" y="14"/>
                  </a:lnTo>
                  <a:lnTo>
                    <a:pt x="117" y="8"/>
                  </a:lnTo>
                  <a:lnTo>
                    <a:pt x="97" y="2"/>
                  </a:lnTo>
                  <a:lnTo>
                    <a:pt x="74" y="0"/>
                  </a:lnTo>
                  <a:lnTo>
                    <a:pt x="74" y="0"/>
                  </a:lnTo>
                  <a:lnTo>
                    <a:pt x="58" y="2"/>
                  </a:lnTo>
                  <a:lnTo>
                    <a:pt x="41" y="4"/>
                  </a:lnTo>
                  <a:lnTo>
                    <a:pt x="23" y="10"/>
                  </a:lnTo>
                  <a:lnTo>
                    <a:pt x="6" y="16"/>
                  </a:lnTo>
                  <a:lnTo>
                    <a:pt x="0" y="18"/>
                  </a:lnTo>
                  <a:lnTo>
                    <a:pt x="0" y="248"/>
                  </a:lnTo>
                  <a:lnTo>
                    <a:pt x="12" y="242"/>
                  </a:lnTo>
                  <a:close/>
                  <a:moveTo>
                    <a:pt x="148" y="225"/>
                  </a:moveTo>
                  <a:lnTo>
                    <a:pt x="148" y="33"/>
                  </a:lnTo>
                  <a:lnTo>
                    <a:pt x="148" y="33"/>
                  </a:lnTo>
                  <a:lnTo>
                    <a:pt x="154" y="28"/>
                  </a:lnTo>
                  <a:lnTo>
                    <a:pt x="168" y="22"/>
                  </a:lnTo>
                  <a:lnTo>
                    <a:pt x="183" y="16"/>
                  </a:lnTo>
                  <a:lnTo>
                    <a:pt x="207" y="14"/>
                  </a:lnTo>
                  <a:lnTo>
                    <a:pt x="207" y="14"/>
                  </a:lnTo>
                  <a:lnTo>
                    <a:pt x="220" y="16"/>
                  </a:lnTo>
                  <a:lnTo>
                    <a:pt x="234" y="18"/>
                  </a:lnTo>
                  <a:lnTo>
                    <a:pt x="250" y="22"/>
                  </a:lnTo>
                  <a:lnTo>
                    <a:pt x="265" y="28"/>
                  </a:lnTo>
                  <a:lnTo>
                    <a:pt x="265" y="223"/>
                  </a:lnTo>
                  <a:lnTo>
                    <a:pt x="265" y="223"/>
                  </a:lnTo>
                  <a:lnTo>
                    <a:pt x="265" y="223"/>
                  </a:lnTo>
                  <a:lnTo>
                    <a:pt x="254" y="219"/>
                  </a:lnTo>
                  <a:lnTo>
                    <a:pt x="240" y="215"/>
                  </a:lnTo>
                  <a:lnTo>
                    <a:pt x="222" y="211"/>
                  </a:lnTo>
                  <a:lnTo>
                    <a:pt x="205" y="211"/>
                  </a:lnTo>
                  <a:lnTo>
                    <a:pt x="205" y="211"/>
                  </a:lnTo>
                  <a:lnTo>
                    <a:pt x="181" y="213"/>
                  </a:lnTo>
                  <a:lnTo>
                    <a:pt x="160" y="219"/>
                  </a:lnTo>
                  <a:lnTo>
                    <a:pt x="160" y="219"/>
                  </a:lnTo>
                  <a:lnTo>
                    <a:pt x="160" y="219"/>
                  </a:lnTo>
                  <a:lnTo>
                    <a:pt x="160" y="219"/>
                  </a:lnTo>
                  <a:lnTo>
                    <a:pt x="154" y="221"/>
                  </a:lnTo>
                  <a:lnTo>
                    <a:pt x="154" y="221"/>
                  </a:lnTo>
                  <a:lnTo>
                    <a:pt x="154" y="221"/>
                  </a:lnTo>
                  <a:lnTo>
                    <a:pt x="154" y="221"/>
                  </a:lnTo>
                  <a:lnTo>
                    <a:pt x="148" y="225"/>
                  </a:lnTo>
                  <a:lnTo>
                    <a:pt x="148" y="225"/>
                  </a:lnTo>
                  <a:close/>
                  <a:moveTo>
                    <a:pt x="15" y="28"/>
                  </a:moveTo>
                  <a:lnTo>
                    <a:pt x="15" y="28"/>
                  </a:lnTo>
                  <a:lnTo>
                    <a:pt x="31" y="22"/>
                  </a:lnTo>
                  <a:lnTo>
                    <a:pt x="45" y="18"/>
                  </a:lnTo>
                  <a:lnTo>
                    <a:pt x="60" y="16"/>
                  </a:lnTo>
                  <a:lnTo>
                    <a:pt x="74" y="14"/>
                  </a:lnTo>
                  <a:lnTo>
                    <a:pt x="74" y="14"/>
                  </a:lnTo>
                  <a:lnTo>
                    <a:pt x="95" y="16"/>
                  </a:lnTo>
                  <a:lnTo>
                    <a:pt x="113" y="22"/>
                  </a:lnTo>
                  <a:lnTo>
                    <a:pt x="125" y="28"/>
                  </a:lnTo>
                  <a:lnTo>
                    <a:pt x="133" y="33"/>
                  </a:lnTo>
                  <a:lnTo>
                    <a:pt x="133" y="225"/>
                  </a:lnTo>
                  <a:lnTo>
                    <a:pt x="133" y="225"/>
                  </a:lnTo>
                  <a:lnTo>
                    <a:pt x="119" y="219"/>
                  </a:lnTo>
                  <a:lnTo>
                    <a:pt x="105" y="213"/>
                  </a:lnTo>
                  <a:lnTo>
                    <a:pt x="92" y="211"/>
                  </a:lnTo>
                  <a:lnTo>
                    <a:pt x="76" y="211"/>
                  </a:lnTo>
                  <a:lnTo>
                    <a:pt x="76" y="211"/>
                  </a:lnTo>
                  <a:lnTo>
                    <a:pt x="56" y="211"/>
                  </a:lnTo>
                  <a:lnTo>
                    <a:pt x="41" y="215"/>
                  </a:lnTo>
                  <a:lnTo>
                    <a:pt x="25" y="219"/>
                  </a:lnTo>
                  <a:lnTo>
                    <a:pt x="15" y="223"/>
                  </a:lnTo>
                  <a:lnTo>
                    <a:pt x="1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56998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81202" y="137160"/>
            <a:ext cx="6856697" cy="1005840"/>
          </a:xfrm>
        </p:spPr>
        <p:txBody>
          <a:bodyPr/>
          <a:lstStyle/>
          <a:p>
            <a:r>
              <a:rPr lang="en-GB" b="1" dirty="0"/>
              <a:t>Category Management Process Cycle</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472375" y="1522845"/>
            <a:ext cx="7304686" cy="5092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8602134" y="2045690"/>
            <a:ext cx="1727100" cy="1079839"/>
          </a:xfrm>
          <a:prstGeom prst="rect">
            <a:avLst/>
          </a:prstGeom>
          <a:solidFill>
            <a:schemeClr val="bg1">
              <a:lumMod val="85000"/>
            </a:schemeClr>
          </a:solidFill>
          <a:ln w="57150" cap="sq" cmpd="sng" algn="ctr">
            <a:solidFill>
              <a:srgbClr val="FFFFFF"/>
            </a:solidFill>
            <a:miter lim="800000"/>
            <a:headEnd/>
            <a:tailEnd/>
          </a:ln>
          <a:effectLst/>
        </p:spPr>
        <p:txBody>
          <a:bodyPr wrap="none" lIns="68526" tIns="34264" rIns="68526" bIns="34264" rtlCol="0" anchor="ctr"/>
          <a:lstStyle/>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ategory Role</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onsumer Insight &amp; Loyalty</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Joint Supplier Plan</a:t>
            </a:r>
          </a:p>
        </p:txBody>
      </p:sp>
      <p:sp>
        <p:nvSpPr>
          <p:cNvPr id="7" name="Isosceles Triangle 54"/>
          <p:cNvSpPr/>
          <p:nvPr/>
        </p:nvSpPr>
        <p:spPr bwMode="auto">
          <a:xfrm rot="10800000">
            <a:off x="8602134" y="1797357"/>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ln>
            <a:solidFill>
              <a:schemeClr val="bg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US" sz="600" b="1" dirty="0">
              <a:ln w="57150" cmpd="sng">
                <a:solidFill>
                  <a:srgbClr val="FFFFFF"/>
                </a:solidFill>
              </a:ln>
              <a:solidFill>
                <a:srgbClr val="231F20"/>
              </a:solidFill>
              <a:latin typeface="Calibri"/>
              <a:cs typeface="Arial" pitchFamily="34" charset="0"/>
            </a:endParaRPr>
          </a:p>
        </p:txBody>
      </p:sp>
      <p:sp>
        <p:nvSpPr>
          <p:cNvPr id="20" name="Text Placeholder 27"/>
          <p:cNvSpPr txBox="1">
            <a:spLocks/>
          </p:cNvSpPr>
          <p:nvPr/>
        </p:nvSpPr>
        <p:spPr>
          <a:xfrm>
            <a:off x="8648676" y="1797035"/>
            <a:ext cx="1661480" cy="432229"/>
          </a:xfrm>
          <a:prstGeom prst="rect">
            <a:avLst/>
          </a:prstGeom>
        </p:spPr>
        <p:txBody>
          <a:bodyPr lIns="68526" tIns="34264" rIns="68526" bIns="34264" anchor="ctr"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Category Strategy</a:t>
            </a:r>
          </a:p>
        </p:txBody>
      </p:sp>
      <p:sp>
        <p:nvSpPr>
          <p:cNvPr id="21" name="Rectangle 20"/>
          <p:cNvSpPr/>
          <p:nvPr/>
        </p:nvSpPr>
        <p:spPr bwMode="auto">
          <a:xfrm>
            <a:off x="8623668" y="3517235"/>
            <a:ext cx="1727100" cy="1079839"/>
          </a:xfrm>
          <a:prstGeom prst="rect">
            <a:avLst/>
          </a:prstGeom>
          <a:solidFill>
            <a:schemeClr val="bg1">
              <a:lumMod val="85000"/>
            </a:schemeClr>
          </a:solidFill>
          <a:ln w="57150" cap="sq" cmpd="sng" algn="ctr">
            <a:solidFill>
              <a:srgbClr val="FFFFFF"/>
            </a:solidFill>
            <a:miter lim="800000"/>
            <a:headEnd/>
            <a:tailEnd/>
          </a:ln>
          <a:effectLst/>
        </p:spPr>
        <p:txBody>
          <a:bodyPr wrap="square" lIns="68526" tIns="34264" rIns="68526" bIns="34264" rtlCol="0" anchor="ctr"/>
          <a:lstStyle/>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Integrated to planograms</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Space analysis </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Product location for in store picking</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GMROS,GMROC</a:t>
            </a:r>
          </a:p>
        </p:txBody>
      </p:sp>
      <p:sp>
        <p:nvSpPr>
          <p:cNvPr id="22" name="Isosceles Triangle 54"/>
          <p:cNvSpPr/>
          <p:nvPr/>
        </p:nvSpPr>
        <p:spPr bwMode="auto">
          <a:xfrm rot="10800000">
            <a:off x="8630874" y="3161349"/>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ln>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US" sz="600" b="1" dirty="0">
              <a:ln w="57150" cmpd="sng">
                <a:solidFill>
                  <a:srgbClr val="FFFFFF"/>
                </a:solidFill>
              </a:ln>
              <a:solidFill>
                <a:srgbClr val="231F20"/>
              </a:solidFill>
              <a:latin typeface="Calibri"/>
              <a:cs typeface="Arial" pitchFamily="34" charset="0"/>
            </a:endParaRPr>
          </a:p>
        </p:txBody>
      </p:sp>
      <p:sp>
        <p:nvSpPr>
          <p:cNvPr id="23" name="Text Placeholder 27"/>
          <p:cNvSpPr txBox="1">
            <a:spLocks/>
          </p:cNvSpPr>
          <p:nvPr/>
        </p:nvSpPr>
        <p:spPr>
          <a:xfrm>
            <a:off x="8657220" y="3218155"/>
            <a:ext cx="1661480" cy="432229"/>
          </a:xfrm>
          <a:prstGeom prst="rect">
            <a:avLst/>
          </a:prstGeom>
        </p:spPr>
        <p:txBody>
          <a:bodyPr lIns="68526" tIns="34264" rIns="68526" bIns="34264" anchor="t"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Macro Space</a:t>
            </a:r>
          </a:p>
        </p:txBody>
      </p:sp>
      <p:sp>
        <p:nvSpPr>
          <p:cNvPr id="24" name="Rectangle 23"/>
          <p:cNvSpPr/>
          <p:nvPr/>
        </p:nvSpPr>
        <p:spPr bwMode="auto">
          <a:xfrm>
            <a:off x="8614750" y="4868989"/>
            <a:ext cx="1727100" cy="1079839"/>
          </a:xfrm>
          <a:prstGeom prst="rect">
            <a:avLst/>
          </a:prstGeom>
          <a:solidFill>
            <a:schemeClr val="bg1">
              <a:lumMod val="85000"/>
            </a:schemeClr>
          </a:solidFill>
          <a:ln w="57150" cap="sq" cmpd="sng" algn="ctr">
            <a:solidFill>
              <a:srgbClr val="FFFFFF"/>
            </a:solidFill>
            <a:miter lim="800000"/>
            <a:headEnd/>
            <a:tailEnd/>
          </a:ln>
          <a:effectLst/>
        </p:spPr>
        <p:txBody>
          <a:bodyPr wrap="none" lIns="68526" tIns="34264" rIns="68526" bIns="34264" rtlCol="0" anchor="ctr"/>
          <a:lstStyle/>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ustomer demand patterns</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luster profile</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Insight into assortment</a:t>
            </a:r>
          </a:p>
        </p:txBody>
      </p:sp>
      <p:sp>
        <p:nvSpPr>
          <p:cNvPr id="25" name="Isosceles Triangle 54"/>
          <p:cNvSpPr/>
          <p:nvPr/>
        </p:nvSpPr>
        <p:spPr bwMode="auto">
          <a:xfrm rot="10800000">
            <a:off x="8633842" y="4632630"/>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solidFill>
            <a:srgbClr val="FFC026"/>
          </a:solidFill>
          <a:ln>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US" sz="600" b="1" dirty="0">
              <a:ln w="57150" cmpd="sng">
                <a:solidFill>
                  <a:srgbClr val="FFFFFF"/>
                </a:solidFill>
              </a:ln>
              <a:solidFill>
                <a:srgbClr val="231F20"/>
              </a:solidFill>
              <a:latin typeface="Calibri"/>
              <a:cs typeface="Arial" pitchFamily="34" charset="0"/>
            </a:endParaRPr>
          </a:p>
        </p:txBody>
      </p:sp>
      <p:sp>
        <p:nvSpPr>
          <p:cNvPr id="26" name="Text Placeholder 27"/>
          <p:cNvSpPr txBox="1">
            <a:spLocks/>
          </p:cNvSpPr>
          <p:nvPr/>
        </p:nvSpPr>
        <p:spPr>
          <a:xfrm>
            <a:off x="8680385" y="4632308"/>
            <a:ext cx="1661480" cy="432229"/>
          </a:xfrm>
          <a:prstGeom prst="rect">
            <a:avLst/>
          </a:prstGeom>
        </p:spPr>
        <p:txBody>
          <a:bodyPr lIns="68526" tIns="34264" rIns="68526" bIns="34264" anchor="ctr"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Intelligent Clusters</a:t>
            </a:r>
          </a:p>
        </p:txBody>
      </p:sp>
      <p:sp>
        <p:nvSpPr>
          <p:cNvPr id="27" name="Rectangle 26"/>
          <p:cNvSpPr/>
          <p:nvPr/>
        </p:nvSpPr>
        <p:spPr bwMode="auto">
          <a:xfrm>
            <a:off x="1810029" y="2013604"/>
            <a:ext cx="1735644" cy="1079839"/>
          </a:xfrm>
          <a:prstGeom prst="rect">
            <a:avLst/>
          </a:prstGeom>
          <a:solidFill>
            <a:schemeClr val="bg1">
              <a:lumMod val="85000"/>
            </a:schemeClr>
          </a:solidFill>
          <a:ln w="57150" cap="sq" cmpd="sng" algn="ctr">
            <a:solidFill>
              <a:srgbClr val="FFFFFF"/>
            </a:solidFill>
            <a:miter lim="800000"/>
            <a:headEnd/>
            <a:tailEnd/>
          </a:ln>
          <a:effectLst/>
        </p:spPr>
        <p:txBody>
          <a:bodyPr wrap="none" lIns="68526" tIns="34264" rIns="68526" bIns="34264" rtlCol="0" anchor="ctr"/>
          <a:lstStyle/>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Store distribution &amp; feedback</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Tablet delivery of content</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ollaboration</a:t>
            </a:r>
          </a:p>
        </p:txBody>
      </p:sp>
      <p:sp>
        <p:nvSpPr>
          <p:cNvPr id="28" name="Isosceles Triangle 54"/>
          <p:cNvSpPr/>
          <p:nvPr/>
        </p:nvSpPr>
        <p:spPr bwMode="auto">
          <a:xfrm rot="10800000">
            <a:off x="1829122" y="1797679"/>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US" sz="600" b="1" dirty="0">
              <a:ln w="57150" cmpd="sng">
                <a:solidFill>
                  <a:srgbClr val="FFFFFF"/>
                </a:solidFill>
              </a:ln>
              <a:solidFill>
                <a:srgbClr val="231F20"/>
              </a:solidFill>
              <a:latin typeface="Calibri"/>
              <a:cs typeface="Arial" pitchFamily="34" charset="0"/>
            </a:endParaRPr>
          </a:p>
        </p:txBody>
      </p:sp>
      <p:sp>
        <p:nvSpPr>
          <p:cNvPr id="29" name="Text Placeholder 27"/>
          <p:cNvSpPr txBox="1">
            <a:spLocks/>
          </p:cNvSpPr>
          <p:nvPr/>
        </p:nvSpPr>
        <p:spPr>
          <a:xfrm>
            <a:off x="1875665" y="1797358"/>
            <a:ext cx="1661480" cy="432229"/>
          </a:xfrm>
          <a:prstGeom prst="rect">
            <a:avLst/>
          </a:prstGeom>
        </p:spPr>
        <p:txBody>
          <a:bodyPr lIns="68526" tIns="34264" rIns="68526" bIns="34264" anchor="ctr"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Store Execution</a:t>
            </a:r>
          </a:p>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amp; Replenishment</a:t>
            </a:r>
          </a:p>
        </p:txBody>
      </p:sp>
      <p:sp>
        <p:nvSpPr>
          <p:cNvPr id="30" name="Rectangle 29"/>
          <p:cNvSpPr/>
          <p:nvPr/>
        </p:nvSpPr>
        <p:spPr bwMode="auto">
          <a:xfrm>
            <a:off x="1818573" y="3421304"/>
            <a:ext cx="1727100" cy="1079839"/>
          </a:xfrm>
          <a:prstGeom prst="rect">
            <a:avLst/>
          </a:prstGeom>
          <a:solidFill>
            <a:schemeClr val="bg1">
              <a:lumMod val="85000"/>
            </a:schemeClr>
          </a:solidFill>
          <a:ln w="57150" cap="sq" cmpd="sng" algn="ctr">
            <a:solidFill>
              <a:srgbClr val="FFFFFF"/>
            </a:solidFill>
            <a:miter lim="800000"/>
            <a:headEnd/>
            <a:tailEnd/>
          </a:ln>
          <a:effectLst/>
        </p:spPr>
        <p:txBody>
          <a:bodyPr wrap="square" lIns="68526" tIns="34264" rIns="68526" bIns="34264" rtlCol="0" anchor="ctr"/>
          <a:lstStyle/>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luster &amp; Store Specific</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Planogram automation</a:t>
            </a:r>
          </a:p>
          <a:p>
            <a:pPr marL="85661" indent="-85661" defTabSz="342635">
              <a:lnSpc>
                <a:spcPct val="90000"/>
              </a:lnSpc>
              <a:spcAft>
                <a:spcPts val="450"/>
              </a:spcAft>
              <a:buFont typeface="Arial" panose="020B0604020202020204" pitchFamily="34" charset="0"/>
              <a:buChar char="•"/>
            </a:pPr>
            <a:r>
              <a:rPr lang="en-GB" sz="1000" b="1" dirty="0">
                <a:solidFill>
                  <a:srgbClr val="231F20"/>
                </a:solidFill>
                <a:latin typeface="Calibri"/>
              </a:rPr>
              <a:t>Localised offer</a:t>
            </a:r>
          </a:p>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p:txBody>
      </p:sp>
      <p:sp>
        <p:nvSpPr>
          <p:cNvPr id="31" name="Isosceles Triangle 54"/>
          <p:cNvSpPr/>
          <p:nvPr/>
        </p:nvSpPr>
        <p:spPr bwMode="auto">
          <a:xfrm rot="10800000">
            <a:off x="1821624" y="3138589"/>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US" sz="600" b="1" dirty="0">
              <a:ln w="57150" cmpd="sng">
                <a:solidFill>
                  <a:srgbClr val="FFFFFF"/>
                </a:solidFill>
              </a:ln>
              <a:solidFill>
                <a:srgbClr val="231F20"/>
              </a:solidFill>
              <a:latin typeface="Calibri"/>
              <a:cs typeface="Arial" pitchFamily="34" charset="0"/>
            </a:endParaRPr>
          </a:p>
        </p:txBody>
      </p:sp>
      <p:sp>
        <p:nvSpPr>
          <p:cNvPr id="32" name="Text Placeholder 27"/>
          <p:cNvSpPr txBox="1">
            <a:spLocks/>
          </p:cNvSpPr>
          <p:nvPr/>
        </p:nvSpPr>
        <p:spPr>
          <a:xfrm>
            <a:off x="1884208" y="3138267"/>
            <a:ext cx="1661480" cy="432229"/>
          </a:xfrm>
          <a:prstGeom prst="rect">
            <a:avLst/>
          </a:prstGeom>
        </p:spPr>
        <p:txBody>
          <a:bodyPr lIns="68526" tIns="34264" rIns="68526" bIns="34264" anchor="ctr"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US" sz="1100" spc="8" dirty="0">
                <a:solidFill>
                  <a:prstClr val="white"/>
                </a:solidFill>
                <a:latin typeface="Calibri"/>
                <a:cs typeface="ＭＳ Ｐゴシック" pitchFamily="-105" charset="-128"/>
              </a:rPr>
              <a:t>Planograms</a:t>
            </a:r>
          </a:p>
        </p:txBody>
      </p:sp>
      <p:sp>
        <p:nvSpPr>
          <p:cNvPr id="33" name="Rectangle 32"/>
          <p:cNvSpPr/>
          <p:nvPr/>
        </p:nvSpPr>
        <p:spPr bwMode="auto">
          <a:xfrm>
            <a:off x="1809654" y="4933077"/>
            <a:ext cx="1727100" cy="935861"/>
          </a:xfrm>
          <a:prstGeom prst="rect">
            <a:avLst/>
          </a:prstGeom>
          <a:solidFill>
            <a:schemeClr val="bg1">
              <a:lumMod val="85000"/>
            </a:schemeClr>
          </a:solidFill>
          <a:ln w="57150" cap="sq" cmpd="sng" algn="ctr">
            <a:solidFill>
              <a:srgbClr val="FFFFFF"/>
            </a:solidFill>
            <a:miter lim="800000"/>
            <a:headEnd/>
            <a:tailEnd/>
          </a:ln>
          <a:effectLst/>
        </p:spPr>
        <p:txBody>
          <a:bodyPr wrap="none" lIns="68526" tIns="34264" rIns="68526" bIns="34264" rtlCol="0" anchor="ctr"/>
          <a:lstStyle/>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Space-aware</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CDT driven</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Business rules </a:t>
            </a:r>
          </a:p>
          <a:p>
            <a:pPr marL="85661" indent="-85661" defTabSz="342635">
              <a:lnSpc>
                <a:spcPct val="90000"/>
              </a:lnSpc>
              <a:spcAft>
                <a:spcPts val="450"/>
              </a:spcAft>
              <a:buFont typeface="Arial" panose="020B0604020202020204" pitchFamily="34" charset="0"/>
              <a:buChar char="•"/>
            </a:pPr>
            <a:r>
              <a:rPr lang="en-US" sz="1000" b="1" dirty="0">
                <a:solidFill>
                  <a:srgbClr val="231F20"/>
                </a:solidFill>
                <a:latin typeface="Calibri"/>
              </a:rPr>
              <a:t>GMROI</a:t>
            </a:r>
          </a:p>
          <a:p>
            <a:pPr marL="85661" indent="-85661" defTabSz="342635">
              <a:lnSpc>
                <a:spcPct val="90000"/>
              </a:lnSpc>
              <a:spcAft>
                <a:spcPts val="450"/>
              </a:spcAft>
              <a:buFont typeface="Arial" panose="020B0604020202020204" pitchFamily="34" charset="0"/>
              <a:buChar char="•"/>
            </a:pPr>
            <a:endParaRPr lang="en-US" sz="1000" dirty="0">
              <a:solidFill>
                <a:srgbClr val="231F20"/>
              </a:solidFill>
              <a:latin typeface="Calibri"/>
            </a:endParaRPr>
          </a:p>
        </p:txBody>
      </p:sp>
      <p:sp>
        <p:nvSpPr>
          <p:cNvPr id="34" name="Isosceles Triangle 54"/>
          <p:cNvSpPr/>
          <p:nvPr/>
        </p:nvSpPr>
        <p:spPr bwMode="auto">
          <a:xfrm rot="10800000">
            <a:off x="1828746" y="4552742"/>
            <a:ext cx="1691120" cy="431888"/>
          </a:xfrm>
          <a:custGeom>
            <a:avLst/>
            <a:gdLst/>
            <a:ahLst/>
            <a:cxnLst/>
            <a:rect l="l" t="t" r="r" b="b"/>
            <a:pathLst>
              <a:path w="1695271" h="869166">
                <a:moveTo>
                  <a:pt x="1695271" y="869166"/>
                </a:moveTo>
                <a:lnTo>
                  <a:pt x="0" y="869166"/>
                </a:lnTo>
                <a:lnTo>
                  <a:pt x="0" y="97205"/>
                </a:lnTo>
                <a:lnTo>
                  <a:pt x="774077" y="97205"/>
                </a:lnTo>
                <a:lnTo>
                  <a:pt x="847636" y="0"/>
                </a:lnTo>
                <a:lnTo>
                  <a:pt x="921194" y="97205"/>
                </a:lnTo>
                <a:lnTo>
                  <a:pt x="1695271" y="97205"/>
                </a:lnTo>
                <a:close/>
              </a:path>
            </a:pathLst>
          </a:custGeom>
          <a:ln>
            <a:solidFill>
              <a:schemeClr val="bg1"/>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wrap="none" lIns="68526" tIns="34264" rIns="68526" bIns="34264"/>
          <a:lstStyle>
            <a:defPPr>
              <a:defRPr lang="en-US"/>
            </a:defPPr>
            <a:lvl1pPr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1pPr>
            <a:lvl2pPr marL="4572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2pPr>
            <a:lvl3pPr marL="9144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3pPr>
            <a:lvl4pPr marL="13716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4pPr>
            <a:lvl5pPr marL="1828800" algn="l" rtl="0" fontAlgn="base">
              <a:spcBef>
                <a:spcPct val="0"/>
              </a:spcBef>
              <a:spcAft>
                <a:spcPct val="0"/>
              </a:spcAft>
              <a:defRPr kern="1200">
                <a:solidFill>
                  <a:schemeClr val="tx1"/>
                </a:solidFill>
                <a:latin typeface="Arial" pitchFamily="-105" charset="0"/>
                <a:ea typeface="ＭＳ Ｐゴシック" pitchFamily="-105" charset="-128"/>
                <a:cs typeface="ＭＳ Ｐゴシック" pitchFamily="-105" charset="-128"/>
              </a:defRPr>
            </a:lvl5pPr>
            <a:lvl6pPr marL="22860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6pPr>
            <a:lvl7pPr marL="27432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7pPr>
            <a:lvl8pPr marL="32004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8pPr>
            <a:lvl9pPr marL="3657600" algn="l" defTabSz="457200" rtl="0" eaLnBrk="1" latinLnBrk="0" hangingPunct="1">
              <a:defRPr kern="1200">
                <a:solidFill>
                  <a:schemeClr val="tx1"/>
                </a:solidFill>
                <a:latin typeface="Arial" pitchFamily="-105" charset="0"/>
                <a:ea typeface="ＭＳ Ｐゴシック" pitchFamily="-105" charset="-128"/>
                <a:cs typeface="ＭＳ Ｐゴシック" pitchFamily="-105" charset="-128"/>
              </a:defRPr>
            </a:lvl9pPr>
          </a:lstStyle>
          <a:p>
            <a:pPr defTabSz="342635">
              <a:defRPr/>
            </a:pPr>
            <a:endParaRPr lang="en-GB" sz="600" b="1" dirty="0">
              <a:ln w="57150" cmpd="sng">
                <a:solidFill>
                  <a:srgbClr val="FFFFFF"/>
                </a:solidFill>
              </a:ln>
              <a:solidFill>
                <a:srgbClr val="231F20"/>
              </a:solidFill>
              <a:latin typeface="Calibri"/>
              <a:cs typeface="Arial" pitchFamily="34" charset="0"/>
            </a:endParaRPr>
          </a:p>
        </p:txBody>
      </p:sp>
      <p:sp>
        <p:nvSpPr>
          <p:cNvPr id="35" name="Text Placeholder 27"/>
          <p:cNvSpPr txBox="1">
            <a:spLocks/>
          </p:cNvSpPr>
          <p:nvPr/>
        </p:nvSpPr>
        <p:spPr>
          <a:xfrm>
            <a:off x="1875290" y="4552421"/>
            <a:ext cx="1661480" cy="432229"/>
          </a:xfrm>
          <a:prstGeom prst="rect">
            <a:avLst/>
          </a:prstGeom>
        </p:spPr>
        <p:txBody>
          <a:bodyPr lIns="68526" tIns="34264" rIns="68526" bIns="34264" anchor="ctr" anchorCtr="0"/>
          <a:lstStyle>
            <a:lvl1pPr marL="342900" indent="-342900" algn="l" rtl="0" eaLnBrk="1" fontAlgn="base" hangingPunct="1">
              <a:spcBef>
                <a:spcPts val="750"/>
              </a:spcBef>
              <a:spcAft>
                <a:spcPct val="0"/>
              </a:spcAft>
              <a:buClr>
                <a:schemeClr val="accent1"/>
              </a:buClr>
              <a:buChar char="•"/>
              <a:defRPr sz="2400">
                <a:solidFill>
                  <a:schemeClr val="tx2"/>
                </a:solidFill>
                <a:latin typeface="Arial" pitchFamily="34" charset="0"/>
                <a:ea typeface="ＭＳ Ｐゴシック" pitchFamily="-105" charset="-128"/>
                <a:cs typeface="Arial" pitchFamily="34" charset="0"/>
              </a:defRPr>
            </a:lvl1pPr>
            <a:lvl2pPr marL="742950" indent="-285750" algn="l" rtl="0" eaLnBrk="1" fontAlgn="base" hangingPunct="1">
              <a:spcBef>
                <a:spcPct val="20000"/>
              </a:spcBef>
              <a:spcAft>
                <a:spcPct val="0"/>
              </a:spcAft>
              <a:buClr>
                <a:schemeClr val="accent1"/>
              </a:buClr>
              <a:buChar char="–"/>
              <a:defRPr sz="2000">
                <a:solidFill>
                  <a:schemeClr val="tx2"/>
                </a:solidFill>
                <a:latin typeface="Arial" pitchFamily="34" charset="0"/>
                <a:ea typeface="ＭＳ Ｐゴシック" pitchFamily="-105" charset="-128"/>
                <a:cs typeface="Arial" pitchFamily="34" charset="0"/>
              </a:defRPr>
            </a:lvl2pPr>
            <a:lvl3pPr marL="1143000" indent="-228600" algn="l" rtl="0" eaLnBrk="1" fontAlgn="base" hangingPunct="1">
              <a:spcBef>
                <a:spcPct val="20000"/>
              </a:spcBef>
              <a:spcAft>
                <a:spcPct val="0"/>
              </a:spcAft>
              <a:buClr>
                <a:schemeClr val="accent1"/>
              </a:buClr>
              <a:buChar char="•"/>
              <a:defRPr sz="1800">
                <a:solidFill>
                  <a:schemeClr val="tx2"/>
                </a:solidFill>
                <a:latin typeface="Arial" pitchFamily="34" charset="0"/>
                <a:ea typeface="ＭＳ Ｐゴシック" pitchFamily="-105" charset="-128"/>
                <a:cs typeface="Arial" pitchFamily="34" charset="0"/>
              </a:defRPr>
            </a:lvl3pPr>
            <a:lvl4pPr marL="16002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4pPr>
            <a:lvl5pPr marL="2057400" indent="-228600" algn="l" rtl="0" eaLnBrk="1" fontAlgn="base" hangingPunct="1">
              <a:spcBef>
                <a:spcPct val="20000"/>
              </a:spcBef>
              <a:spcAft>
                <a:spcPct val="0"/>
              </a:spcAft>
              <a:buClr>
                <a:schemeClr val="accent1"/>
              </a:buClr>
              <a:buChar char="»"/>
              <a:defRPr sz="1600">
                <a:solidFill>
                  <a:schemeClr val="tx2"/>
                </a:solidFill>
                <a:latin typeface="Arial" pitchFamily="34" charset="0"/>
                <a:ea typeface="ＭＳ Ｐゴシック" pitchFamily="-105" charset="-128"/>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defTabSz="342635">
              <a:lnSpc>
                <a:spcPct val="85000"/>
              </a:lnSpc>
              <a:spcBef>
                <a:spcPts val="0"/>
              </a:spcBef>
              <a:spcAft>
                <a:spcPts val="0"/>
              </a:spcAft>
              <a:buClr>
                <a:srgbClr val="00A9E0"/>
              </a:buClr>
              <a:buNone/>
            </a:pPr>
            <a:r>
              <a:rPr lang="en-GB" sz="1100" spc="8" dirty="0">
                <a:solidFill>
                  <a:prstClr val="white"/>
                </a:solidFill>
                <a:latin typeface="Calibri"/>
                <a:cs typeface="ＭＳ Ｐゴシック" pitchFamily="-105" charset="-128"/>
              </a:rPr>
              <a:t>Optimized Assortments</a:t>
            </a:r>
          </a:p>
        </p:txBody>
      </p:sp>
      <p:sp>
        <p:nvSpPr>
          <p:cNvPr id="42" name="Oval 41"/>
          <p:cNvSpPr/>
          <p:nvPr/>
        </p:nvSpPr>
        <p:spPr>
          <a:xfrm>
            <a:off x="5332701" y="3276509"/>
            <a:ext cx="1536285" cy="1324896"/>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dirty="0"/>
          </a:p>
        </p:txBody>
      </p:sp>
      <p:sp>
        <p:nvSpPr>
          <p:cNvPr id="43" name="Rectangle 42"/>
          <p:cNvSpPr/>
          <p:nvPr/>
        </p:nvSpPr>
        <p:spPr>
          <a:xfrm>
            <a:off x="5370687" y="4346798"/>
            <a:ext cx="1455103" cy="542564"/>
          </a:xfrm>
          <a:prstGeom prst="rect">
            <a:avLst/>
          </a:prstGeom>
        </p:spPr>
        <p:txBody>
          <a:bodyPr wrap="square">
            <a:spAutoFit/>
          </a:bodyPr>
          <a:lstStyle/>
          <a:p>
            <a:pPr algn="ctr"/>
            <a:endParaRPr lang="en-US" sz="1799" dirty="0">
              <a:solidFill>
                <a:schemeClr val="accent2">
                  <a:lumMod val="50000"/>
                </a:schemeClr>
              </a:solidFill>
            </a:endParaRPr>
          </a:p>
          <a:p>
            <a:pPr algn="ctr">
              <a:lnSpc>
                <a:spcPct val="85000"/>
              </a:lnSpc>
            </a:pPr>
            <a:r>
              <a:rPr lang="en-US" sz="1200" dirty="0">
                <a:solidFill>
                  <a:schemeClr val="accent2">
                    <a:lumMod val="50000"/>
                  </a:schemeClr>
                </a:solidFill>
              </a:rPr>
              <a:t>CUSTOMERs</a:t>
            </a:r>
          </a:p>
        </p:txBody>
      </p:sp>
      <p:grpSp>
        <p:nvGrpSpPr>
          <p:cNvPr id="48" name="Group 47"/>
          <p:cNvGrpSpPr/>
          <p:nvPr/>
        </p:nvGrpSpPr>
        <p:grpSpPr>
          <a:xfrm>
            <a:off x="5457117" y="3362082"/>
            <a:ext cx="1248755" cy="1177745"/>
            <a:chOff x="7975821" y="2205719"/>
            <a:chExt cx="1440946" cy="1522877"/>
          </a:xfrm>
        </p:grpSpPr>
        <p:grpSp>
          <p:nvGrpSpPr>
            <p:cNvPr id="49" name="Group 48"/>
            <p:cNvGrpSpPr/>
            <p:nvPr/>
          </p:nvGrpSpPr>
          <p:grpSpPr>
            <a:xfrm>
              <a:off x="7975821" y="2205719"/>
              <a:ext cx="255588" cy="692151"/>
              <a:chOff x="476250" y="2000250"/>
              <a:chExt cx="255588" cy="692151"/>
            </a:xfrm>
            <a:solidFill>
              <a:schemeClr val="bg1"/>
            </a:solidFill>
          </p:grpSpPr>
          <p:sp>
            <p:nvSpPr>
              <p:cNvPr id="85" name="Freeform 8"/>
              <p:cNvSpPr>
                <a:spLocks noEditPoints="1"/>
              </p:cNvSpPr>
              <p:nvPr/>
            </p:nvSpPr>
            <p:spPr bwMode="auto">
              <a:xfrm>
                <a:off x="520700" y="2000250"/>
                <a:ext cx="166688" cy="166688"/>
              </a:xfrm>
              <a:custGeom>
                <a:avLst/>
                <a:gdLst>
                  <a:gd name="T0" fmla="*/ 52 w 105"/>
                  <a:gd name="T1" fmla="*/ 105 h 105"/>
                  <a:gd name="T2" fmla="*/ 74 w 105"/>
                  <a:gd name="T3" fmla="*/ 102 h 105"/>
                  <a:gd name="T4" fmla="*/ 90 w 105"/>
                  <a:gd name="T5" fmla="*/ 91 h 105"/>
                  <a:gd name="T6" fmla="*/ 101 w 105"/>
                  <a:gd name="T7" fmla="*/ 73 h 105"/>
                  <a:gd name="T8" fmla="*/ 105 w 105"/>
                  <a:gd name="T9" fmla="*/ 53 h 105"/>
                  <a:gd name="T10" fmla="*/ 104 w 105"/>
                  <a:gd name="T11" fmla="*/ 42 h 105"/>
                  <a:gd name="T12" fmla="*/ 97 w 105"/>
                  <a:gd name="T13" fmla="*/ 23 h 105"/>
                  <a:gd name="T14" fmla="*/ 82 w 105"/>
                  <a:gd name="T15" fmla="*/ 9 h 105"/>
                  <a:gd name="T16" fmla="*/ 64 w 105"/>
                  <a:gd name="T17" fmla="*/ 1 h 105"/>
                  <a:gd name="T18" fmla="*/ 52 w 105"/>
                  <a:gd name="T19" fmla="*/ 0 h 105"/>
                  <a:gd name="T20" fmla="*/ 32 w 105"/>
                  <a:gd name="T21" fmla="*/ 4 h 105"/>
                  <a:gd name="T22" fmla="*/ 15 w 105"/>
                  <a:gd name="T23" fmla="*/ 16 h 105"/>
                  <a:gd name="T24" fmla="*/ 5 w 105"/>
                  <a:gd name="T25" fmla="*/ 32 h 105"/>
                  <a:gd name="T26" fmla="*/ 0 w 105"/>
                  <a:gd name="T27" fmla="*/ 53 h 105"/>
                  <a:gd name="T28" fmla="*/ 0 w 105"/>
                  <a:gd name="T29" fmla="*/ 63 h 105"/>
                  <a:gd name="T30" fmla="*/ 9 w 105"/>
                  <a:gd name="T31" fmla="*/ 82 h 105"/>
                  <a:gd name="T32" fmla="*/ 23 w 105"/>
                  <a:gd name="T33" fmla="*/ 96 h 105"/>
                  <a:gd name="T34" fmla="*/ 42 w 105"/>
                  <a:gd name="T35" fmla="*/ 105 h 105"/>
                  <a:gd name="T36" fmla="*/ 52 w 105"/>
                  <a:gd name="T37" fmla="*/ 105 h 105"/>
                  <a:gd name="T38" fmla="*/ 52 w 105"/>
                  <a:gd name="T39" fmla="*/ 24 h 105"/>
                  <a:gd name="T40" fmla="*/ 64 w 105"/>
                  <a:gd name="T41" fmla="*/ 26 h 105"/>
                  <a:gd name="T42" fmla="*/ 72 w 105"/>
                  <a:gd name="T43" fmla="*/ 33 h 105"/>
                  <a:gd name="T44" fmla="*/ 80 w 105"/>
                  <a:gd name="T45" fmla="*/ 42 h 105"/>
                  <a:gd name="T46" fmla="*/ 81 w 105"/>
                  <a:gd name="T47" fmla="*/ 53 h 105"/>
                  <a:gd name="T48" fmla="*/ 81 w 105"/>
                  <a:gd name="T49" fmla="*/ 59 h 105"/>
                  <a:gd name="T50" fmla="*/ 77 w 105"/>
                  <a:gd name="T51" fmla="*/ 69 h 105"/>
                  <a:gd name="T52" fmla="*/ 68 w 105"/>
                  <a:gd name="T53" fmla="*/ 76 h 105"/>
                  <a:gd name="T54" fmla="*/ 58 w 105"/>
                  <a:gd name="T55" fmla="*/ 81 h 105"/>
                  <a:gd name="T56" fmla="*/ 52 w 105"/>
                  <a:gd name="T57" fmla="*/ 81 h 105"/>
                  <a:gd name="T58" fmla="*/ 42 w 105"/>
                  <a:gd name="T59" fmla="*/ 79 h 105"/>
                  <a:gd name="T60" fmla="*/ 32 w 105"/>
                  <a:gd name="T61" fmla="*/ 73 h 105"/>
                  <a:gd name="T62" fmla="*/ 26 w 105"/>
                  <a:gd name="T63" fmla="*/ 63 h 105"/>
                  <a:gd name="T64" fmla="*/ 25 w 105"/>
                  <a:gd name="T65" fmla="*/ 53 h 105"/>
                  <a:gd name="T66" fmla="*/ 25 w 105"/>
                  <a:gd name="T67" fmla="*/ 48 h 105"/>
                  <a:gd name="T68" fmla="*/ 29 w 105"/>
                  <a:gd name="T69" fmla="*/ 37 h 105"/>
                  <a:gd name="T70" fmla="*/ 36 w 105"/>
                  <a:gd name="T71" fmla="*/ 29 h 105"/>
                  <a:gd name="T72" fmla="*/ 46 w 105"/>
                  <a:gd name="T73" fmla="*/ 24 h 105"/>
                  <a:gd name="T74" fmla="*/ 52 w 105"/>
                  <a:gd name="T75" fmla="*/ 2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5">
                    <a:moveTo>
                      <a:pt x="52" y="105"/>
                    </a:moveTo>
                    <a:lnTo>
                      <a:pt x="52" y="105"/>
                    </a:lnTo>
                    <a:lnTo>
                      <a:pt x="64" y="105"/>
                    </a:lnTo>
                    <a:lnTo>
                      <a:pt x="74" y="102"/>
                    </a:lnTo>
                    <a:lnTo>
                      <a:pt x="82" y="96"/>
                    </a:lnTo>
                    <a:lnTo>
                      <a:pt x="90" y="91"/>
                    </a:lnTo>
                    <a:lnTo>
                      <a:pt x="97" y="82"/>
                    </a:lnTo>
                    <a:lnTo>
                      <a:pt x="101" y="73"/>
                    </a:lnTo>
                    <a:lnTo>
                      <a:pt x="104" y="63"/>
                    </a:lnTo>
                    <a:lnTo>
                      <a:pt x="105" y="53"/>
                    </a:lnTo>
                    <a:lnTo>
                      <a:pt x="105" y="53"/>
                    </a:lnTo>
                    <a:lnTo>
                      <a:pt x="104" y="42"/>
                    </a:lnTo>
                    <a:lnTo>
                      <a:pt x="101" y="32"/>
                    </a:lnTo>
                    <a:lnTo>
                      <a:pt x="97" y="23"/>
                    </a:lnTo>
                    <a:lnTo>
                      <a:pt x="90" y="16"/>
                    </a:lnTo>
                    <a:lnTo>
                      <a:pt x="82" y="9"/>
                    </a:lnTo>
                    <a:lnTo>
                      <a:pt x="74" y="4"/>
                    </a:lnTo>
                    <a:lnTo>
                      <a:pt x="64" y="1"/>
                    </a:lnTo>
                    <a:lnTo>
                      <a:pt x="52" y="0"/>
                    </a:lnTo>
                    <a:lnTo>
                      <a:pt x="52" y="0"/>
                    </a:lnTo>
                    <a:lnTo>
                      <a:pt x="42" y="1"/>
                    </a:lnTo>
                    <a:lnTo>
                      <a:pt x="32" y="4"/>
                    </a:lnTo>
                    <a:lnTo>
                      <a:pt x="23" y="9"/>
                    </a:lnTo>
                    <a:lnTo>
                      <a:pt x="15" y="16"/>
                    </a:lnTo>
                    <a:lnTo>
                      <a:pt x="9" y="23"/>
                    </a:lnTo>
                    <a:lnTo>
                      <a:pt x="5" y="32"/>
                    </a:lnTo>
                    <a:lnTo>
                      <a:pt x="0" y="42"/>
                    </a:lnTo>
                    <a:lnTo>
                      <a:pt x="0" y="53"/>
                    </a:lnTo>
                    <a:lnTo>
                      <a:pt x="0" y="53"/>
                    </a:lnTo>
                    <a:lnTo>
                      <a:pt x="0" y="63"/>
                    </a:lnTo>
                    <a:lnTo>
                      <a:pt x="5" y="73"/>
                    </a:lnTo>
                    <a:lnTo>
                      <a:pt x="9" y="82"/>
                    </a:lnTo>
                    <a:lnTo>
                      <a:pt x="15" y="91"/>
                    </a:lnTo>
                    <a:lnTo>
                      <a:pt x="23" y="96"/>
                    </a:lnTo>
                    <a:lnTo>
                      <a:pt x="32" y="102"/>
                    </a:lnTo>
                    <a:lnTo>
                      <a:pt x="42" y="105"/>
                    </a:lnTo>
                    <a:lnTo>
                      <a:pt x="52" y="105"/>
                    </a:lnTo>
                    <a:lnTo>
                      <a:pt x="52" y="105"/>
                    </a:lnTo>
                    <a:close/>
                    <a:moveTo>
                      <a:pt x="52" y="24"/>
                    </a:moveTo>
                    <a:lnTo>
                      <a:pt x="52" y="24"/>
                    </a:lnTo>
                    <a:lnTo>
                      <a:pt x="58" y="24"/>
                    </a:lnTo>
                    <a:lnTo>
                      <a:pt x="64" y="26"/>
                    </a:lnTo>
                    <a:lnTo>
                      <a:pt x="68" y="29"/>
                    </a:lnTo>
                    <a:lnTo>
                      <a:pt x="72" y="33"/>
                    </a:lnTo>
                    <a:lnTo>
                      <a:pt x="77" y="37"/>
                    </a:lnTo>
                    <a:lnTo>
                      <a:pt x="80" y="42"/>
                    </a:lnTo>
                    <a:lnTo>
                      <a:pt x="81" y="48"/>
                    </a:lnTo>
                    <a:lnTo>
                      <a:pt x="81" y="53"/>
                    </a:lnTo>
                    <a:lnTo>
                      <a:pt x="81" y="53"/>
                    </a:lnTo>
                    <a:lnTo>
                      <a:pt x="81" y="59"/>
                    </a:lnTo>
                    <a:lnTo>
                      <a:pt x="80" y="63"/>
                    </a:lnTo>
                    <a:lnTo>
                      <a:pt x="77" y="69"/>
                    </a:lnTo>
                    <a:lnTo>
                      <a:pt x="72" y="73"/>
                    </a:lnTo>
                    <a:lnTo>
                      <a:pt x="68" y="76"/>
                    </a:lnTo>
                    <a:lnTo>
                      <a:pt x="64" y="79"/>
                    </a:lnTo>
                    <a:lnTo>
                      <a:pt x="58" y="81"/>
                    </a:lnTo>
                    <a:lnTo>
                      <a:pt x="52" y="81"/>
                    </a:lnTo>
                    <a:lnTo>
                      <a:pt x="52" y="81"/>
                    </a:lnTo>
                    <a:lnTo>
                      <a:pt x="46" y="81"/>
                    </a:lnTo>
                    <a:lnTo>
                      <a:pt x="42" y="79"/>
                    </a:lnTo>
                    <a:lnTo>
                      <a:pt x="36" y="76"/>
                    </a:lnTo>
                    <a:lnTo>
                      <a:pt x="32" y="73"/>
                    </a:lnTo>
                    <a:lnTo>
                      <a:pt x="29" y="69"/>
                    </a:lnTo>
                    <a:lnTo>
                      <a:pt x="26" y="63"/>
                    </a:lnTo>
                    <a:lnTo>
                      <a:pt x="25" y="59"/>
                    </a:lnTo>
                    <a:lnTo>
                      <a:pt x="25" y="53"/>
                    </a:lnTo>
                    <a:lnTo>
                      <a:pt x="25" y="53"/>
                    </a:lnTo>
                    <a:lnTo>
                      <a:pt x="25" y="48"/>
                    </a:lnTo>
                    <a:lnTo>
                      <a:pt x="26" y="42"/>
                    </a:lnTo>
                    <a:lnTo>
                      <a:pt x="29" y="37"/>
                    </a:lnTo>
                    <a:lnTo>
                      <a:pt x="32" y="33"/>
                    </a:lnTo>
                    <a:lnTo>
                      <a:pt x="36" y="29"/>
                    </a:lnTo>
                    <a:lnTo>
                      <a:pt x="42" y="26"/>
                    </a:lnTo>
                    <a:lnTo>
                      <a:pt x="46" y="24"/>
                    </a:lnTo>
                    <a:lnTo>
                      <a:pt x="52" y="24"/>
                    </a:lnTo>
                    <a:lnTo>
                      <a:pt x="52" y="24"/>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6" name="Freeform 9"/>
              <p:cNvSpPr>
                <a:spLocks/>
              </p:cNvSpPr>
              <p:nvPr/>
            </p:nvSpPr>
            <p:spPr bwMode="auto">
              <a:xfrm>
                <a:off x="476250" y="2201863"/>
                <a:ext cx="255588" cy="296863"/>
              </a:xfrm>
              <a:custGeom>
                <a:avLst/>
                <a:gdLst>
                  <a:gd name="T0" fmla="*/ 0 w 161"/>
                  <a:gd name="T1" fmla="*/ 0 h 187"/>
                  <a:gd name="T2" fmla="*/ 0 w 161"/>
                  <a:gd name="T3" fmla="*/ 187 h 187"/>
                  <a:gd name="T4" fmla="*/ 24 w 161"/>
                  <a:gd name="T5" fmla="*/ 161 h 187"/>
                  <a:gd name="T6" fmla="*/ 24 w 161"/>
                  <a:gd name="T7" fmla="*/ 24 h 187"/>
                  <a:gd name="T8" fmla="*/ 135 w 161"/>
                  <a:gd name="T9" fmla="*/ 24 h 187"/>
                  <a:gd name="T10" fmla="*/ 135 w 161"/>
                  <a:gd name="T11" fmla="*/ 162 h 187"/>
                  <a:gd name="T12" fmla="*/ 161 w 161"/>
                  <a:gd name="T13" fmla="*/ 187 h 187"/>
                  <a:gd name="T14" fmla="*/ 161 w 161"/>
                  <a:gd name="T15" fmla="*/ 0 h 187"/>
                  <a:gd name="T16" fmla="*/ 0 w 161"/>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87">
                    <a:moveTo>
                      <a:pt x="0" y="0"/>
                    </a:moveTo>
                    <a:lnTo>
                      <a:pt x="0" y="187"/>
                    </a:lnTo>
                    <a:lnTo>
                      <a:pt x="24" y="161"/>
                    </a:lnTo>
                    <a:lnTo>
                      <a:pt x="24" y="24"/>
                    </a:lnTo>
                    <a:lnTo>
                      <a:pt x="135" y="24"/>
                    </a:lnTo>
                    <a:lnTo>
                      <a:pt x="135" y="162"/>
                    </a:lnTo>
                    <a:lnTo>
                      <a:pt x="161" y="187"/>
                    </a:lnTo>
                    <a:lnTo>
                      <a:pt x="161" y="0"/>
                    </a:lnTo>
                    <a:lnTo>
                      <a:pt x="0" y="0"/>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7" name="Rectangle 10"/>
              <p:cNvSpPr>
                <a:spLocks noChangeArrowheads="1"/>
              </p:cNvSpPr>
              <p:nvPr/>
            </p:nvSpPr>
            <p:spPr bwMode="auto">
              <a:xfrm>
                <a:off x="528638" y="2500313"/>
                <a:ext cx="38100" cy="19208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8" name="Rectangle 11"/>
              <p:cNvSpPr>
                <a:spLocks noChangeArrowheads="1"/>
              </p:cNvSpPr>
              <p:nvPr/>
            </p:nvSpPr>
            <p:spPr bwMode="auto">
              <a:xfrm>
                <a:off x="639763" y="2500313"/>
                <a:ext cx="39688" cy="19208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0" name="Group 49"/>
            <p:cNvGrpSpPr/>
            <p:nvPr/>
          </p:nvGrpSpPr>
          <p:grpSpPr>
            <a:xfrm>
              <a:off x="8348695" y="2205719"/>
              <a:ext cx="266700" cy="692151"/>
              <a:chOff x="1692275" y="2000250"/>
              <a:chExt cx="266700" cy="692151"/>
            </a:xfrm>
            <a:solidFill>
              <a:schemeClr val="bg1"/>
            </a:solidFill>
          </p:grpSpPr>
          <p:sp>
            <p:nvSpPr>
              <p:cNvPr id="81" name="Freeform 32"/>
              <p:cNvSpPr>
                <a:spLocks noEditPoints="1"/>
              </p:cNvSpPr>
              <p:nvPr/>
            </p:nvSpPr>
            <p:spPr bwMode="auto">
              <a:xfrm>
                <a:off x="1741488" y="2000250"/>
                <a:ext cx="166688" cy="169863"/>
              </a:xfrm>
              <a:custGeom>
                <a:avLst/>
                <a:gdLst>
                  <a:gd name="T0" fmla="*/ 54 w 105"/>
                  <a:gd name="T1" fmla="*/ 107 h 107"/>
                  <a:gd name="T2" fmla="*/ 74 w 105"/>
                  <a:gd name="T3" fmla="*/ 102 h 107"/>
                  <a:gd name="T4" fmla="*/ 91 w 105"/>
                  <a:gd name="T5" fmla="*/ 91 h 107"/>
                  <a:gd name="T6" fmla="*/ 101 w 105"/>
                  <a:gd name="T7" fmla="*/ 73 h 107"/>
                  <a:gd name="T8" fmla="*/ 105 w 105"/>
                  <a:gd name="T9" fmla="*/ 53 h 107"/>
                  <a:gd name="T10" fmla="*/ 105 w 105"/>
                  <a:gd name="T11" fmla="*/ 42 h 107"/>
                  <a:gd name="T12" fmla="*/ 97 w 105"/>
                  <a:gd name="T13" fmla="*/ 23 h 107"/>
                  <a:gd name="T14" fmla="*/ 82 w 105"/>
                  <a:gd name="T15" fmla="*/ 9 h 107"/>
                  <a:gd name="T16" fmla="*/ 64 w 105"/>
                  <a:gd name="T17" fmla="*/ 1 h 107"/>
                  <a:gd name="T18" fmla="*/ 54 w 105"/>
                  <a:gd name="T19" fmla="*/ 0 h 107"/>
                  <a:gd name="T20" fmla="*/ 32 w 105"/>
                  <a:gd name="T21" fmla="*/ 4 h 107"/>
                  <a:gd name="T22" fmla="*/ 16 w 105"/>
                  <a:gd name="T23" fmla="*/ 16 h 107"/>
                  <a:gd name="T24" fmla="*/ 5 w 105"/>
                  <a:gd name="T25" fmla="*/ 32 h 107"/>
                  <a:gd name="T26" fmla="*/ 0 w 105"/>
                  <a:gd name="T27" fmla="*/ 53 h 107"/>
                  <a:gd name="T28" fmla="*/ 2 w 105"/>
                  <a:gd name="T29" fmla="*/ 63 h 107"/>
                  <a:gd name="T30" fmla="*/ 9 w 105"/>
                  <a:gd name="T31" fmla="*/ 82 h 107"/>
                  <a:gd name="T32" fmla="*/ 23 w 105"/>
                  <a:gd name="T33" fmla="*/ 96 h 107"/>
                  <a:gd name="T34" fmla="*/ 42 w 105"/>
                  <a:gd name="T35" fmla="*/ 105 h 107"/>
                  <a:gd name="T36" fmla="*/ 54 w 105"/>
                  <a:gd name="T37" fmla="*/ 107 h 107"/>
                  <a:gd name="T38" fmla="*/ 54 w 105"/>
                  <a:gd name="T39" fmla="*/ 24 h 107"/>
                  <a:gd name="T40" fmla="*/ 64 w 105"/>
                  <a:gd name="T41" fmla="*/ 27 h 107"/>
                  <a:gd name="T42" fmla="*/ 72 w 105"/>
                  <a:gd name="T43" fmla="*/ 33 h 107"/>
                  <a:gd name="T44" fmla="*/ 79 w 105"/>
                  <a:gd name="T45" fmla="*/ 42 h 107"/>
                  <a:gd name="T46" fmla="*/ 81 w 105"/>
                  <a:gd name="T47" fmla="*/ 53 h 107"/>
                  <a:gd name="T48" fmla="*/ 81 w 105"/>
                  <a:gd name="T49" fmla="*/ 59 h 107"/>
                  <a:gd name="T50" fmla="*/ 77 w 105"/>
                  <a:gd name="T51" fmla="*/ 69 h 107"/>
                  <a:gd name="T52" fmla="*/ 69 w 105"/>
                  <a:gd name="T53" fmla="*/ 76 h 107"/>
                  <a:gd name="T54" fmla="*/ 59 w 105"/>
                  <a:gd name="T55" fmla="*/ 81 h 107"/>
                  <a:gd name="T56" fmla="*/ 54 w 105"/>
                  <a:gd name="T57" fmla="*/ 81 h 107"/>
                  <a:gd name="T58" fmla="*/ 42 w 105"/>
                  <a:gd name="T59" fmla="*/ 79 h 107"/>
                  <a:gd name="T60" fmla="*/ 33 w 105"/>
                  <a:gd name="T61" fmla="*/ 73 h 107"/>
                  <a:gd name="T62" fmla="*/ 26 w 105"/>
                  <a:gd name="T63" fmla="*/ 63 h 107"/>
                  <a:gd name="T64" fmla="*/ 25 w 105"/>
                  <a:gd name="T65" fmla="*/ 53 h 107"/>
                  <a:gd name="T66" fmla="*/ 25 w 105"/>
                  <a:gd name="T67" fmla="*/ 48 h 107"/>
                  <a:gd name="T68" fmla="*/ 29 w 105"/>
                  <a:gd name="T69" fmla="*/ 37 h 107"/>
                  <a:gd name="T70" fmla="*/ 38 w 105"/>
                  <a:gd name="T71" fmla="*/ 29 h 107"/>
                  <a:gd name="T72" fmla="*/ 48 w 105"/>
                  <a:gd name="T73" fmla="*/ 24 h 107"/>
                  <a:gd name="T74" fmla="*/ 54 w 105"/>
                  <a:gd name="T75" fmla="*/ 2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7">
                    <a:moveTo>
                      <a:pt x="54" y="107"/>
                    </a:moveTo>
                    <a:lnTo>
                      <a:pt x="54" y="107"/>
                    </a:lnTo>
                    <a:lnTo>
                      <a:pt x="64" y="105"/>
                    </a:lnTo>
                    <a:lnTo>
                      <a:pt x="74" y="102"/>
                    </a:lnTo>
                    <a:lnTo>
                      <a:pt x="82" y="96"/>
                    </a:lnTo>
                    <a:lnTo>
                      <a:pt x="91" y="91"/>
                    </a:lnTo>
                    <a:lnTo>
                      <a:pt x="97" y="82"/>
                    </a:lnTo>
                    <a:lnTo>
                      <a:pt x="101" y="73"/>
                    </a:lnTo>
                    <a:lnTo>
                      <a:pt x="105" y="63"/>
                    </a:lnTo>
                    <a:lnTo>
                      <a:pt x="105" y="53"/>
                    </a:lnTo>
                    <a:lnTo>
                      <a:pt x="105" y="53"/>
                    </a:lnTo>
                    <a:lnTo>
                      <a:pt x="105" y="42"/>
                    </a:lnTo>
                    <a:lnTo>
                      <a:pt x="101" y="32"/>
                    </a:lnTo>
                    <a:lnTo>
                      <a:pt x="97" y="23"/>
                    </a:lnTo>
                    <a:lnTo>
                      <a:pt x="91" y="16"/>
                    </a:lnTo>
                    <a:lnTo>
                      <a:pt x="82" y="9"/>
                    </a:lnTo>
                    <a:lnTo>
                      <a:pt x="74" y="4"/>
                    </a:lnTo>
                    <a:lnTo>
                      <a:pt x="64" y="1"/>
                    </a:lnTo>
                    <a:lnTo>
                      <a:pt x="54" y="0"/>
                    </a:lnTo>
                    <a:lnTo>
                      <a:pt x="54" y="0"/>
                    </a:lnTo>
                    <a:lnTo>
                      <a:pt x="42" y="1"/>
                    </a:lnTo>
                    <a:lnTo>
                      <a:pt x="32" y="4"/>
                    </a:lnTo>
                    <a:lnTo>
                      <a:pt x="23" y="9"/>
                    </a:lnTo>
                    <a:lnTo>
                      <a:pt x="16" y="16"/>
                    </a:lnTo>
                    <a:lnTo>
                      <a:pt x="9" y="23"/>
                    </a:lnTo>
                    <a:lnTo>
                      <a:pt x="5" y="32"/>
                    </a:lnTo>
                    <a:lnTo>
                      <a:pt x="2" y="42"/>
                    </a:lnTo>
                    <a:lnTo>
                      <a:pt x="0" y="53"/>
                    </a:lnTo>
                    <a:lnTo>
                      <a:pt x="0" y="53"/>
                    </a:lnTo>
                    <a:lnTo>
                      <a:pt x="2" y="63"/>
                    </a:lnTo>
                    <a:lnTo>
                      <a:pt x="5" y="73"/>
                    </a:lnTo>
                    <a:lnTo>
                      <a:pt x="9" y="82"/>
                    </a:lnTo>
                    <a:lnTo>
                      <a:pt x="16" y="91"/>
                    </a:lnTo>
                    <a:lnTo>
                      <a:pt x="23" y="96"/>
                    </a:lnTo>
                    <a:lnTo>
                      <a:pt x="32" y="102"/>
                    </a:lnTo>
                    <a:lnTo>
                      <a:pt x="42" y="105"/>
                    </a:lnTo>
                    <a:lnTo>
                      <a:pt x="54" y="107"/>
                    </a:lnTo>
                    <a:lnTo>
                      <a:pt x="54" y="107"/>
                    </a:lnTo>
                    <a:close/>
                    <a:moveTo>
                      <a:pt x="54" y="24"/>
                    </a:moveTo>
                    <a:lnTo>
                      <a:pt x="54" y="24"/>
                    </a:lnTo>
                    <a:lnTo>
                      <a:pt x="59" y="24"/>
                    </a:lnTo>
                    <a:lnTo>
                      <a:pt x="64" y="27"/>
                    </a:lnTo>
                    <a:lnTo>
                      <a:pt x="69" y="29"/>
                    </a:lnTo>
                    <a:lnTo>
                      <a:pt x="72" y="33"/>
                    </a:lnTo>
                    <a:lnTo>
                      <a:pt x="77" y="37"/>
                    </a:lnTo>
                    <a:lnTo>
                      <a:pt x="79" y="42"/>
                    </a:lnTo>
                    <a:lnTo>
                      <a:pt x="81" y="48"/>
                    </a:lnTo>
                    <a:lnTo>
                      <a:pt x="81" y="53"/>
                    </a:lnTo>
                    <a:lnTo>
                      <a:pt x="81" y="53"/>
                    </a:lnTo>
                    <a:lnTo>
                      <a:pt x="81" y="59"/>
                    </a:lnTo>
                    <a:lnTo>
                      <a:pt x="79" y="63"/>
                    </a:lnTo>
                    <a:lnTo>
                      <a:pt x="77" y="69"/>
                    </a:lnTo>
                    <a:lnTo>
                      <a:pt x="72" y="73"/>
                    </a:lnTo>
                    <a:lnTo>
                      <a:pt x="69" y="76"/>
                    </a:lnTo>
                    <a:lnTo>
                      <a:pt x="64" y="79"/>
                    </a:lnTo>
                    <a:lnTo>
                      <a:pt x="59" y="81"/>
                    </a:lnTo>
                    <a:lnTo>
                      <a:pt x="54" y="81"/>
                    </a:lnTo>
                    <a:lnTo>
                      <a:pt x="54" y="81"/>
                    </a:lnTo>
                    <a:lnTo>
                      <a:pt x="48" y="81"/>
                    </a:lnTo>
                    <a:lnTo>
                      <a:pt x="42" y="79"/>
                    </a:lnTo>
                    <a:lnTo>
                      <a:pt x="38" y="76"/>
                    </a:lnTo>
                    <a:lnTo>
                      <a:pt x="33" y="73"/>
                    </a:lnTo>
                    <a:lnTo>
                      <a:pt x="29" y="69"/>
                    </a:lnTo>
                    <a:lnTo>
                      <a:pt x="26" y="63"/>
                    </a:lnTo>
                    <a:lnTo>
                      <a:pt x="25" y="59"/>
                    </a:lnTo>
                    <a:lnTo>
                      <a:pt x="25" y="53"/>
                    </a:lnTo>
                    <a:lnTo>
                      <a:pt x="25" y="53"/>
                    </a:lnTo>
                    <a:lnTo>
                      <a:pt x="25" y="48"/>
                    </a:lnTo>
                    <a:lnTo>
                      <a:pt x="26" y="42"/>
                    </a:lnTo>
                    <a:lnTo>
                      <a:pt x="29" y="37"/>
                    </a:lnTo>
                    <a:lnTo>
                      <a:pt x="33" y="33"/>
                    </a:lnTo>
                    <a:lnTo>
                      <a:pt x="38" y="29"/>
                    </a:lnTo>
                    <a:lnTo>
                      <a:pt x="42" y="27"/>
                    </a:lnTo>
                    <a:lnTo>
                      <a:pt x="48" y="24"/>
                    </a:lnTo>
                    <a:lnTo>
                      <a:pt x="54"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2" name="Freeform 33"/>
              <p:cNvSpPr>
                <a:spLocks noEditPoints="1"/>
              </p:cNvSpPr>
              <p:nvPr/>
            </p:nvSpPr>
            <p:spPr bwMode="auto">
              <a:xfrm>
                <a:off x="1692275" y="2203450"/>
                <a:ext cx="266700" cy="322263"/>
              </a:xfrm>
              <a:custGeom>
                <a:avLst/>
                <a:gdLst>
                  <a:gd name="T0" fmla="*/ 122 w 168"/>
                  <a:gd name="T1" fmla="*/ 0 h 203"/>
                  <a:gd name="T2" fmla="*/ 46 w 168"/>
                  <a:gd name="T3" fmla="*/ 0 h 203"/>
                  <a:gd name="T4" fmla="*/ 0 w 168"/>
                  <a:gd name="T5" fmla="*/ 203 h 203"/>
                  <a:gd name="T6" fmla="*/ 168 w 168"/>
                  <a:gd name="T7" fmla="*/ 203 h 203"/>
                  <a:gd name="T8" fmla="*/ 122 w 168"/>
                  <a:gd name="T9" fmla="*/ 0 h 203"/>
                  <a:gd name="T10" fmla="*/ 66 w 168"/>
                  <a:gd name="T11" fmla="*/ 25 h 203"/>
                  <a:gd name="T12" fmla="*/ 102 w 168"/>
                  <a:gd name="T13" fmla="*/ 25 h 203"/>
                  <a:gd name="T14" fmla="*/ 138 w 168"/>
                  <a:gd name="T15" fmla="*/ 179 h 203"/>
                  <a:gd name="T16" fmla="*/ 30 w 168"/>
                  <a:gd name="T17" fmla="*/ 179 h 203"/>
                  <a:gd name="T18" fmla="*/ 66 w 168"/>
                  <a:gd name="T19"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3">
                    <a:moveTo>
                      <a:pt x="122" y="0"/>
                    </a:moveTo>
                    <a:lnTo>
                      <a:pt x="46" y="0"/>
                    </a:lnTo>
                    <a:lnTo>
                      <a:pt x="0" y="203"/>
                    </a:lnTo>
                    <a:lnTo>
                      <a:pt x="168" y="203"/>
                    </a:lnTo>
                    <a:lnTo>
                      <a:pt x="122" y="0"/>
                    </a:lnTo>
                    <a:close/>
                    <a:moveTo>
                      <a:pt x="66" y="25"/>
                    </a:moveTo>
                    <a:lnTo>
                      <a:pt x="102" y="25"/>
                    </a:lnTo>
                    <a:lnTo>
                      <a:pt x="138" y="179"/>
                    </a:lnTo>
                    <a:lnTo>
                      <a:pt x="30" y="179"/>
                    </a:lnTo>
                    <a:lnTo>
                      <a:pt x="6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3" name="Freeform 34"/>
              <p:cNvSpPr>
                <a:spLocks/>
              </p:cNvSpPr>
              <p:nvPr/>
            </p:nvSpPr>
            <p:spPr bwMode="auto">
              <a:xfrm>
                <a:off x="1751013" y="2557463"/>
                <a:ext cx="39688" cy="134938"/>
              </a:xfrm>
              <a:custGeom>
                <a:avLst/>
                <a:gdLst>
                  <a:gd name="T0" fmla="*/ 0 w 25"/>
                  <a:gd name="T1" fmla="*/ 85 h 85"/>
                  <a:gd name="T2" fmla="*/ 25 w 25"/>
                  <a:gd name="T3" fmla="*/ 61 h 85"/>
                  <a:gd name="T4" fmla="*/ 25 w 25"/>
                  <a:gd name="T5" fmla="*/ 0 h 85"/>
                  <a:gd name="T6" fmla="*/ 0 w 25"/>
                  <a:gd name="T7" fmla="*/ 0 h 85"/>
                  <a:gd name="T8" fmla="*/ 0 w 25"/>
                  <a:gd name="T9" fmla="*/ 85 h 85"/>
                </a:gdLst>
                <a:ahLst/>
                <a:cxnLst>
                  <a:cxn ang="0">
                    <a:pos x="T0" y="T1"/>
                  </a:cxn>
                  <a:cxn ang="0">
                    <a:pos x="T2" y="T3"/>
                  </a:cxn>
                  <a:cxn ang="0">
                    <a:pos x="T4" y="T5"/>
                  </a:cxn>
                  <a:cxn ang="0">
                    <a:pos x="T6" y="T7"/>
                  </a:cxn>
                  <a:cxn ang="0">
                    <a:pos x="T8" y="T9"/>
                  </a:cxn>
                </a:cxnLst>
                <a:rect l="0" t="0" r="r" b="b"/>
                <a:pathLst>
                  <a:path w="25" h="85">
                    <a:moveTo>
                      <a:pt x="0" y="85"/>
                    </a:moveTo>
                    <a:lnTo>
                      <a:pt x="25" y="61"/>
                    </a:lnTo>
                    <a:lnTo>
                      <a:pt x="25" y="0"/>
                    </a:lnTo>
                    <a:lnTo>
                      <a:pt x="0" y="0"/>
                    </a:lnTo>
                    <a:lnTo>
                      <a:pt x="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4" name="Freeform 35"/>
              <p:cNvSpPr>
                <a:spLocks/>
              </p:cNvSpPr>
              <p:nvPr/>
            </p:nvSpPr>
            <p:spPr bwMode="auto">
              <a:xfrm>
                <a:off x="1860550" y="2557463"/>
                <a:ext cx="39688" cy="134938"/>
              </a:xfrm>
              <a:custGeom>
                <a:avLst/>
                <a:gdLst>
                  <a:gd name="T0" fmla="*/ 0 w 25"/>
                  <a:gd name="T1" fmla="*/ 61 h 85"/>
                  <a:gd name="T2" fmla="*/ 25 w 25"/>
                  <a:gd name="T3" fmla="*/ 85 h 85"/>
                  <a:gd name="T4" fmla="*/ 25 w 25"/>
                  <a:gd name="T5" fmla="*/ 0 h 85"/>
                  <a:gd name="T6" fmla="*/ 0 w 25"/>
                  <a:gd name="T7" fmla="*/ 0 h 85"/>
                  <a:gd name="T8" fmla="*/ 0 w 25"/>
                  <a:gd name="T9" fmla="*/ 61 h 85"/>
                </a:gdLst>
                <a:ahLst/>
                <a:cxnLst>
                  <a:cxn ang="0">
                    <a:pos x="T0" y="T1"/>
                  </a:cxn>
                  <a:cxn ang="0">
                    <a:pos x="T2" y="T3"/>
                  </a:cxn>
                  <a:cxn ang="0">
                    <a:pos x="T4" y="T5"/>
                  </a:cxn>
                  <a:cxn ang="0">
                    <a:pos x="T6" y="T7"/>
                  </a:cxn>
                  <a:cxn ang="0">
                    <a:pos x="T8" y="T9"/>
                  </a:cxn>
                </a:cxnLst>
                <a:rect l="0" t="0" r="r" b="b"/>
                <a:pathLst>
                  <a:path w="25" h="85">
                    <a:moveTo>
                      <a:pt x="0" y="61"/>
                    </a:moveTo>
                    <a:lnTo>
                      <a:pt x="25" y="85"/>
                    </a:lnTo>
                    <a:lnTo>
                      <a:pt x="25" y="0"/>
                    </a:lnTo>
                    <a:lnTo>
                      <a:pt x="0"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1" name="Group 50"/>
            <p:cNvGrpSpPr/>
            <p:nvPr/>
          </p:nvGrpSpPr>
          <p:grpSpPr>
            <a:xfrm>
              <a:off x="8732743" y="2205719"/>
              <a:ext cx="255588" cy="692151"/>
              <a:chOff x="476250" y="2000250"/>
              <a:chExt cx="255588" cy="692151"/>
            </a:xfrm>
            <a:solidFill>
              <a:schemeClr val="bg1"/>
            </a:solidFill>
          </p:grpSpPr>
          <p:sp>
            <p:nvSpPr>
              <p:cNvPr id="77" name="Freeform 8"/>
              <p:cNvSpPr>
                <a:spLocks noEditPoints="1"/>
              </p:cNvSpPr>
              <p:nvPr/>
            </p:nvSpPr>
            <p:spPr bwMode="auto">
              <a:xfrm>
                <a:off x="520700" y="2000250"/>
                <a:ext cx="166688" cy="166688"/>
              </a:xfrm>
              <a:custGeom>
                <a:avLst/>
                <a:gdLst>
                  <a:gd name="T0" fmla="*/ 52 w 105"/>
                  <a:gd name="T1" fmla="*/ 105 h 105"/>
                  <a:gd name="T2" fmla="*/ 74 w 105"/>
                  <a:gd name="T3" fmla="*/ 102 h 105"/>
                  <a:gd name="T4" fmla="*/ 90 w 105"/>
                  <a:gd name="T5" fmla="*/ 91 h 105"/>
                  <a:gd name="T6" fmla="*/ 101 w 105"/>
                  <a:gd name="T7" fmla="*/ 73 h 105"/>
                  <a:gd name="T8" fmla="*/ 105 w 105"/>
                  <a:gd name="T9" fmla="*/ 53 h 105"/>
                  <a:gd name="T10" fmla="*/ 104 w 105"/>
                  <a:gd name="T11" fmla="*/ 42 h 105"/>
                  <a:gd name="T12" fmla="*/ 97 w 105"/>
                  <a:gd name="T13" fmla="*/ 23 h 105"/>
                  <a:gd name="T14" fmla="*/ 82 w 105"/>
                  <a:gd name="T15" fmla="*/ 9 h 105"/>
                  <a:gd name="T16" fmla="*/ 64 w 105"/>
                  <a:gd name="T17" fmla="*/ 1 h 105"/>
                  <a:gd name="T18" fmla="*/ 52 w 105"/>
                  <a:gd name="T19" fmla="*/ 0 h 105"/>
                  <a:gd name="T20" fmla="*/ 32 w 105"/>
                  <a:gd name="T21" fmla="*/ 4 h 105"/>
                  <a:gd name="T22" fmla="*/ 15 w 105"/>
                  <a:gd name="T23" fmla="*/ 16 h 105"/>
                  <a:gd name="T24" fmla="*/ 5 w 105"/>
                  <a:gd name="T25" fmla="*/ 32 h 105"/>
                  <a:gd name="T26" fmla="*/ 0 w 105"/>
                  <a:gd name="T27" fmla="*/ 53 h 105"/>
                  <a:gd name="T28" fmla="*/ 0 w 105"/>
                  <a:gd name="T29" fmla="*/ 63 h 105"/>
                  <a:gd name="T30" fmla="*/ 9 w 105"/>
                  <a:gd name="T31" fmla="*/ 82 h 105"/>
                  <a:gd name="T32" fmla="*/ 23 w 105"/>
                  <a:gd name="T33" fmla="*/ 96 h 105"/>
                  <a:gd name="T34" fmla="*/ 42 w 105"/>
                  <a:gd name="T35" fmla="*/ 105 h 105"/>
                  <a:gd name="T36" fmla="*/ 52 w 105"/>
                  <a:gd name="T37" fmla="*/ 105 h 105"/>
                  <a:gd name="T38" fmla="*/ 52 w 105"/>
                  <a:gd name="T39" fmla="*/ 24 h 105"/>
                  <a:gd name="T40" fmla="*/ 64 w 105"/>
                  <a:gd name="T41" fmla="*/ 26 h 105"/>
                  <a:gd name="T42" fmla="*/ 72 w 105"/>
                  <a:gd name="T43" fmla="*/ 33 h 105"/>
                  <a:gd name="T44" fmla="*/ 80 w 105"/>
                  <a:gd name="T45" fmla="*/ 42 h 105"/>
                  <a:gd name="T46" fmla="*/ 81 w 105"/>
                  <a:gd name="T47" fmla="*/ 53 h 105"/>
                  <a:gd name="T48" fmla="*/ 81 w 105"/>
                  <a:gd name="T49" fmla="*/ 59 h 105"/>
                  <a:gd name="T50" fmla="*/ 77 w 105"/>
                  <a:gd name="T51" fmla="*/ 69 h 105"/>
                  <a:gd name="T52" fmla="*/ 68 w 105"/>
                  <a:gd name="T53" fmla="*/ 76 h 105"/>
                  <a:gd name="T54" fmla="*/ 58 w 105"/>
                  <a:gd name="T55" fmla="*/ 81 h 105"/>
                  <a:gd name="T56" fmla="*/ 52 w 105"/>
                  <a:gd name="T57" fmla="*/ 81 h 105"/>
                  <a:gd name="T58" fmla="*/ 42 w 105"/>
                  <a:gd name="T59" fmla="*/ 79 h 105"/>
                  <a:gd name="T60" fmla="*/ 32 w 105"/>
                  <a:gd name="T61" fmla="*/ 73 h 105"/>
                  <a:gd name="T62" fmla="*/ 26 w 105"/>
                  <a:gd name="T63" fmla="*/ 63 h 105"/>
                  <a:gd name="T64" fmla="*/ 25 w 105"/>
                  <a:gd name="T65" fmla="*/ 53 h 105"/>
                  <a:gd name="T66" fmla="*/ 25 w 105"/>
                  <a:gd name="T67" fmla="*/ 48 h 105"/>
                  <a:gd name="T68" fmla="*/ 29 w 105"/>
                  <a:gd name="T69" fmla="*/ 37 h 105"/>
                  <a:gd name="T70" fmla="*/ 36 w 105"/>
                  <a:gd name="T71" fmla="*/ 29 h 105"/>
                  <a:gd name="T72" fmla="*/ 46 w 105"/>
                  <a:gd name="T73" fmla="*/ 24 h 105"/>
                  <a:gd name="T74" fmla="*/ 52 w 105"/>
                  <a:gd name="T75" fmla="*/ 2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5">
                    <a:moveTo>
                      <a:pt x="52" y="105"/>
                    </a:moveTo>
                    <a:lnTo>
                      <a:pt x="52" y="105"/>
                    </a:lnTo>
                    <a:lnTo>
                      <a:pt x="64" y="105"/>
                    </a:lnTo>
                    <a:lnTo>
                      <a:pt x="74" y="102"/>
                    </a:lnTo>
                    <a:lnTo>
                      <a:pt x="82" y="96"/>
                    </a:lnTo>
                    <a:lnTo>
                      <a:pt x="90" y="91"/>
                    </a:lnTo>
                    <a:lnTo>
                      <a:pt x="97" y="82"/>
                    </a:lnTo>
                    <a:lnTo>
                      <a:pt x="101" y="73"/>
                    </a:lnTo>
                    <a:lnTo>
                      <a:pt x="104" y="63"/>
                    </a:lnTo>
                    <a:lnTo>
                      <a:pt x="105" y="53"/>
                    </a:lnTo>
                    <a:lnTo>
                      <a:pt x="105" y="53"/>
                    </a:lnTo>
                    <a:lnTo>
                      <a:pt x="104" y="42"/>
                    </a:lnTo>
                    <a:lnTo>
                      <a:pt x="101" y="32"/>
                    </a:lnTo>
                    <a:lnTo>
                      <a:pt x="97" y="23"/>
                    </a:lnTo>
                    <a:lnTo>
                      <a:pt x="90" y="16"/>
                    </a:lnTo>
                    <a:lnTo>
                      <a:pt x="82" y="9"/>
                    </a:lnTo>
                    <a:lnTo>
                      <a:pt x="74" y="4"/>
                    </a:lnTo>
                    <a:lnTo>
                      <a:pt x="64" y="1"/>
                    </a:lnTo>
                    <a:lnTo>
                      <a:pt x="52" y="0"/>
                    </a:lnTo>
                    <a:lnTo>
                      <a:pt x="52" y="0"/>
                    </a:lnTo>
                    <a:lnTo>
                      <a:pt x="42" y="1"/>
                    </a:lnTo>
                    <a:lnTo>
                      <a:pt x="32" y="4"/>
                    </a:lnTo>
                    <a:lnTo>
                      <a:pt x="23" y="9"/>
                    </a:lnTo>
                    <a:lnTo>
                      <a:pt x="15" y="16"/>
                    </a:lnTo>
                    <a:lnTo>
                      <a:pt x="9" y="23"/>
                    </a:lnTo>
                    <a:lnTo>
                      <a:pt x="5" y="32"/>
                    </a:lnTo>
                    <a:lnTo>
                      <a:pt x="0" y="42"/>
                    </a:lnTo>
                    <a:lnTo>
                      <a:pt x="0" y="53"/>
                    </a:lnTo>
                    <a:lnTo>
                      <a:pt x="0" y="53"/>
                    </a:lnTo>
                    <a:lnTo>
                      <a:pt x="0" y="63"/>
                    </a:lnTo>
                    <a:lnTo>
                      <a:pt x="5" y="73"/>
                    </a:lnTo>
                    <a:lnTo>
                      <a:pt x="9" y="82"/>
                    </a:lnTo>
                    <a:lnTo>
                      <a:pt x="15" y="91"/>
                    </a:lnTo>
                    <a:lnTo>
                      <a:pt x="23" y="96"/>
                    </a:lnTo>
                    <a:lnTo>
                      <a:pt x="32" y="102"/>
                    </a:lnTo>
                    <a:lnTo>
                      <a:pt x="42" y="105"/>
                    </a:lnTo>
                    <a:lnTo>
                      <a:pt x="52" y="105"/>
                    </a:lnTo>
                    <a:lnTo>
                      <a:pt x="52" y="105"/>
                    </a:lnTo>
                    <a:close/>
                    <a:moveTo>
                      <a:pt x="52" y="24"/>
                    </a:moveTo>
                    <a:lnTo>
                      <a:pt x="52" y="24"/>
                    </a:lnTo>
                    <a:lnTo>
                      <a:pt x="58" y="24"/>
                    </a:lnTo>
                    <a:lnTo>
                      <a:pt x="64" y="26"/>
                    </a:lnTo>
                    <a:lnTo>
                      <a:pt x="68" y="29"/>
                    </a:lnTo>
                    <a:lnTo>
                      <a:pt x="72" y="33"/>
                    </a:lnTo>
                    <a:lnTo>
                      <a:pt x="77" y="37"/>
                    </a:lnTo>
                    <a:lnTo>
                      <a:pt x="80" y="42"/>
                    </a:lnTo>
                    <a:lnTo>
                      <a:pt x="81" y="48"/>
                    </a:lnTo>
                    <a:lnTo>
                      <a:pt x="81" y="53"/>
                    </a:lnTo>
                    <a:lnTo>
                      <a:pt x="81" y="53"/>
                    </a:lnTo>
                    <a:lnTo>
                      <a:pt x="81" y="59"/>
                    </a:lnTo>
                    <a:lnTo>
                      <a:pt x="80" y="63"/>
                    </a:lnTo>
                    <a:lnTo>
                      <a:pt x="77" y="69"/>
                    </a:lnTo>
                    <a:lnTo>
                      <a:pt x="72" y="73"/>
                    </a:lnTo>
                    <a:lnTo>
                      <a:pt x="68" y="76"/>
                    </a:lnTo>
                    <a:lnTo>
                      <a:pt x="64" y="79"/>
                    </a:lnTo>
                    <a:lnTo>
                      <a:pt x="58" y="81"/>
                    </a:lnTo>
                    <a:lnTo>
                      <a:pt x="52" y="81"/>
                    </a:lnTo>
                    <a:lnTo>
                      <a:pt x="52" y="81"/>
                    </a:lnTo>
                    <a:lnTo>
                      <a:pt x="46" y="81"/>
                    </a:lnTo>
                    <a:lnTo>
                      <a:pt x="42" y="79"/>
                    </a:lnTo>
                    <a:lnTo>
                      <a:pt x="36" y="76"/>
                    </a:lnTo>
                    <a:lnTo>
                      <a:pt x="32" y="73"/>
                    </a:lnTo>
                    <a:lnTo>
                      <a:pt x="29" y="69"/>
                    </a:lnTo>
                    <a:lnTo>
                      <a:pt x="26" y="63"/>
                    </a:lnTo>
                    <a:lnTo>
                      <a:pt x="25" y="59"/>
                    </a:lnTo>
                    <a:lnTo>
                      <a:pt x="25" y="53"/>
                    </a:lnTo>
                    <a:lnTo>
                      <a:pt x="25" y="53"/>
                    </a:lnTo>
                    <a:lnTo>
                      <a:pt x="25" y="48"/>
                    </a:lnTo>
                    <a:lnTo>
                      <a:pt x="26" y="42"/>
                    </a:lnTo>
                    <a:lnTo>
                      <a:pt x="29" y="37"/>
                    </a:lnTo>
                    <a:lnTo>
                      <a:pt x="32" y="33"/>
                    </a:lnTo>
                    <a:lnTo>
                      <a:pt x="36" y="29"/>
                    </a:lnTo>
                    <a:lnTo>
                      <a:pt x="42" y="26"/>
                    </a:lnTo>
                    <a:lnTo>
                      <a:pt x="46" y="24"/>
                    </a:lnTo>
                    <a:lnTo>
                      <a:pt x="52" y="24"/>
                    </a:lnTo>
                    <a:lnTo>
                      <a:pt x="52" y="24"/>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8" name="Freeform 9"/>
              <p:cNvSpPr>
                <a:spLocks/>
              </p:cNvSpPr>
              <p:nvPr/>
            </p:nvSpPr>
            <p:spPr bwMode="auto">
              <a:xfrm>
                <a:off x="476250" y="2201863"/>
                <a:ext cx="255588" cy="296863"/>
              </a:xfrm>
              <a:custGeom>
                <a:avLst/>
                <a:gdLst>
                  <a:gd name="T0" fmla="*/ 0 w 161"/>
                  <a:gd name="T1" fmla="*/ 0 h 187"/>
                  <a:gd name="T2" fmla="*/ 0 w 161"/>
                  <a:gd name="T3" fmla="*/ 187 h 187"/>
                  <a:gd name="T4" fmla="*/ 24 w 161"/>
                  <a:gd name="T5" fmla="*/ 161 h 187"/>
                  <a:gd name="T6" fmla="*/ 24 w 161"/>
                  <a:gd name="T7" fmla="*/ 24 h 187"/>
                  <a:gd name="T8" fmla="*/ 135 w 161"/>
                  <a:gd name="T9" fmla="*/ 24 h 187"/>
                  <a:gd name="T10" fmla="*/ 135 w 161"/>
                  <a:gd name="T11" fmla="*/ 162 h 187"/>
                  <a:gd name="T12" fmla="*/ 161 w 161"/>
                  <a:gd name="T13" fmla="*/ 187 h 187"/>
                  <a:gd name="T14" fmla="*/ 161 w 161"/>
                  <a:gd name="T15" fmla="*/ 0 h 187"/>
                  <a:gd name="T16" fmla="*/ 0 w 161"/>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87">
                    <a:moveTo>
                      <a:pt x="0" y="0"/>
                    </a:moveTo>
                    <a:lnTo>
                      <a:pt x="0" y="187"/>
                    </a:lnTo>
                    <a:lnTo>
                      <a:pt x="24" y="161"/>
                    </a:lnTo>
                    <a:lnTo>
                      <a:pt x="24" y="24"/>
                    </a:lnTo>
                    <a:lnTo>
                      <a:pt x="135" y="24"/>
                    </a:lnTo>
                    <a:lnTo>
                      <a:pt x="135" y="162"/>
                    </a:lnTo>
                    <a:lnTo>
                      <a:pt x="161" y="187"/>
                    </a:lnTo>
                    <a:lnTo>
                      <a:pt x="161" y="0"/>
                    </a:lnTo>
                    <a:lnTo>
                      <a:pt x="0" y="0"/>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9" name="Rectangle 10"/>
              <p:cNvSpPr>
                <a:spLocks noChangeArrowheads="1"/>
              </p:cNvSpPr>
              <p:nvPr/>
            </p:nvSpPr>
            <p:spPr bwMode="auto">
              <a:xfrm>
                <a:off x="528638" y="2500313"/>
                <a:ext cx="38100" cy="19208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0" name="Rectangle 11"/>
              <p:cNvSpPr>
                <a:spLocks noChangeArrowheads="1"/>
              </p:cNvSpPr>
              <p:nvPr/>
            </p:nvSpPr>
            <p:spPr bwMode="auto">
              <a:xfrm>
                <a:off x="639763" y="2500313"/>
                <a:ext cx="39688" cy="192088"/>
              </a:xfrm>
              <a:prstGeom prst="rect">
                <a:avLst/>
              </a:prstGeom>
              <a:solidFill>
                <a:schemeClr val="bg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2" name="Group 51"/>
            <p:cNvGrpSpPr/>
            <p:nvPr/>
          </p:nvGrpSpPr>
          <p:grpSpPr>
            <a:xfrm>
              <a:off x="9105617" y="2205719"/>
              <a:ext cx="266700" cy="692151"/>
              <a:chOff x="1692275" y="2000250"/>
              <a:chExt cx="266700" cy="692151"/>
            </a:xfrm>
            <a:solidFill>
              <a:schemeClr val="bg1"/>
            </a:solidFill>
          </p:grpSpPr>
          <p:sp>
            <p:nvSpPr>
              <p:cNvPr id="73" name="Freeform 32"/>
              <p:cNvSpPr>
                <a:spLocks noEditPoints="1"/>
              </p:cNvSpPr>
              <p:nvPr/>
            </p:nvSpPr>
            <p:spPr bwMode="auto">
              <a:xfrm>
                <a:off x="1741488" y="2000250"/>
                <a:ext cx="166688" cy="169863"/>
              </a:xfrm>
              <a:custGeom>
                <a:avLst/>
                <a:gdLst>
                  <a:gd name="T0" fmla="*/ 54 w 105"/>
                  <a:gd name="T1" fmla="*/ 107 h 107"/>
                  <a:gd name="T2" fmla="*/ 74 w 105"/>
                  <a:gd name="T3" fmla="*/ 102 h 107"/>
                  <a:gd name="T4" fmla="*/ 91 w 105"/>
                  <a:gd name="T5" fmla="*/ 91 h 107"/>
                  <a:gd name="T6" fmla="*/ 101 w 105"/>
                  <a:gd name="T7" fmla="*/ 73 h 107"/>
                  <a:gd name="T8" fmla="*/ 105 w 105"/>
                  <a:gd name="T9" fmla="*/ 53 h 107"/>
                  <a:gd name="T10" fmla="*/ 105 w 105"/>
                  <a:gd name="T11" fmla="*/ 42 h 107"/>
                  <a:gd name="T12" fmla="*/ 97 w 105"/>
                  <a:gd name="T13" fmla="*/ 23 h 107"/>
                  <a:gd name="T14" fmla="*/ 82 w 105"/>
                  <a:gd name="T15" fmla="*/ 9 h 107"/>
                  <a:gd name="T16" fmla="*/ 64 w 105"/>
                  <a:gd name="T17" fmla="*/ 1 h 107"/>
                  <a:gd name="T18" fmla="*/ 54 w 105"/>
                  <a:gd name="T19" fmla="*/ 0 h 107"/>
                  <a:gd name="T20" fmla="*/ 32 w 105"/>
                  <a:gd name="T21" fmla="*/ 4 h 107"/>
                  <a:gd name="T22" fmla="*/ 16 w 105"/>
                  <a:gd name="T23" fmla="*/ 16 h 107"/>
                  <a:gd name="T24" fmla="*/ 5 w 105"/>
                  <a:gd name="T25" fmla="*/ 32 h 107"/>
                  <a:gd name="T26" fmla="*/ 0 w 105"/>
                  <a:gd name="T27" fmla="*/ 53 h 107"/>
                  <a:gd name="T28" fmla="*/ 2 w 105"/>
                  <a:gd name="T29" fmla="*/ 63 h 107"/>
                  <a:gd name="T30" fmla="*/ 9 w 105"/>
                  <a:gd name="T31" fmla="*/ 82 h 107"/>
                  <a:gd name="T32" fmla="*/ 23 w 105"/>
                  <a:gd name="T33" fmla="*/ 96 h 107"/>
                  <a:gd name="T34" fmla="*/ 42 w 105"/>
                  <a:gd name="T35" fmla="*/ 105 h 107"/>
                  <a:gd name="T36" fmla="*/ 54 w 105"/>
                  <a:gd name="T37" fmla="*/ 107 h 107"/>
                  <a:gd name="T38" fmla="*/ 54 w 105"/>
                  <a:gd name="T39" fmla="*/ 24 h 107"/>
                  <a:gd name="T40" fmla="*/ 64 w 105"/>
                  <a:gd name="T41" fmla="*/ 27 h 107"/>
                  <a:gd name="T42" fmla="*/ 72 w 105"/>
                  <a:gd name="T43" fmla="*/ 33 h 107"/>
                  <a:gd name="T44" fmla="*/ 79 w 105"/>
                  <a:gd name="T45" fmla="*/ 42 h 107"/>
                  <a:gd name="T46" fmla="*/ 81 w 105"/>
                  <a:gd name="T47" fmla="*/ 53 h 107"/>
                  <a:gd name="T48" fmla="*/ 81 w 105"/>
                  <a:gd name="T49" fmla="*/ 59 h 107"/>
                  <a:gd name="T50" fmla="*/ 77 w 105"/>
                  <a:gd name="T51" fmla="*/ 69 h 107"/>
                  <a:gd name="T52" fmla="*/ 69 w 105"/>
                  <a:gd name="T53" fmla="*/ 76 h 107"/>
                  <a:gd name="T54" fmla="*/ 59 w 105"/>
                  <a:gd name="T55" fmla="*/ 81 h 107"/>
                  <a:gd name="T56" fmla="*/ 54 w 105"/>
                  <a:gd name="T57" fmla="*/ 81 h 107"/>
                  <a:gd name="T58" fmla="*/ 42 w 105"/>
                  <a:gd name="T59" fmla="*/ 79 h 107"/>
                  <a:gd name="T60" fmla="*/ 33 w 105"/>
                  <a:gd name="T61" fmla="*/ 73 h 107"/>
                  <a:gd name="T62" fmla="*/ 26 w 105"/>
                  <a:gd name="T63" fmla="*/ 63 h 107"/>
                  <a:gd name="T64" fmla="*/ 25 w 105"/>
                  <a:gd name="T65" fmla="*/ 53 h 107"/>
                  <a:gd name="T66" fmla="*/ 25 w 105"/>
                  <a:gd name="T67" fmla="*/ 48 h 107"/>
                  <a:gd name="T68" fmla="*/ 29 w 105"/>
                  <a:gd name="T69" fmla="*/ 37 h 107"/>
                  <a:gd name="T70" fmla="*/ 38 w 105"/>
                  <a:gd name="T71" fmla="*/ 29 h 107"/>
                  <a:gd name="T72" fmla="*/ 48 w 105"/>
                  <a:gd name="T73" fmla="*/ 24 h 107"/>
                  <a:gd name="T74" fmla="*/ 54 w 105"/>
                  <a:gd name="T75" fmla="*/ 2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7">
                    <a:moveTo>
                      <a:pt x="54" y="107"/>
                    </a:moveTo>
                    <a:lnTo>
                      <a:pt x="54" y="107"/>
                    </a:lnTo>
                    <a:lnTo>
                      <a:pt x="64" y="105"/>
                    </a:lnTo>
                    <a:lnTo>
                      <a:pt x="74" y="102"/>
                    </a:lnTo>
                    <a:lnTo>
                      <a:pt x="82" y="96"/>
                    </a:lnTo>
                    <a:lnTo>
                      <a:pt x="91" y="91"/>
                    </a:lnTo>
                    <a:lnTo>
                      <a:pt x="97" y="82"/>
                    </a:lnTo>
                    <a:lnTo>
                      <a:pt x="101" y="73"/>
                    </a:lnTo>
                    <a:lnTo>
                      <a:pt x="105" y="63"/>
                    </a:lnTo>
                    <a:lnTo>
                      <a:pt x="105" y="53"/>
                    </a:lnTo>
                    <a:lnTo>
                      <a:pt x="105" y="53"/>
                    </a:lnTo>
                    <a:lnTo>
                      <a:pt x="105" y="42"/>
                    </a:lnTo>
                    <a:lnTo>
                      <a:pt x="101" y="32"/>
                    </a:lnTo>
                    <a:lnTo>
                      <a:pt x="97" y="23"/>
                    </a:lnTo>
                    <a:lnTo>
                      <a:pt x="91" y="16"/>
                    </a:lnTo>
                    <a:lnTo>
                      <a:pt x="82" y="9"/>
                    </a:lnTo>
                    <a:lnTo>
                      <a:pt x="74" y="4"/>
                    </a:lnTo>
                    <a:lnTo>
                      <a:pt x="64" y="1"/>
                    </a:lnTo>
                    <a:lnTo>
                      <a:pt x="54" y="0"/>
                    </a:lnTo>
                    <a:lnTo>
                      <a:pt x="54" y="0"/>
                    </a:lnTo>
                    <a:lnTo>
                      <a:pt x="42" y="1"/>
                    </a:lnTo>
                    <a:lnTo>
                      <a:pt x="32" y="4"/>
                    </a:lnTo>
                    <a:lnTo>
                      <a:pt x="23" y="9"/>
                    </a:lnTo>
                    <a:lnTo>
                      <a:pt x="16" y="16"/>
                    </a:lnTo>
                    <a:lnTo>
                      <a:pt x="9" y="23"/>
                    </a:lnTo>
                    <a:lnTo>
                      <a:pt x="5" y="32"/>
                    </a:lnTo>
                    <a:lnTo>
                      <a:pt x="2" y="42"/>
                    </a:lnTo>
                    <a:lnTo>
                      <a:pt x="0" y="53"/>
                    </a:lnTo>
                    <a:lnTo>
                      <a:pt x="0" y="53"/>
                    </a:lnTo>
                    <a:lnTo>
                      <a:pt x="2" y="63"/>
                    </a:lnTo>
                    <a:lnTo>
                      <a:pt x="5" y="73"/>
                    </a:lnTo>
                    <a:lnTo>
                      <a:pt x="9" y="82"/>
                    </a:lnTo>
                    <a:lnTo>
                      <a:pt x="16" y="91"/>
                    </a:lnTo>
                    <a:lnTo>
                      <a:pt x="23" y="96"/>
                    </a:lnTo>
                    <a:lnTo>
                      <a:pt x="32" y="102"/>
                    </a:lnTo>
                    <a:lnTo>
                      <a:pt x="42" y="105"/>
                    </a:lnTo>
                    <a:lnTo>
                      <a:pt x="54" y="107"/>
                    </a:lnTo>
                    <a:lnTo>
                      <a:pt x="54" y="107"/>
                    </a:lnTo>
                    <a:close/>
                    <a:moveTo>
                      <a:pt x="54" y="24"/>
                    </a:moveTo>
                    <a:lnTo>
                      <a:pt x="54" y="24"/>
                    </a:lnTo>
                    <a:lnTo>
                      <a:pt x="59" y="24"/>
                    </a:lnTo>
                    <a:lnTo>
                      <a:pt x="64" y="27"/>
                    </a:lnTo>
                    <a:lnTo>
                      <a:pt x="69" y="29"/>
                    </a:lnTo>
                    <a:lnTo>
                      <a:pt x="72" y="33"/>
                    </a:lnTo>
                    <a:lnTo>
                      <a:pt x="77" y="37"/>
                    </a:lnTo>
                    <a:lnTo>
                      <a:pt x="79" y="42"/>
                    </a:lnTo>
                    <a:lnTo>
                      <a:pt x="81" y="48"/>
                    </a:lnTo>
                    <a:lnTo>
                      <a:pt x="81" y="53"/>
                    </a:lnTo>
                    <a:lnTo>
                      <a:pt x="81" y="53"/>
                    </a:lnTo>
                    <a:lnTo>
                      <a:pt x="81" y="59"/>
                    </a:lnTo>
                    <a:lnTo>
                      <a:pt x="79" y="63"/>
                    </a:lnTo>
                    <a:lnTo>
                      <a:pt x="77" y="69"/>
                    </a:lnTo>
                    <a:lnTo>
                      <a:pt x="72" y="73"/>
                    </a:lnTo>
                    <a:lnTo>
                      <a:pt x="69" y="76"/>
                    </a:lnTo>
                    <a:lnTo>
                      <a:pt x="64" y="79"/>
                    </a:lnTo>
                    <a:lnTo>
                      <a:pt x="59" y="81"/>
                    </a:lnTo>
                    <a:lnTo>
                      <a:pt x="54" y="81"/>
                    </a:lnTo>
                    <a:lnTo>
                      <a:pt x="54" y="81"/>
                    </a:lnTo>
                    <a:lnTo>
                      <a:pt x="48" y="81"/>
                    </a:lnTo>
                    <a:lnTo>
                      <a:pt x="42" y="79"/>
                    </a:lnTo>
                    <a:lnTo>
                      <a:pt x="38" y="76"/>
                    </a:lnTo>
                    <a:lnTo>
                      <a:pt x="33" y="73"/>
                    </a:lnTo>
                    <a:lnTo>
                      <a:pt x="29" y="69"/>
                    </a:lnTo>
                    <a:lnTo>
                      <a:pt x="26" y="63"/>
                    </a:lnTo>
                    <a:lnTo>
                      <a:pt x="25" y="59"/>
                    </a:lnTo>
                    <a:lnTo>
                      <a:pt x="25" y="53"/>
                    </a:lnTo>
                    <a:lnTo>
                      <a:pt x="25" y="53"/>
                    </a:lnTo>
                    <a:lnTo>
                      <a:pt x="25" y="48"/>
                    </a:lnTo>
                    <a:lnTo>
                      <a:pt x="26" y="42"/>
                    </a:lnTo>
                    <a:lnTo>
                      <a:pt x="29" y="37"/>
                    </a:lnTo>
                    <a:lnTo>
                      <a:pt x="33" y="33"/>
                    </a:lnTo>
                    <a:lnTo>
                      <a:pt x="38" y="29"/>
                    </a:lnTo>
                    <a:lnTo>
                      <a:pt x="42" y="27"/>
                    </a:lnTo>
                    <a:lnTo>
                      <a:pt x="48" y="24"/>
                    </a:lnTo>
                    <a:lnTo>
                      <a:pt x="54"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4" name="Freeform 33"/>
              <p:cNvSpPr>
                <a:spLocks noEditPoints="1"/>
              </p:cNvSpPr>
              <p:nvPr/>
            </p:nvSpPr>
            <p:spPr bwMode="auto">
              <a:xfrm>
                <a:off x="1692275" y="2203450"/>
                <a:ext cx="266700" cy="322263"/>
              </a:xfrm>
              <a:custGeom>
                <a:avLst/>
                <a:gdLst>
                  <a:gd name="T0" fmla="*/ 122 w 168"/>
                  <a:gd name="T1" fmla="*/ 0 h 203"/>
                  <a:gd name="T2" fmla="*/ 46 w 168"/>
                  <a:gd name="T3" fmla="*/ 0 h 203"/>
                  <a:gd name="T4" fmla="*/ 0 w 168"/>
                  <a:gd name="T5" fmla="*/ 203 h 203"/>
                  <a:gd name="T6" fmla="*/ 168 w 168"/>
                  <a:gd name="T7" fmla="*/ 203 h 203"/>
                  <a:gd name="T8" fmla="*/ 122 w 168"/>
                  <a:gd name="T9" fmla="*/ 0 h 203"/>
                  <a:gd name="T10" fmla="*/ 66 w 168"/>
                  <a:gd name="T11" fmla="*/ 25 h 203"/>
                  <a:gd name="T12" fmla="*/ 102 w 168"/>
                  <a:gd name="T13" fmla="*/ 25 h 203"/>
                  <a:gd name="T14" fmla="*/ 138 w 168"/>
                  <a:gd name="T15" fmla="*/ 179 h 203"/>
                  <a:gd name="T16" fmla="*/ 30 w 168"/>
                  <a:gd name="T17" fmla="*/ 179 h 203"/>
                  <a:gd name="T18" fmla="*/ 66 w 168"/>
                  <a:gd name="T19"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3">
                    <a:moveTo>
                      <a:pt x="122" y="0"/>
                    </a:moveTo>
                    <a:lnTo>
                      <a:pt x="46" y="0"/>
                    </a:lnTo>
                    <a:lnTo>
                      <a:pt x="0" y="203"/>
                    </a:lnTo>
                    <a:lnTo>
                      <a:pt x="168" y="203"/>
                    </a:lnTo>
                    <a:lnTo>
                      <a:pt x="122" y="0"/>
                    </a:lnTo>
                    <a:close/>
                    <a:moveTo>
                      <a:pt x="66" y="25"/>
                    </a:moveTo>
                    <a:lnTo>
                      <a:pt x="102" y="25"/>
                    </a:lnTo>
                    <a:lnTo>
                      <a:pt x="138" y="179"/>
                    </a:lnTo>
                    <a:lnTo>
                      <a:pt x="30" y="179"/>
                    </a:lnTo>
                    <a:lnTo>
                      <a:pt x="6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dirty="0"/>
              </a:p>
            </p:txBody>
          </p:sp>
          <p:sp>
            <p:nvSpPr>
              <p:cNvPr id="75" name="Freeform 34"/>
              <p:cNvSpPr>
                <a:spLocks/>
              </p:cNvSpPr>
              <p:nvPr/>
            </p:nvSpPr>
            <p:spPr bwMode="auto">
              <a:xfrm>
                <a:off x="1751013" y="2557463"/>
                <a:ext cx="39688" cy="134938"/>
              </a:xfrm>
              <a:custGeom>
                <a:avLst/>
                <a:gdLst>
                  <a:gd name="T0" fmla="*/ 0 w 25"/>
                  <a:gd name="T1" fmla="*/ 85 h 85"/>
                  <a:gd name="T2" fmla="*/ 25 w 25"/>
                  <a:gd name="T3" fmla="*/ 61 h 85"/>
                  <a:gd name="T4" fmla="*/ 25 w 25"/>
                  <a:gd name="T5" fmla="*/ 0 h 85"/>
                  <a:gd name="T6" fmla="*/ 0 w 25"/>
                  <a:gd name="T7" fmla="*/ 0 h 85"/>
                  <a:gd name="T8" fmla="*/ 0 w 25"/>
                  <a:gd name="T9" fmla="*/ 85 h 85"/>
                </a:gdLst>
                <a:ahLst/>
                <a:cxnLst>
                  <a:cxn ang="0">
                    <a:pos x="T0" y="T1"/>
                  </a:cxn>
                  <a:cxn ang="0">
                    <a:pos x="T2" y="T3"/>
                  </a:cxn>
                  <a:cxn ang="0">
                    <a:pos x="T4" y="T5"/>
                  </a:cxn>
                  <a:cxn ang="0">
                    <a:pos x="T6" y="T7"/>
                  </a:cxn>
                  <a:cxn ang="0">
                    <a:pos x="T8" y="T9"/>
                  </a:cxn>
                </a:cxnLst>
                <a:rect l="0" t="0" r="r" b="b"/>
                <a:pathLst>
                  <a:path w="25" h="85">
                    <a:moveTo>
                      <a:pt x="0" y="85"/>
                    </a:moveTo>
                    <a:lnTo>
                      <a:pt x="25" y="61"/>
                    </a:lnTo>
                    <a:lnTo>
                      <a:pt x="25" y="0"/>
                    </a:lnTo>
                    <a:lnTo>
                      <a:pt x="0" y="0"/>
                    </a:lnTo>
                    <a:lnTo>
                      <a:pt x="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6" name="Freeform 35"/>
              <p:cNvSpPr>
                <a:spLocks/>
              </p:cNvSpPr>
              <p:nvPr/>
            </p:nvSpPr>
            <p:spPr bwMode="auto">
              <a:xfrm>
                <a:off x="1860550" y="2557463"/>
                <a:ext cx="39688" cy="134938"/>
              </a:xfrm>
              <a:custGeom>
                <a:avLst/>
                <a:gdLst>
                  <a:gd name="T0" fmla="*/ 0 w 25"/>
                  <a:gd name="T1" fmla="*/ 61 h 85"/>
                  <a:gd name="T2" fmla="*/ 25 w 25"/>
                  <a:gd name="T3" fmla="*/ 85 h 85"/>
                  <a:gd name="T4" fmla="*/ 25 w 25"/>
                  <a:gd name="T5" fmla="*/ 0 h 85"/>
                  <a:gd name="T6" fmla="*/ 0 w 25"/>
                  <a:gd name="T7" fmla="*/ 0 h 85"/>
                  <a:gd name="T8" fmla="*/ 0 w 25"/>
                  <a:gd name="T9" fmla="*/ 61 h 85"/>
                </a:gdLst>
                <a:ahLst/>
                <a:cxnLst>
                  <a:cxn ang="0">
                    <a:pos x="T0" y="T1"/>
                  </a:cxn>
                  <a:cxn ang="0">
                    <a:pos x="T2" y="T3"/>
                  </a:cxn>
                  <a:cxn ang="0">
                    <a:pos x="T4" y="T5"/>
                  </a:cxn>
                  <a:cxn ang="0">
                    <a:pos x="T6" y="T7"/>
                  </a:cxn>
                  <a:cxn ang="0">
                    <a:pos x="T8" y="T9"/>
                  </a:cxn>
                </a:cxnLst>
                <a:rect l="0" t="0" r="r" b="b"/>
                <a:pathLst>
                  <a:path w="25" h="85">
                    <a:moveTo>
                      <a:pt x="0" y="61"/>
                    </a:moveTo>
                    <a:lnTo>
                      <a:pt x="25" y="85"/>
                    </a:lnTo>
                    <a:lnTo>
                      <a:pt x="25" y="0"/>
                    </a:lnTo>
                    <a:lnTo>
                      <a:pt x="0"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3" name="Group 52"/>
            <p:cNvGrpSpPr/>
            <p:nvPr/>
          </p:nvGrpSpPr>
          <p:grpSpPr>
            <a:xfrm>
              <a:off x="8020271" y="3036445"/>
              <a:ext cx="255588" cy="692151"/>
              <a:chOff x="476250" y="2000250"/>
              <a:chExt cx="255588" cy="692151"/>
            </a:xfrm>
            <a:solidFill>
              <a:schemeClr val="bg1"/>
            </a:solidFill>
          </p:grpSpPr>
          <p:sp>
            <p:nvSpPr>
              <p:cNvPr id="69" name="Freeform 8"/>
              <p:cNvSpPr>
                <a:spLocks noEditPoints="1"/>
              </p:cNvSpPr>
              <p:nvPr/>
            </p:nvSpPr>
            <p:spPr bwMode="auto">
              <a:xfrm>
                <a:off x="520700" y="2000250"/>
                <a:ext cx="166688" cy="166688"/>
              </a:xfrm>
              <a:custGeom>
                <a:avLst/>
                <a:gdLst>
                  <a:gd name="T0" fmla="*/ 52 w 105"/>
                  <a:gd name="T1" fmla="*/ 105 h 105"/>
                  <a:gd name="T2" fmla="*/ 74 w 105"/>
                  <a:gd name="T3" fmla="*/ 102 h 105"/>
                  <a:gd name="T4" fmla="*/ 90 w 105"/>
                  <a:gd name="T5" fmla="*/ 91 h 105"/>
                  <a:gd name="T6" fmla="*/ 101 w 105"/>
                  <a:gd name="T7" fmla="*/ 73 h 105"/>
                  <a:gd name="T8" fmla="*/ 105 w 105"/>
                  <a:gd name="T9" fmla="*/ 53 h 105"/>
                  <a:gd name="T10" fmla="*/ 104 w 105"/>
                  <a:gd name="T11" fmla="*/ 42 h 105"/>
                  <a:gd name="T12" fmla="*/ 97 w 105"/>
                  <a:gd name="T13" fmla="*/ 23 h 105"/>
                  <a:gd name="T14" fmla="*/ 82 w 105"/>
                  <a:gd name="T15" fmla="*/ 9 h 105"/>
                  <a:gd name="T16" fmla="*/ 64 w 105"/>
                  <a:gd name="T17" fmla="*/ 1 h 105"/>
                  <a:gd name="T18" fmla="*/ 52 w 105"/>
                  <a:gd name="T19" fmla="*/ 0 h 105"/>
                  <a:gd name="T20" fmla="*/ 32 w 105"/>
                  <a:gd name="T21" fmla="*/ 4 h 105"/>
                  <a:gd name="T22" fmla="*/ 15 w 105"/>
                  <a:gd name="T23" fmla="*/ 16 h 105"/>
                  <a:gd name="T24" fmla="*/ 5 w 105"/>
                  <a:gd name="T25" fmla="*/ 32 h 105"/>
                  <a:gd name="T26" fmla="*/ 0 w 105"/>
                  <a:gd name="T27" fmla="*/ 53 h 105"/>
                  <a:gd name="T28" fmla="*/ 0 w 105"/>
                  <a:gd name="T29" fmla="*/ 63 h 105"/>
                  <a:gd name="T30" fmla="*/ 9 w 105"/>
                  <a:gd name="T31" fmla="*/ 82 h 105"/>
                  <a:gd name="T32" fmla="*/ 23 w 105"/>
                  <a:gd name="T33" fmla="*/ 96 h 105"/>
                  <a:gd name="T34" fmla="*/ 42 w 105"/>
                  <a:gd name="T35" fmla="*/ 105 h 105"/>
                  <a:gd name="T36" fmla="*/ 52 w 105"/>
                  <a:gd name="T37" fmla="*/ 105 h 105"/>
                  <a:gd name="T38" fmla="*/ 52 w 105"/>
                  <a:gd name="T39" fmla="*/ 24 h 105"/>
                  <a:gd name="T40" fmla="*/ 64 w 105"/>
                  <a:gd name="T41" fmla="*/ 26 h 105"/>
                  <a:gd name="T42" fmla="*/ 72 w 105"/>
                  <a:gd name="T43" fmla="*/ 33 h 105"/>
                  <a:gd name="T44" fmla="*/ 80 w 105"/>
                  <a:gd name="T45" fmla="*/ 42 h 105"/>
                  <a:gd name="T46" fmla="*/ 81 w 105"/>
                  <a:gd name="T47" fmla="*/ 53 h 105"/>
                  <a:gd name="T48" fmla="*/ 81 w 105"/>
                  <a:gd name="T49" fmla="*/ 59 h 105"/>
                  <a:gd name="T50" fmla="*/ 77 w 105"/>
                  <a:gd name="T51" fmla="*/ 69 h 105"/>
                  <a:gd name="T52" fmla="*/ 68 w 105"/>
                  <a:gd name="T53" fmla="*/ 76 h 105"/>
                  <a:gd name="T54" fmla="*/ 58 w 105"/>
                  <a:gd name="T55" fmla="*/ 81 h 105"/>
                  <a:gd name="T56" fmla="*/ 52 w 105"/>
                  <a:gd name="T57" fmla="*/ 81 h 105"/>
                  <a:gd name="T58" fmla="*/ 42 w 105"/>
                  <a:gd name="T59" fmla="*/ 79 h 105"/>
                  <a:gd name="T60" fmla="*/ 32 w 105"/>
                  <a:gd name="T61" fmla="*/ 73 h 105"/>
                  <a:gd name="T62" fmla="*/ 26 w 105"/>
                  <a:gd name="T63" fmla="*/ 63 h 105"/>
                  <a:gd name="T64" fmla="*/ 25 w 105"/>
                  <a:gd name="T65" fmla="*/ 53 h 105"/>
                  <a:gd name="T66" fmla="*/ 25 w 105"/>
                  <a:gd name="T67" fmla="*/ 48 h 105"/>
                  <a:gd name="T68" fmla="*/ 29 w 105"/>
                  <a:gd name="T69" fmla="*/ 37 h 105"/>
                  <a:gd name="T70" fmla="*/ 36 w 105"/>
                  <a:gd name="T71" fmla="*/ 29 h 105"/>
                  <a:gd name="T72" fmla="*/ 46 w 105"/>
                  <a:gd name="T73" fmla="*/ 24 h 105"/>
                  <a:gd name="T74" fmla="*/ 52 w 105"/>
                  <a:gd name="T75" fmla="*/ 2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5">
                    <a:moveTo>
                      <a:pt x="52" y="105"/>
                    </a:moveTo>
                    <a:lnTo>
                      <a:pt x="52" y="105"/>
                    </a:lnTo>
                    <a:lnTo>
                      <a:pt x="64" y="105"/>
                    </a:lnTo>
                    <a:lnTo>
                      <a:pt x="74" y="102"/>
                    </a:lnTo>
                    <a:lnTo>
                      <a:pt x="82" y="96"/>
                    </a:lnTo>
                    <a:lnTo>
                      <a:pt x="90" y="91"/>
                    </a:lnTo>
                    <a:lnTo>
                      <a:pt x="97" y="82"/>
                    </a:lnTo>
                    <a:lnTo>
                      <a:pt x="101" y="73"/>
                    </a:lnTo>
                    <a:lnTo>
                      <a:pt x="104" y="63"/>
                    </a:lnTo>
                    <a:lnTo>
                      <a:pt x="105" y="53"/>
                    </a:lnTo>
                    <a:lnTo>
                      <a:pt x="105" y="53"/>
                    </a:lnTo>
                    <a:lnTo>
                      <a:pt x="104" y="42"/>
                    </a:lnTo>
                    <a:lnTo>
                      <a:pt x="101" y="32"/>
                    </a:lnTo>
                    <a:lnTo>
                      <a:pt x="97" y="23"/>
                    </a:lnTo>
                    <a:lnTo>
                      <a:pt x="90" y="16"/>
                    </a:lnTo>
                    <a:lnTo>
                      <a:pt x="82" y="9"/>
                    </a:lnTo>
                    <a:lnTo>
                      <a:pt x="74" y="4"/>
                    </a:lnTo>
                    <a:lnTo>
                      <a:pt x="64" y="1"/>
                    </a:lnTo>
                    <a:lnTo>
                      <a:pt x="52" y="0"/>
                    </a:lnTo>
                    <a:lnTo>
                      <a:pt x="52" y="0"/>
                    </a:lnTo>
                    <a:lnTo>
                      <a:pt x="42" y="1"/>
                    </a:lnTo>
                    <a:lnTo>
                      <a:pt x="32" y="4"/>
                    </a:lnTo>
                    <a:lnTo>
                      <a:pt x="23" y="9"/>
                    </a:lnTo>
                    <a:lnTo>
                      <a:pt x="15" y="16"/>
                    </a:lnTo>
                    <a:lnTo>
                      <a:pt x="9" y="23"/>
                    </a:lnTo>
                    <a:lnTo>
                      <a:pt x="5" y="32"/>
                    </a:lnTo>
                    <a:lnTo>
                      <a:pt x="0" y="42"/>
                    </a:lnTo>
                    <a:lnTo>
                      <a:pt x="0" y="53"/>
                    </a:lnTo>
                    <a:lnTo>
                      <a:pt x="0" y="53"/>
                    </a:lnTo>
                    <a:lnTo>
                      <a:pt x="0" y="63"/>
                    </a:lnTo>
                    <a:lnTo>
                      <a:pt x="5" y="73"/>
                    </a:lnTo>
                    <a:lnTo>
                      <a:pt x="9" y="82"/>
                    </a:lnTo>
                    <a:lnTo>
                      <a:pt x="15" y="91"/>
                    </a:lnTo>
                    <a:lnTo>
                      <a:pt x="23" y="96"/>
                    </a:lnTo>
                    <a:lnTo>
                      <a:pt x="32" y="102"/>
                    </a:lnTo>
                    <a:lnTo>
                      <a:pt x="42" y="105"/>
                    </a:lnTo>
                    <a:lnTo>
                      <a:pt x="52" y="105"/>
                    </a:lnTo>
                    <a:lnTo>
                      <a:pt x="52" y="105"/>
                    </a:lnTo>
                    <a:close/>
                    <a:moveTo>
                      <a:pt x="52" y="24"/>
                    </a:moveTo>
                    <a:lnTo>
                      <a:pt x="52" y="24"/>
                    </a:lnTo>
                    <a:lnTo>
                      <a:pt x="58" y="24"/>
                    </a:lnTo>
                    <a:lnTo>
                      <a:pt x="64" y="26"/>
                    </a:lnTo>
                    <a:lnTo>
                      <a:pt x="68" y="29"/>
                    </a:lnTo>
                    <a:lnTo>
                      <a:pt x="72" y="33"/>
                    </a:lnTo>
                    <a:lnTo>
                      <a:pt x="77" y="37"/>
                    </a:lnTo>
                    <a:lnTo>
                      <a:pt x="80" y="42"/>
                    </a:lnTo>
                    <a:lnTo>
                      <a:pt x="81" y="48"/>
                    </a:lnTo>
                    <a:lnTo>
                      <a:pt x="81" y="53"/>
                    </a:lnTo>
                    <a:lnTo>
                      <a:pt x="81" y="53"/>
                    </a:lnTo>
                    <a:lnTo>
                      <a:pt x="81" y="59"/>
                    </a:lnTo>
                    <a:lnTo>
                      <a:pt x="80" y="63"/>
                    </a:lnTo>
                    <a:lnTo>
                      <a:pt x="77" y="69"/>
                    </a:lnTo>
                    <a:lnTo>
                      <a:pt x="72" y="73"/>
                    </a:lnTo>
                    <a:lnTo>
                      <a:pt x="68" y="76"/>
                    </a:lnTo>
                    <a:lnTo>
                      <a:pt x="64" y="79"/>
                    </a:lnTo>
                    <a:lnTo>
                      <a:pt x="58" y="81"/>
                    </a:lnTo>
                    <a:lnTo>
                      <a:pt x="52" y="81"/>
                    </a:lnTo>
                    <a:lnTo>
                      <a:pt x="52" y="81"/>
                    </a:lnTo>
                    <a:lnTo>
                      <a:pt x="46" y="81"/>
                    </a:lnTo>
                    <a:lnTo>
                      <a:pt x="42" y="79"/>
                    </a:lnTo>
                    <a:lnTo>
                      <a:pt x="36" y="76"/>
                    </a:lnTo>
                    <a:lnTo>
                      <a:pt x="32" y="73"/>
                    </a:lnTo>
                    <a:lnTo>
                      <a:pt x="29" y="69"/>
                    </a:lnTo>
                    <a:lnTo>
                      <a:pt x="26" y="63"/>
                    </a:lnTo>
                    <a:lnTo>
                      <a:pt x="25" y="59"/>
                    </a:lnTo>
                    <a:lnTo>
                      <a:pt x="25" y="53"/>
                    </a:lnTo>
                    <a:lnTo>
                      <a:pt x="25" y="53"/>
                    </a:lnTo>
                    <a:lnTo>
                      <a:pt x="25" y="48"/>
                    </a:lnTo>
                    <a:lnTo>
                      <a:pt x="26" y="42"/>
                    </a:lnTo>
                    <a:lnTo>
                      <a:pt x="29" y="37"/>
                    </a:lnTo>
                    <a:lnTo>
                      <a:pt x="32" y="33"/>
                    </a:lnTo>
                    <a:lnTo>
                      <a:pt x="36" y="29"/>
                    </a:lnTo>
                    <a:lnTo>
                      <a:pt x="42" y="26"/>
                    </a:lnTo>
                    <a:lnTo>
                      <a:pt x="46" y="24"/>
                    </a:lnTo>
                    <a:lnTo>
                      <a:pt x="52" y="24"/>
                    </a:lnTo>
                    <a:lnTo>
                      <a:pt x="5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0" name="Freeform 9"/>
              <p:cNvSpPr>
                <a:spLocks/>
              </p:cNvSpPr>
              <p:nvPr/>
            </p:nvSpPr>
            <p:spPr bwMode="auto">
              <a:xfrm>
                <a:off x="476250" y="2201863"/>
                <a:ext cx="255588" cy="296863"/>
              </a:xfrm>
              <a:custGeom>
                <a:avLst/>
                <a:gdLst>
                  <a:gd name="T0" fmla="*/ 0 w 161"/>
                  <a:gd name="T1" fmla="*/ 0 h 187"/>
                  <a:gd name="T2" fmla="*/ 0 w 161"/>
                  <a:gd name="T3" fmla="*/ 187 h 187"/>
                  <a:gd name="T4" fmla="*/ 24 w 161"/>
                  <a:gd name="T5" fmla="*/ 161 h 187"/>
                  <a:gd name="T6" fmla="*/ 24 w 161"/>
                  <a:gd name="T7" fmla="*/ 24 h 187"/>
                  <a:gd name="T8" fmla="*/ 135 w 161"/>
                  <a:gd name="T9" fmla="*/ 24 h 187"/>
                  <a:gd name="T10" fmla="*/ 135 w 161"/>
                  <a:gd name="T11" fmla="*/ 162 h 187"/>
                  <a:gd name="T12" fmla="*/ 161 w 161"/>
                  <a:gd name="T13" fmla="*/ 187 h 187"/>
                  <a:gd name="T14" fmla="*/ 161 w 161"/>
                  <a:gd name="T15" fmla="*/ 0 h 187"/>
                  <a:gd name="T16" fmla="*/ 0 w 161"/>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87">
                    <a:moveTo>
                      <a:pt x="0" y="0"/>
                    </a:moveTo>
                    <a:lnTo>
                      <a:pt x="0" y="187"/>
                    </a:lnTo>
                    <a:lnTo>
                      <a:pt x="24" y="161"/>
                    </a:lnTo>
                    <a:lnTo>
                      <a:pt x="24" y="24"/>
                    </a:lnTo>
                    <a:lnTo>
                      <a:pt x="135" y="24"/>
                    </a:lnTo>
                    <a:lnTo>
                      <a:pt x="135" y="162"/>
                    </a:lnTo>
                    <a:lnTo>
                      <a:pt x="161" y="187"/>
                    </a:lnTo>
                    <a:lnTo>
                      <a:pt x="16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1" name="Rectangle 10"/>
              <p:cNvSpPr>
                <a:spLocks noChangeArrowheads="1"/>
              </p:cNvSpPr>
              <p:nvPr/>
            </p:nvSpPr>
            <p:spPr bwMode="auto">
              <a:xfrm>
                <a:off x="528638" y="2500313"/>
                <a:ext cx="38100"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2" name="Rectangle 11"/>
              <p:cNvSpPr>
                <a:spLocks noChangeArrowheads="1"/>
              </p:cNvSpPr>
              <p:nvPr/>
            </p:nvSpPr>
            <p:spPr bwMode="auto">
              <a:xfrm>
                <a:off x="639763" y="2500313"/>
                <a:ext cx="396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4" name="Group 53"/>
            <p:cNvGrpSpPr/>
            <p:nvPr/>
          </p:nvGrpSpPr>
          <p:grpSpPr>
            <a:xfrm>
              <a:off x="8393145" y="3036445"/>
              <a:ext cx="266700" cy="692151"/>
              <a:chOff x="1692275" y="2000250"/>
              <a:chExt cx="266700" cy="692151"/>
            </a:xfrm>
            <a:solidFill>
              <a:schemeClr val="bg1"/>
            </a:solidFill>
          </p:grpSpPr>
          <p:sp>
            <p:nvSpPr>
              <p:cNvPr id="65" name="Freeform 32"/>
              <p:cNvSpPr>
                <a:spLocks noEditPoints="1"/>
              </p:cNvSpPr>
              <p:nvPr/>
            </p:nvSpPr>
            <p:spPr bwMode="auto">
              <a:xfrm>
                <a:off x="1741488" y="2000250"/>
                <a:ext cx="166688" cy="169863"/>
              </a:xfrm>
              <a:custGeom>
                <a:avLst/>
                <a:gdLst>
                  <a:gd name="T0" fmla="*/ 54 w 105"/>
                  <a:gd name="T1" fmla="*/ 107 h 107"/>
                  <a:gd name="T2" fmla="*/ 74 w 105"/>
                  <a:gd name="T3" fmla="*/ 102 h 107"/>
                  <a:gd name="T4" fmla="*/ 91 w 105"/>
                  <a:gd name="T5" fmla="*/ 91 h 107"/>
                  <a:gd name="T6" fmla="*/ 101 w 105"/>
                  <a:gd name="T7" fmla="*/ 73 h 107"/>
                  <a:gd name="T8" fmla="*/ 105 w 105"/>
                  <a:gd name="T9" fmla="*/ 53 h 107"/>
                  <a:gd name="T10" fmla="*/ 105 w 105"/>
                  <a:gd name="T11" fmla="*/ 42 h 107"/>
                  <a:gd name="T12" fmla="*/ 97 w 105"/>
                  <a:gd name="T13" fmla="*/ 23 h 107"/>
                  <a:gd name="T14" fmla="*/ 82 w 105"/>
                  <a:gd name="T15" fmla="*/ 9 h 107"/>
                  <a:gd name="T16" fmla="*/ 64 w 105"/>
                  <a:gd name="T17" fmla="*/ 1 h 107"/>
                  <a:gd name="T18" fmla="*/ 54 w 105"/>
                  <a:gd name="T19" fmla="*/ 0 h 107"/>
                  <a:gd name="T20" fmla="*/ 32 w 105"/>
                  <a:gd name="T21" fmla="*/ 4 h 107"/>
                  <a:gd name="T22" fmla="*/ 16 w 105"/>
                  <a:gd name="T23" fmla="*/ 16 h 107"/>
                  <a:gd name="T24" fmla="*/ 5 w 105"/>
                  <a:gd name="T25" fmla="*/ 32 h 107"/>
                  <a:gd name="T26" fmla="*/ 0 w 105"/>
                  <a:gd name="T27" fmla="*/ 53 h 107"/>
                  <a:gd name="T28" fmla="*/ 2 w 105"/>
                  <a:gd name="T29" fmla="*/ 63 h 107"/>
                  <a:gd name="T30" fmla="*/ 9 w 105"/>
                  <a:gd name="T31" fmla="*/ 82 h 107"/>
                  <a:gd name="T32" fmla="*/ 23 w 105"/>
                  <a:gd name="T33" fmla="*/ 96 h 107"/>
                  <a:gd name="T34" fmla="*/ 42 w 105"/>
                  <a:gd name="T35" fmla="*/ 105 h 107"/>
                  <a:gd name="T36" fmla="*/ 54 w 105"/>
                  <a:gd name="T37" fmla="*/ 107 h 107"/>
                  <a:gd name="T38" fmla="*/ 54 w 105"/>
                  <a:gd name="T39" fmla="*/ 24 h 107"/>
                  <a:gd name="T40" fmla="*/ 64 w 105"/>
                  <a:gd name="T41" fmla="*/ 27 h 107"/>
                  <a:gd name="T42" fmla="*/ 72 w 105"/>
                  <a:gd name="T43" fmla="*/ 33 h 107"/>
                  <a:gd name="T44" fmla="*/ 79 w 105"/>
                  <a:gd name="T45" fmla="*/ 42 h 107"/>
                  <a:gd name="T46" fmla="*/ 81 w 105"/>
                  <a:gd name="T47" fmla="*/ 53 h 107"/>
                  <a:gd name="T48" fmla="*/ 81 w 105"/>
                  <a:gd name="T49" fmla="*/ 59 h 107"/>
                  <a:gd name="T50" fmla="*/ 77 w 105"/>
                  <a:gd name="T51" fmla="*/ 69 h 107"/>
                  <a:gd name="T52" fmla="*/ 69 w 105"/>
                  <a:gd name="T53" fmla="*/ 76 h 107"/>
                  <a:gd name="T54" fmla="*/ 59 w 105"/>
                  <a:gd name="T55" fmla="*/ 81 h 107"/>
                  <a:gd name="T56" fmla="*/ 54 w 105"/>
                  <a:gd name="T57" fmla="*/ 81 h 107"/>
                  <a:gd name="T58" fmla="*/ 42 w 105"/>
                  <a:gd name="T59" fmla="*/ 79 h 107"/>
                  <a:gd name="T60" fmla="*/ 33 w 105"/>
                  <a:gd name="T61" fmla="*/ 73 h 107"/>
                  <a:gd name="T62" fmla="*/ 26 w 105"/>
                  <a:gd name="T63" fmla="*/ 63 h 107"/>
                  <a:gd name="T64" fmla="*/ 25 w 105"/>
                  <a:gd name="T65" fmla="*/ 53 h 107"/>
                  <a:gd name="T66" fmla="*/ 25 w 105"/>
                  <a:gd name="T67" fmla="*/ 48 h 107"/>
                  <a:gd name="T68" fmla="*/ 29 w 105"/>
                  <a:gd name="T69" fmla="*/ 37 h 107"/>
                  <a:gd name="T70" fmla="*/ 38 w 105"/>
                  <a:gd name="T71" fmla="*/ 29 h 107"/>
                  <a:gd name="T72" fmla="*/ 48 w 105"/>
                  <a:gd name="T73" fmla="*/ 24 h 107"/>
                  <a:gd name="T74" fmla="*/ 54 w 105"/>
                  <a:gd name="T75" fmla="*/ 2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7">
                    <a:moveTo>
                      <a:pt x="54" y="107"/>
                    </a:moveTo>
                    <a:lnTo>
                      <a:pt x="54" y="107"/>
                    </a:lnTo>
                    <a:lnTo>
                      <a:pt x="64" y="105"/>
                    </a:lnTo>
                    <a:lnTo>
                      <a:pt x="74" y="102"/>
                    </a:lnTo>
                    <a:lnTo>
                      <a:pt x="82" y="96"/>
                    </a:lnTo>
                    <a:lnTo>
                      <a:pt x="91" y="91"/>
                    </a:lnTo>
                    <a:lnTo>
                      <a:pt x="97" y="82"/>
                    </a:lnTo>
                    <a:lnTo>
                      <a:pt x="101" y="73"/>
                    </a:lnTo>
                    <a:lnTo>
                      <a:pt x="105" y="63"/>
                    </a:lnTo>
                    <a:lnTo>
                      <a:pt x="105" y="53"/>
                    </a:lnTo>
                    <a:lnTo>
                      <a:pt x="105" y="53"/>
                    </a:lnTo>
                    <a:lnTo>
                      <a:pt x="105" y="42"/>
                    </a:lnTo>
                    <a:lnTo>
                      <a:pt x="101" y="32"/>
                    </a:lnTo>
                    <a:lnTo>
                      <a:pt x="97" y="23"/>
                    </a:lnTo>
                    <a:lnTo>
                      <a:pt x="91" y="16"/>
                    </a:lnTo>
                    <a:lnTo>
                      <a:pt x="82" y="9"/>
                    </a:lnTo>
                    <a:lnTo>
                      <a:pt x="74" y="4"/>
                    </a:lnTo>
                    <a:lnTo>
                      <a:pt x="64" y="1"/>
                    </a:lnTo>
                    <a:lnTo>
                      <a:pt x="54" y="0"/>
                    </a:lnTo>
                    <a:lnTo>
                      <a:pt x="54" y="0"/>
                    </a:lnTo>
                    <a:lnTo>
                      <a:pt x="42" y="1"/>
                    </a:lnTo>
                    <a:lnTo>
                      <a:pt x="32" y="4"/>
                    </a:lnTo>
                    <a:lnTo>
                      <a:pt x="23" y="9"/>
                    </a:lnTo>
                    <a:lnTo>
                      <a:pt x="16" y="16"/>
                    </a:lnTo>
                    <a:lnTo>
                      <a:pt x="9" y="23"/>
                    </a:lnTo>
                    <a:lnTo>
                      <a:pt x="5" y="32"/>
                    </a:lnTo>
                    <a:lnTo>
                      <a:pt x="2" y="42"/>
                    </a:lnTo>
                    <a:lnTo>
                      <a:pt x="0" y="53"/>
                    </a:lnTo>
                    <a:lnTo>
                      <a:pt x="0" y="53"/>
                    </a:lnTo>
                    <a:lnTo>
                      <a:pt x="2" y="63"/>
                    </a:lnTo>
                    <a:lnTo>
                      <a:pt x="5" y="73"/>
                    </a:lnTo>
                    <a:lnTo>
                      <a:pt x="9" y="82"/>
                    </a:lnTo>
                    <a:lnTo>
                      <a:pt x="16" y="91"/>
                    </a:lnTo>
                    <a:lnTo>
                      <a:pt x="23" y="96"/>
                    </a:lnTo>
                    <a:lnTo>
                      <a:pt x="32" y="102"/>
                    </a:lnTo>
                    <a:lnTo>
                      <a:pt x="42" y="105"/>
                    </a:lnTo>
                    <a:lnTo>
                      <a:pt x="54" y="107"/>
                    </a:lnTo>
                    <a:lnTo>
                      <a:pt x="54" y="107"/>
                    </a:lnTo>
                    <a:close/>
                    <a:moveTo>
                      <a:pt x="54" y="24"/>
                    </a:moveTo>
                    <a:lnTo>
                      <a:pt x="54" y="24"/>
                    </a:lnTo>
                    <a:lnTo>
                      <a:pt x="59" y="24"/>
                    </a:lnTo>
                    <a:lnTo>
                      <a:pt x="64" y="27"/>
                    </a:lnTo>
                    <a:lnTo>
                      <a:pt x="69" y="29"/>
                    </a:lnTo>
                    <a:lnTo>
                      <a:pt x="72" y="33"/>
                    </a:lnTo>
                    <a:lnTo>
                      <a:pt x="77" y="37"/>
                    </a:lnTo>
                    <a:lnTo>
                      <a:pt x="79" y="42"/>
                    </a:lnTo>
                    <a:lnTo>
                      <a:pt x="81" y="48"/>
                    </a:lnTo>
                    <a:lnTo>
                      <a:pt x="81" y="53"/>
                    </a:lnTo>
                    <a:lnTo>
                      <a:pt x="81" y="53"/>
                    </a:lnTo>
                    <a:lnTo>
                      <a:pt x="81" y="59"/>
                    </a:lnTo>
                    <a:lnTo>
                      <a:pt x="79" y="63"/>
                    </a:lnTo>
                    <a:lnTo>
                      <a:pt x="77" y="69"/>
                    </a:lnTo>
                    <a:lnTo>
                      <a:pt x="72" y="73"/>
                    </a:lnTo>
                    <a:lnTo>
                      <a:pt x="69" y="76"/>
                    </a:lnTo>
                    <a:lnTo>
                      <a:pt x="64" y="79"/>
                    </a:lnTo>
                    <a:lnTo>
                      <a:pt x="59" y="81"/>
                    </a:lnTo>
                    <a:lnTo>
                      <a:pt x="54" y="81"/>
                    </a:lnTo>
                    <a:lnTo>
                      <a:pt x="54" y="81"/>
                    </a:lnTo>
                    <a:lnTo>
                      <a:pt x="48" y="81"/>
                    </a:lnTo>
                    <a:lnTo>
                      <a:pt x="42" y="79"/>
                    </a:lnTo>
                    <a:lnTo>
                      <a:pt x="38" y="76"/>
                    </a:lnTo>
                    <a:lnTo>
                      <a:pt x="33" y="73"/>
                    </a:lnTo>
                    <a:lnTo>
                      <a:pt x="29" y="69"/>
                    </a:lnTo>
                    <a:lnTo>
                      <a:pt x="26" y="63"/>
                    </a:lnTo>
                    <a:lnTo>
                      <a:pt x="25" y="59"/>
                    </a:lnTo>
                    <a:lnTo>
                      <a:pt x="25" y="53"/>
                    </a:lnTo>
                    <a:lnTo>
                      <a:pt x="25" y="53"/>
                    </a:lnTo>
                    <a:lnTo>
                      <a:pt x="25" y="48"/>
                    </a:lnTo>
                    <a:lnTo>
                      <a:pt x="26" y="42"/>
                    </a:lnTo>
                    <a:lnTo>
                      <a:pt x="29" y="37"/>
                    </a:lnTo>
                    <a:lnTo>
                      <a:pt x="33" y="33"/>
                    </a:lnTo>
                    <a:lnTo>
                      <a:pt x="38" y="29"/>
                    </a:lnTo>
                    <a:lnTo>
                      <a:pt x="42" y="27"/>
                    </a:lnTo>
                    <a:lnTo>
                      <a:pt x="48" y="24"/>
                    </a:lnTo>
                    <a:lnTo>
                      <a:pt x="54"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6" name="Freeform 33"/>
              <p:cNvSpPr>
                <a:spLocks noEditPoints="1"/>
              </p:cNvSpPr>
              <p:nvPr/>
            </p:nvSpPr>
            <p:spPr bwMode="auto">
              <a:xfrm>
                <a:off x="1692275" y="2203450"/>
                <a:ext cx="266700" cy="322263"/>
              </a:xfrm>
              <a:custGeom>
                <a:avLst/>
                <a:gdLst>
                  <a:gd name="T0" fmla="*/ 122 w 168"/>
                  <a:gd name="T1" fmla="*/ 0 h 203"/>
                  <a:gd name="T2" fmla="*/ 46 w 168"/>
                  <a:gd name="T3" fmla="*/ 0 h 203"/>
                  <a:gd name="T4" fmla="*/ 0 w 168"/>
                  <a:gd name="T5" fmla="*/ 203 h 203"/>
                  <a:gd name="T6" fmla="*/ 168 w 168"/>
                  <a:gd name="T7" fmla="*/ 203 h 203"/>
                  <a:gd name="T8" fmla="*/ 122 w 168"/>
                  <a:gd name="T9" fmla="*/ 0 h 203"/>
                  <a:gd name="T10" fmla="*/ 66 w 168"/>
                  <a:gd name="T11" fmla="*/ 25 h 203"/>
                  <a:gd name="T12" fmla="*/ 102 w 168"/>
                  <a:gd name="T13" fmla="*/ 25 h 203"/>
                  <a:gd name="T14" fmla="*/ 138 w 168"/>
                  <a:gd name="T15" fmla="*/ 179 h 203"/>
                  <a:gd name="T16" fmla="*/ 30 w 168"/>
                  <a:gd name="T17" fmla="*/ 179 h 203"/>
                  <a:gd name="T18" fmla="*/ 66 w 168"/>
                  <a:gd name="T19"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3">
                    <a:moveTo>
                      <a:pt x="122" y="0"/>
                    </a:moveTo>
                    <a:lnTo>
                      <a:pt x="46" y="0"/>
                    </a:lnTo>
                    <a:lnTo>
                      <a:pt x="0" y="203"/>
                    </a:lnTo>
                    <a:lnTo>
                      <a:pt x="168" y="203"/>
                    </a:lnTo>
                    <a:lnTo>
                      <a:pt x="122" y="0"/>
                    </a:lnTo>
                    <a:close/>
                    <a:moveTo>
                      <a:pt x="66" y="25"/>
                    </a:moveTo>
                    <a:lnTo>
                      <a:pt x="102" y="25"/>
                    </a:lnTo>
                    <a:lnTo>
                      <a:pt x="138" y="179"/>
                    </a:lnTo>
                    <a:lnTo>
                      <a:pt x="30" y="179"/>
                    </a:lnTo>
                    <a:lnTo>
                      <a:pt x="6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7" name="Freeform 34"/>
              <p:cNvSpPr>
                <a:spLocks/>
              </p:cNvSpPr>
              <p:nvPr/>
            </p:nvSpPr>
            <p:spPr bwMode="auto">
              <a:xfrm>
                <a:off x="1751013" y="2557463"/>
                <a:ext cx="39688" cy="134938"/>
              </a:xfrm>
              <a:custGeom>
                <a:avLst/>
                <a:gdLst>
                  <a:gd name="T0" fmla="*/ 0 w 25"/>
                  <a:gd name="T1" fmla="*/ 85 h 85"/>
                  <a:gd name="T2" fmla="*/ 25 w 25"/>
                  <a:gd name="T3" fmla="*/ 61 h 85"/>
                  <a:gd name="T4" fmla="*/ 25 w 25"/>
                  <a:gd name="T5" fmla="*/ 0 h 85"/>
                  <a:gd name="T6" fmla="*/ 0 w 25"/>
                  <a:gd name="T7" fmla="*/ 0 h 85"/>
                  <a:gd name="T8" fmla="*/ 0 w 25"/>
                  <a:gd name="T9" fmla="*/ 85 h 85"/>
                </a:gdLst>
                <a:ahLst/>
                <a:cxnLst>
                  <a:cxn ang="0">
                    <a:pos x="T0" y="T1"/>
                  </a:cxn>
                  <a:cxn ang="0">
                    <a:pos x="T2" y="T3"/>
                  </a:cxn>
                  <a:cxn ang="0">
                    <a:pos x="T4" y="T5"/>
                  </a:cxn>
                  <a:cxn ang="0">
                    <a:pos x="T6" y="T7"/>
                  </a:cxn>
                  <a:cxn ang="0">
                    <a:pos x="T8" y="T9"/>
                  </a:cxn>
                </a:cxnLst>
                <a:rect l="0" t="0" r="r" b="b"/>
                <a:pathLst>
                  <a:path w="25" h="85">
                    <a:moveTo>
                      <a:pt x="0" y="85"/>
                    </a:moveTo>
                    <a:lnTo>
                      <a:pt x="25" y="61"/>
                    </a:lnTo>
                    <a:lnTo>
                      <a:pt x="25" y="0"/>
                    </a:lnTo>
                    <a:lnTo>
                      <a:pt x="0" y="0"/>
                    </a:lnTo>
                    <a:lnTo>
                      <a:pt x="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8" name="Freeform 35"/>
              <p:cNvSpPr>
                <a:spLocks/>
              </p:cNvSpPr>
              <p:nvPr/>
            </p:nvSpPr>
            <p:spPr bwMode="auto">
              <a:xfrm>
                <a:off x="1860550" y="2557463"/>
                <a:ext cx="39688" cy="134938"/>
              </a:xfrm>
              <a:custGeom>
                <a:avLst/>
                <a:gdLst>
                  <a:gd name="T0" fmla="*/ 0 w 25"/>
                  <a:gd name="T1" fmla="*/ 61 h 85"/>
                  <a:gd name="T2" fmla="*/ 25 w 25"/>
                  <a:gd name="T3" fmla="*/ 85 h 85"/>
                  <a:gd name="T4" fmla="*/ 25 w 25"/>
                  <a:gd name="T5" fmla="*/ 0 h 85"/>
                  <a:gd name="T6" fmla="*/ 0 w 25"/>
                  <a:gd name="T7" fmla="*/ 0 h 85"/>
                  <a:gd name="T8" fmla="*/ 0 w 25"/>
                  <a:gd name="T9" fmla="*/ 61 h 85"/>
                </a:gdLst>
                <a:ahLst/>
                <a:cxnLst>
                  <a:cxn ang="0">
                    <a:pos x="T0" y="T1"/>
                  </a:cxn>
                  <a:cxn ang="0">
                    <a:pos x="T2" y="T3"/>
                  </a:cxn>
                  <a:cxn ang="0">
                    <a:pos x="T4" y="T5"/>
                  </a:cxn>
                  <a:cxn ang="0">
                    <a:pos x="T6" y="T7"/>
                  </a:cxn>
                  <a:cxn ang="0">
                    <a:pos x="T8" y="T9"/>
                  </a:cxn>
                </a:cxnLst>
                <a:rect l="0" t="0" r="r" b="b"/>
                <a:pathLst>
                  <a:path w="25" h="85">
                    <a:moveTo>
                      <a:pt x="0" y="61"/>
                    </a:moveTo>
                    <a:lnTo>
                      <a:pt x="25" y="85"/>
                    </a:lnTo>
                    <a:lnTo>
                      <a:pt x="25" y="0"/>
                    </a:lnTo>
                    <a:lnTo>
                      <a:pt x="0"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5" name="Group 54"/>
            <p:cNvGrpSpPr/>
            <p:nvPr/>
          </p:nvGrpSpPr>
          <p:grpSpPr>
            <a:xfrm>
              <a:off x="8777193" y="3036445"/>
              <a:ext cx="255588" cy="692151"/>
              <a:chOff x="476250" y="2000250"/>
              <a:chExt cx="255588" cy="692151"/>
            </a:xfrm>
            <a:solidFill>
              <a:schemeClr val="bg1"/>
            </a:solidFill>
          </p:grpSpPr>
          <p:sp>
            <p:nvSpPr>
              <p:cNvPr id="61" name="Freeform 8"/>
              <p:cNvSpPr>
                <a:spLocks noEditPoints="1"/>
              </p:cNvSpPr>
              <p:nvPr/>
            </p:nvSpPr>
            <p:spPr bwMode="auto">
              <a:xfrm>
                <a:off x="520700" y="2000250"/>
                <a:ext cx="166688" cy="166688"/>
              </a:xfrm>
              <a:custGeom>
                <a:avLst/>
                <a:gdLst>
                  <a:gd name="T0" fmla="*/ 52 w 105"/>
                  <a:gd name="T1" fmla="*/ 105 h 105"/>
                  <a:gd name="T2" fmla="*/ 74 w 105"/>
                  <a:gd name="T3" fmla="*/ 102 h 105"/>
                  <a:gd name="T4" fmla="*/ 90 w 105"/>
                  <a:gd name="T5" fmla="*/ 91 h 105"/>
                  <a:gd name="T6" fmla="*/ 101 w 105"/>
                  <a:gd name="T7" fmla="*/ 73 h 105"/>
                  <a:gd name="T8" fmla="*/ 105 w 105"/>
                  <a:gd name="T9" fmla="*/ 53 h 105"/>
                  <a:gd name="T10" fmla="*/ 104 w 105"/>
                  <a:gd name="T11" fmla="*/ 42 h 105"/>
                  <a:gd name="T12" fmla="*/ 97 w 105"/>
                  <a:gd name="T13" fmla="*/ 23 h 105"/>
                  <a:gd name="T14" fmla="*/ 82 w 105"/>
                  <a:gd name="T15" fmla="*/ 9 h 105"/>
                  <a:gd name="T16" fmla="*/ 64 w 105"/>
                  <a:gd name="T17" fmla="*/ 1 h 105"/>
                  <a:gd name="T18" fmla="*/ 52 w 105"/>
                  <a:gd name="T19" fmla="*/ 0 h 105"/>
                  <a:gd name="T20" fmla="*/ 32 w 105"/>
                  <a:gd name="T21" fmla="*/ 4 h 105"/>
                  <a:gd name="T22" fmla="*/ 15 w 105"/>
                  <a:gd name="T23" fmla="*/ 16 h 105"/>
                  <a:gd name="T24" fmla="*/ 5 w 105"/>
                  <a:gd name="T25" fmla="*/ 32 h 105"/>
                  <a:gd name="T26" fmla="*/ 0 w 105"/>
                  <a:gd name="T27" fmla="*/ 53 h 105"/>
                  <a:gd name="T28" fmla="*/ 0 w 105"/>
                  <a:gd name="T29" fmla="*/ 63 h 105"/>
                  <a:gd name="T30" fmla="*/ 9 w 105"/>
                  <a:gd name="T31" fmla="*/ 82 h 105"/>
                  <a:gd name="T32" fmla="*/ 23 w 105"/>
                  <a:gd name="T33" fmla="*/ 96 h 105"/>
                  <a:gd name="T34" fmla="*/ 42 w 105"/>
                  <a:gd name="T35" fmla="*/ 105 h 105"/>
                  <a:gd name="T36" fmla="*/ 52 w 105"/>
                  <a:gd name="T37" fmla="*/ 105 h 105"/>
                  <a:gd name="T38" fmla="*/ 52 w 105"/>
                  <a:gd name="T39" fmla="*/ 24 h 105"/>
                  <a:gd name="T40" fmla="*/ 64 w 105"/>
                  <a:gd name="T41" fmla="*/ 26 h 105"/>
                  <a:gd name="T42" fmla="*/ 72 w 105"/>
                  <a:gd name="T43" fmla="*/ 33 h 105"/>
                  <a:gd name="T44" fmla="*/ 80 w 105"/>
                  <a:gd name="T45" fmla="*/ 42 h 105"/>
                  <a:gd name="T46" fmla="*/ 81 w 105"/>
                  <a:gd name="T47" fmla="*/ 53 h 105"/>
                  <a:gd name="T48" fmla="*/ 81 w 105"/>
                  <a:gd name="T49" fmla="*/ 59 h 105"/>
                  <a:gd name="T50" fmla="*/ 77 w 105"/>
                  <a:gd name="T51" fmla="*/ 69 h 105"/>
                  <a:gd name="T52" fmla="*/ 68 w 105"/>
                  <a:gd name="T53" fmla="*/ 76 h 105"/>
                  <a:gd name="T54" fmla="*/ 58 w 105"/>
                  <a:gd name="T55" fmla="*/ 81 h 105"/>
                  <a:gd name="T56" fmla="*/ 52 w 105"/>
                  <a:gd name="T57" fmla="*/ 81 h 105"/>
                  <a:gd name="T58" fmla="*/ 42 w 105"/>
                  <a:gd name="T59" fmla="*/ 79 h 105"/>
                  <a:gd name="T60" fmla="*/ 32 w 105"/>
                  <a:gd name="T61" fmla="*/ 73 h 105"/>
                  <a:gd name="T62" fmla="*/ 26 w 105"/>
                  <a:gd name="T63" fmla="*/ 63 h 105"/>
                  <a:gd name="T64" fmla="*/ 25 w 105"/>
                  <a:gd name="T65" fmla="*/ 53 h 105"/>
                  <a:gd name="T66" fmla="*/ 25 w 105"/>
                  <a:gd name="T67" fmla="*/ 48 h 105"/>
                  <a:gd name="T68" fmla="*/ 29 w 105"/>
                  <a:gd name="T69" fmla="*/ 37 h 105"/>
                  <a:gd name="T70" fmla="*/ 36 w 105"/>
                  <a:gd name="T71" fmla="*/ 29 h 105"/>
                  <a:gd name="T72" fmla="*/ 46 w 105"/>
                  <a:gd name="T73" fmla="*/ 24 h 105"/>
                  <a:gd name="T74" fmla="*/ 52 w 105"/>
                  <a:gd name="T75" fmla="*/ 2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5">
                    <a:moveTo>
                      <a:pt x="52" y="105"/>
                    </a:moveTo>
                    <a:lnTo>
                      <a:pt x="52" y="105"/>
                    </a:lnTo>
                    <a:lnTo>
                      <a:pt x="64" y="105"/>
                    </a:lnTo>
                    <a:lnTo>
                      <a:pt x="74" y="102"/>
                    </a:lnTo>
                    <a:lnTo>
                      <a:pt x="82" y="96"/>
                    </a:lnTo>
                    <a:lnTo>
                      <a:pt x="90" y="91"/>
                    </a:lnTo>
                    <a:lnTo>
                      <a:pt x="97" y="82"/>
                    </a:lnTo>
                    <a:lnTo>
                      <a:pt x="101" y="73"/>
                    </a:lnTo>
                    <a:lnTo>
                      <a:pt x="104" y="63"/>
                    </a:lnTo>
                    <a:lnTo>
                      <a:pt x="105" y="53"/>
                    </a:lnTo>
                    <a:lnTo>
                      <a:pt x="105" y="53"/>
                    </a:lnTo>
                    <a:lnTo>
                      <a:pt x="104" y="42"/>
                    </a:lnTo>
                    <a:lnTo>
                      <a:pt x="101" y="32"/>
                    </a:lnTo>
                    <a:lnTo>
                      <a:pt x="97" y="23"/>
                    </a:lnTo>
                    <a:lnTo>
                      <a:pt x="90" y="16"/>
                    </a:lnTo>
                    <a:lnTo>
                      <a:pt x="82" y="9"/>
                    </a:lnTo>
                    <a:lnTo>
                      <a:pt x="74" y="4"/>
                    </a:lnTo>
                    <a:lnTo>
                      <a:pt x="64" y="1"/>
                    </a:lnTo>
                    <a:lnTo>
                      <a:pt x="52" y="0"/>
                    </a:lnTo>
                    <a:lnTo>
                      <a:pt x="52" y="0"/>
                    </a:lnTo>
                    <a:lnTo>
                      <a:pt x="42" y="1"/>
                    </a:lnTo>
                    <a:lnTo>
                      <a:pt x="32" y="4"/>
                    </a:lnTo>
                    <a:lnTo>
                      <a:pt x="23" y="9"/>
                    </a:lnTo>
                    <a:lnTo>
                      <a:pt x="15" y="16"/>
                    </a:lnTo>
                    <a:lnTo>
                      <a:pt x="9" y="23"/>
                    </a:lnTo>
                    <a:lnTo>
                      <a:pt x="5" y="32"/>
                    </a:lnTo>
                    <a:lnTo>
                      <a:pt x="0" y="42"/>
                    </a:lnTo>
                    <a:lnTo>
                      <a:pt x="0" y="53"/>
                    </a:lnTo>
                    <a:lnTo>
                      <a:pt x="0" y="53"/>
                    </a:lnTo>
                    <a:lnTo>
                      <a:pt x="0" y="63"/>
                    </a:lnTo>
                    <a:lnTo>
                      <a:pt x="5" y="73"/>
                    </a:lnTo>
                    <a:lnTo>
                      <a:pt x="9" y="82"/>
                    </a:lnTo>
                    <a:lnTo>
                      <a:pt x="15" y="91"/>
                    </a:lnTo>
                    <a:lnTo>
                      <a:pt x="23" y="96"/>
                    </a:lnTo>
                    <a:lnTo>
                      <a:pt x="32" y="102"/>
                    </a:lnTo>
                    <a:lnTo>
                      <a:pt x="42" y="105"/>
                    </a:lnTo>
                    <a:lnTo>
                      <a:pt x="52" y="105"/>
                    </a:lnTo>
                    <a:lnTo>
                      <a:pt x="52" y="105"/>
                    </a:lnTo>
                    <a:close/>
                    <a:moveTo>
                      <a:pt x="52" y="24"/>
                    </a:moveTo>
                    <a:lnTo>
                      <a:pt x="52" y="24"/>
                    </a:lnTo>
                    <a:lnTo>
                      <a:pt x="58" y="24"/>
                    </a:lnTo>
                    <a:lnTo>
                      <a:pt x="64" y="26"/>
                    </a:lnTo>
                    <a:lnTo>
                      <a:pt x="68" y="29"/>
                    </a:lnTo>
                    <a:lnTo>
                      <a:pt x="72" y="33"/>
                    </a:lnTo>
                    <a:lnTo>
                      <a:pt x="77" y="37"/>
                    </a:lnTo>
                    <a:lnTo>
                      <a:pt x="80" y="42"/>
                    </a:lnTo>
                    <a:lnTo>
                      <a:pt x="81" y="48"/>
                    </a:lnTo>
                    <a:lnTo>
                      <a:pt x="81" y="53"/>
                    </a:lnTo>
                    <a:lnTo>
                      <a:pt x="81" y="53"/>
                    </a:lnTo>
                    <a:lnTo>
                      <a:pt x="81" y="59"/>
                    </a:lnTo>
                    <a:lnTo>
                      <a:pt x="80" y="63"/>
                    </a:lnTo>
                    <a:lnTo>
                      <a:pt x="77" y="69"/>
                    </a:lnTo>
                    <a:lnTo>
                      <a:pt x="72" y="73"/>
                    </a:lnTo>
                    <a:lnTo>
                      <a:pt x="68" y="76"/>
                    </a:lnTo>
                    <a:lnTo>
                      <a:pt x="64" y="79"/>
                    </a:lnTo>
                    <a:lnTo>
                      <a:pt x="58" y="81"/>
                    </a:lnTo>
                    <a:lnTo>
                      <a:pt x="52" y="81"/>
                    </a:lnTo>
                    <a:lnTo>
                      <a:pt x="52" y="81"/>
                    </a:lnTo>
                    <a:lnTo>
                      <a:pt x="46" y="81"/>
                    </a:lnTo>
                    <a:lnTo>
                      <a:pt x="42" y="79"/>
                    </a:lnTo>
                    <a:lnTo>
                      <a:pt x="36" y="76"/>
                    </a:lnTo>
                    <a:lnTo>
                      <a:pt x="32" y="73"/>
                    </a:lnTo>
                    <a:lnTo>
                      <a:pt x="29" y="69"/>
                    </a:lnTo>
                    <a:lnTo>
                      <a:pt x="26" y="63"/>
                    </a:lnTo>
                    <a:lnTo>
                      <a:pt x="25" y="59"/>
                    </a:lnTo>
                    <a:lnTo>
                      <a:pt x="25" y="53"/>
                    </a:lnTo>
                    <a:lnTo>
                      <a:pt x="25" y="53"/>
                    </a:lnTo>
                    <a:lnTo>
                      <a:pt x="25" y="48"/>
                    </a:lnTo>
                    <a:lnTo>
                      <a:pt x="26" y="42"/>
                    </a:lnTo>
                    <a:lnTo>
                      <a:pt x="29" y="37"/>
                    </a:lnTo>
                    <a:lnTo>
                      <a:pt x="32" y="33"/>
                    </a:lnTo>
                    <a:lnTo>
                      <a:pt x="36" y="29"/>
                    </a:lnTo>
                    <a:lnTo>
                      <a:pt x="42" y="26"/>
                    </a:lnTo>
                    <a:lnTo>
                      <a:pt x="46" y="24"/>
                    </a:lnTo>
                    <a:lnTo>
                      <a:pt x="52" y="24"/>
                    </a:lnTo>
                    <a:lnTo>
                      <a:pt x="5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2" name="Freeform 9"/>
              <p:cNvSpPr>
                <a:spLocks/>
              </p:cNvSpPr>
              <p:nvPr/>
            </p:nvSpPr>
            <p:spPr bwMode="auto">
              <a:xfrm>
                <a:off x="476250" y="2201863"/>
                <a:ext cx="255588" cy="296863"/>
              </a:xfrm>
              <a:custGeom>
                <a:avLst/>
                <a:gdLst>
                  <a:gd name="T0" fmla="*/ 0 w 161"/>
                  <a:gd name="T1" fmla="*/ 0 h 187"/>
                  <a:gd name="T2" fmla="*/ 0 w 161"/>
                  <a:gd name="T3" fmla="*/ 187 h 187"/>
                  <a:gd name="T4" fmla="*/ 24 w 161"/>
                  <a:gd name="T5" fmla="*/ 161 h 187"/>
                  <a:gd name="T6" fmla="*/ 24 w 161"/>
                  <a:gd name="T7" fmla="*/ 24 h 187"/>
                  <a:gd name="T8" fmla="*/ 135 w 161"/>
                  <a:gd name="T9" fmla="*/ 24 h 187"/>
                  <a:gd name="T10" fmla="*/ 135 w 161"/>
                  <a:gd name="T11" fmla="*/ 162 h 187"/>
                  <a:gd name="T12" fmla="*/ 161 w 161"/>
                  <a:gd name="T13" fmla="*/ 187 h 187"/>
                  <a:gd name="T14" fmla="*/ 161 w 161"/>
                  <a:gd name="T15" fmla="*/ 0 h 187"/>
                  <a:gd name="T16" fmla="*/ 0 w 161"/>
                  <a:gd name="T1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87">
                    <a:moveTo>
                      <a:pt x="0" y="0"/>
                    </a:moveTo>
                    <a:lnTo>
                      <a:pt x="0" y="187"/>
                    </a:lnTo>
                    <a:lnTo>
                      <a:pt x="24" y="161"/>
                    </a:lnTo>
                    <a:lnTo>
                      <a:pt x="24" y="24"/>
                    </a:lnTo>
                    <a:lnTo>
                      <a:pt x="135" y="24"/>
                    </a:lnTo>
                    <a:lnTo>
                      <a:pt x="135" y="162"/>
                    </a:lnTo>
                    <a:lnTo>
                      <a:pt x="161" y="187"/>
                    </a:lnTo>
                    <a:lnTo>
                      <a:pt x="16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3" name="Rectangle 10"/>
              <p:cNvSpPr>
                <a:spLocks noChangeArrowheads="1"/>
              </p:cNvSpPr>
              <p:nvPr/>
            </p:nvSpPr>
            <p:spPr bwMode="auto">
              <a:xfrm>
                <a:off x="528638" y="2500313"/>
                <a:ext cx="38100"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4" name="Rectangle 11"/>
              <p:cNvSpPr>
                <a:spLocks noChangeArrowheads="1"/>
              </p:cNvSpPr>
              <p:nvPr/>
            </p:nvSpPr>
            <p:spPr bwMode="auto">
              <a:xfrm>
                <a:off x="639763" y="2500313"/>
                <a:ext cx="39688"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56" name="Group 55"/>
            <p:cNvGrpSpPr/>
            <p:nvPr/>
          </p:nvGrpSpPr>
          <p:grpSpPr>
            <a:xfrm>
              <a:off x="9150067" y="3036445"/>
              <a:ext cx="266700" cy="692151"/>
              <a:chOff x="1692275" y="2000250"/>
              <a:chExt cx="266700" cy="692151"/>
            </a:xfrm>
            <a:solidFill>
              <a:schemeClr val="bg1"/>
            </a:solidFill>
          </p:grpSpPr>
          <p:sp>
            <p:nvSpPr>
              <p:cNvPr id="57" name="Freeform 32"/>
              <p:cNvSpPr>
                <a:spLocks noEditPoints="1"/>
              </p:cNvSpPr>
              <p:nvPr/>
            </p:nvSpPr>
            <p:spPr bwMode="auto">
              <a:xfrm>
                <a:off x="1741488" y="2000250"/>
                <a:ext cx="166688" cy="169863"/>
              </a:xfrm>
              <a:custGeom>
                <a:avLst/>
                <a:gdLst>
                  <a:gd name="T0" fmla="*/ 54 w 105"/>
                  <a:gd name="T1" fmla="*/ 107 h 107"/>
                  <a:gd name="T2" fmla="*/ 74 w 105"/>
                  <a:gd name="T3" fmla="*/ 102 h 107"/>
                  <a:gd name="T4" fmla="*/ 91 w 105"/>
                  <a:gd name="T5" fmla="*/ 91 h 107"/>
                  <a:gd name="T6" fmla="*/ 101 w 105"/>
                  <a:gd name="T7" fmla="*/ 73 h 107"/>
                  <a:gd name="T8" fmla="*/ 105 w 105"/>
                  <a:gd name="T9" fmla="*/ 53 h 107"/>
                  <a:gd name="T10" fmla="*/ 105 w 105"/>
                  <a:gd name="T11" fmla="*/ 42 h 107"/>
                  <a:gd name="T12" fmla="*/ 97 w 105"/>
                  <a:gd name="T13" fmla="*/ 23 h 107"/>
                  <a:gd name="T14" fmla="*/ 82 w 105"/>
                  <a:gd name="T15" fmla="*/ 9 h 107"/>
                  <a:gd name="T16" fmla="*/ 64 w 105"/>
                  <a:gd name="T17" fmla="*/ 1 h 107"/>
                  <a:gd name="T18" fmla="*/ 54 w 105"/>
                  <a:gd name="T19" fmla="*/ 0 h 107"/>
                  <a:gd name="T20" fmla="*/ 32 w 105"/>
                  <a:gd name="T21" fmla="*/ 4 h 107"/>
                  <a:gd name="T22" fmla="*/ 16 w 105"/>
                  <a:gd name="T23" fmla="*/ 16 h 107"/>
                  <a:gd name="T24" fmla="*/ 5 w 105"/>
                  <a:gd name="T25" fmla="*/ 32 h 107"/>
                  <a:gd name="T26" fmla="*/ 0 w 105"/>
                  <a:gd name="T27" fmla="*/ 53 h 107"/>
                  <a:gd name="T28" fmla="*/ 2 w 105"/>
                  <a:gd name="T29" fmla="*/ 63 h 107"/>
                  <a:gd name="T30" fmla="*/ 9 w 105"/>
                  <a:gd name="T31" fmla="*/ 82 h 107"/>
                  <a:gd name="T32" fmla="*/ 23 w 105"/>
                  <a:gd name="T33" fmla="*/ 96 h 107"/>
                  <a:gd name="T34" fmla="*/ 42 w 105"/>
                  <a:gd name="T35" fmla="*/ 105 h 107"/>
                  <a:gd name="T36" fmla="*/ 54 w 105"/>
                  <a:gd name="T37" fmla="*/ 107 h 107"/>
                  <a:gd name="T38" fmla="*/ 54 w 105"/>
                  <a:gd name="T39" fmla="*/ 24 h 107"/>
                  <a:gd name="T40" fmla="*/ 64 w 105"/>
                  <a:gd name="T41" fmla="*/ 27 h 107"/>
                  <a:gd name="T42" fmla="*/ 72 w 105"/>
                  <a:gd name="T43" fmla="*/ 33 h 107"/>
                  <a:gd name="T44" fmla="*/ 79 w 105"/>
                  <a:gd name="T45" fmla="*/ 42 h 107"/>
                  <a:gd name="T46" fmla="*/ 81 w 105"/>
                  <a:gd name="T47" fmla="*/ 53 h 107"/>
                  <a:gd name="T48" fmla="*/ 81 w 105"/>
                  <a:gd name="T49" fmla="*/ 59 h 107"/>
                  <a:gd name="T50" fmla="*/ 77 w 105"/>
                  <a:gd name="T51" fmla="*/ 69 h 107"/>
                  <a:gd name="T52" fmla="*/ 69 w 105"/>
                  <a:gd name="T53" fmla="*/ 76 h 107"/>
                  <a:gd name="T54" fmla="*/ 59 w 105"/>
                  <a:gd name="T55" fmla="*/ 81 h 107"/>
                  <a:gd name="T56" fmla="*/ 54 w 105"/>
                  <a:gd name="T57" fmla="*/ 81 h 107"/>
                  <a:gd name="T58" fmla="*/ 42 w 105"/>
                  <a:gd name="T59" fmla="*/ 79 h 107"/>
                  <a:gd name="T60" fmla="*/ 33 w 105"/>
                  <a:gd name="T61" fmla="*/ 73 h 107"/>
                  <a:gd name="T62" fmla="*/ 26 w 105"/>
                  <a:gd name="T63" fmla="*/ 63 h 107"/>
                  <a:gd name="T64" fmla="*/ 25 w 105"/>
                  <a:gd name="T65" fmla="*/ 53 h 107"/>
                  <a:gd name="T66" fmla="*/ 25 w 105"/>
                  <a:gd name="T67" fmla="*/ 48 h 107"/>
                  <a:gd name="T68" fmla="*/ 29 w 105"/>
                  <a:gd name="T69" fmla="*/ 37 h 107"/>
                  <a:gd name="T70" fmla="*/ 38 w 105"/>
                  <a:gd name="T71" fmla="*/ 29 h 107"/>
                  <a:gd name="T72" fmla="*/ 48 w 105"/>
                  <a:gd name="T73" fmla="*/ 24 h 107"/>
                  <a:gd name="T74" fmla="*/ 54 w 105"/>
                  <a:gd name="T75" fmla="*/ 2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7">
                    <a:moveTo>
                      <a:pt x="54" y="107"/>
                    </a:moveTo>
                    <a:lnTo>
                      <a:pt x="54" y="107"/>
                    </a:lnTo>
                    <a:lnTo>
                      <a:pt x="64" y="105"/>
                    </a:lnTo>
                    <a:lnTo>
                      <a:pt x="74" y="102"/>
                    </a:lnTo>
                    <a:lnTo>
                      <a:pt x="82" y="96"/>
                    </a:lnTo>
                    <a:lnTo>
                      <a:pt x="91" y="91"/>
                    </a:lnTo>
                    <a:lnTo>
                      <a:pt x="97" y="82"/>
                    </a:lnTo>
                    <a:lnTo>
                      <a:pt x="101" y="73"/>
                    </a:lnTo>
                    <a:lnTo>
                      <a:pt x="105" y="63"/>
                    </a:lnTo>
                    <a:lnTo>
                      <a:pt x="105" y="53"/>
                    </a:lnTo>
                    <a:lnTo>
                      <a:pt x="105" y="53"/>
                    </a:lnTo>
                    <a:lnTo>
                      <a:pt x="105" y="42"/>
                    </a:lnTo>
                    <a:lnTo>
                      <a:pt x="101" y="32"/>
                    </a:lnTo>
                    <a:lnTo>
                      <a:pt x="97" y="23"/>
                    </a:lnTo>
                    <a:lnTo>
                      <a:pt x="91" y="16"/>
                    </a:lnTo>
                    <a:lnTo>
                      <a:pt x="82" y="9"/>
                    </a:lnTo>
                    <a:lnTo>
                      <a:pt x="74" y="4"/>
                    </a:lnTo>
                    <a:lnTo>
                      <a:pt x="64" y="1"/>
                    </a:lnTo>
                    <a:lnTo>
                      <a:pt x="54" y="0"/>
                    </a:lnTo>
                    <a:lnTo>
                      <a:pt x="54" y="0"/>
                    </a:lnTo>
                    <a:lnTo>
                      <a:pt x="42" y="1"/>
                    </a:lnTo>
                    <a:lnTo>
                      <a:pt x="32" y="4"/>
                    </a:lnTo>
                    <a:lnTo>
                      <a:pt x="23" y="9"/>
                    </a:lnTo>
                    <a:lnTo>
                      <a:pt x="16" y="16"/>
                    </a:lnTo>
                    <a:lnTo>
                      <a:pt x="9" y="23"/>
                    </a:lnTo>
                    <a:lnTo>
                      <a:pt x="5" y="32"/>
                    </a:lnTo>
                    <a:lnTo>
                      <a:pt x="2" y="42"/>
                    </a:lnTo>
                    <a:lnTo>
                      <a:pt x="0" y="53"/>
                    </a:lnTo>
                    <a:lnTo>
                      <a:pt x="0" y="53"/>
                    </a:lnTo>
                    <a:lnTo>
                      <a:pt x="2" y="63"/>
                    </a:lnTo>
                    <a:lnTo>
                      <a:pt x="5" y="73"/>
                    </a:lnTo>
                    <a:lnTo>
                      <a:pt x="9" y="82"/>
                    </a:lnTo>
                    <a:lnTo>
                      <a:pt x="16" y="91"/>
                    </a:lnTo>
                    <a:lnTo>
                      <a:pt x="23" y="96"/>
                    </a:lnTo>
                    <a:lnTo>
                      <a:pt x="32" y="102"/>
                    </a:lnTo>
                    <a:lnTo>
                      <a:pt x="42" y="105"/>
                    </a:lnTo>
                    <a:lnTo>
                      <a:pt x="54" y="107"/>
                    </a:lnTo>
                    <a:lnTo>
                      <a:pt x="54" y="107"/>
                    </a:lnTo>
                    <a:close/>
                    <a:moveTo>
                      <a:pt x="54" y="24"/>
                    </a:moveTo>
                    <a:lnTo>
                      <a:pt x="54" y="24"/>
                    </a:lnTo>
                    <a:lnTo>
                      <a:pt x="59" y="24"/>
                    </a:lnTo>
                    <a:lnTo>
                      <a:pt x="64" y="27"/>
                    </a:lnTo>
                    <a:lnTo>
                      <a:pt x="69" y="29"/>
                    </a:lnTo>
                    <a:lnTo>
                      <a:pt x="72" y="33"/>
                    </a:lnTo>
                    <a:lnTo>
                      <a:pt x="77" y="37"/>
                    </a:lnTo>
                    <a:lnTo>
                      <a:pt x="79" y="42"/>
                    </a:lnTo>
                    <a:lnTo>
                      <a:pt x="81" y="48"/>
                    </a:lnTo>
                    <a:lnTo>
                      <a:pt x="81" y="53"/>
                    </a:lnTo>
                    <a:lnTo>
                      <a:pt x="81" y="53"/>
                    </a:lnTo>
                    <a:lnTo>
                      <a:pt x="81" y="59"/>
                    </a:lnTo>
                    <a:lnTo>
                      <a:pt x="79" y="63"/>
                    </a:lnTo>
                    <a:lnTo>
                      <a:pt x="77" y="69"/>
                    </a:lnTo>
                    <a:lnTo>
                      <a:pt x="72" y="73"/>
                    </a:lnTo>
                    <a:lnTo>
                      <a:pt x="69" y="76"/>
                    </a:lnTo>
                    <a:lnTo>
                      <a:pt x="64" y="79"/>
                    </a:lnTo>
                    <a:lnTo>
                      <a:pt x="59" y="81"/>
                    </a:lnTo>
                    <a:lnTo>
                      <a:pt x="54" y="81"/>
                    </a:lnTo>
                    <a:lnTo>
                      <a:pt x="54" y="81"/>
                    </a:lnTo>
                    <a:lnTo>
                      <a:pt x="48" y="81"/>
                    </a:lnTo>
                    <a:lnTo>
                      <a:pt x="42" y="79"/>
                    </a:lnTo>
                    <a:lnTo>
                      <a:pt x="38" y="76"/>
                    </a:lnTo>
                    <a:lnTo>
                      <a:pt x="33" y="73"/>
                    </a:lnTo>
                    <a:lnTo>
                      <a:pt x="29" y="69"/>
                    </a:lnTo>
                    <a:lnTo>
                      <a:pt x="26" y="63"/>
                    </a:lnTo>
                    <a:lnTo>
                      <a:pt x="25" y="59"/>
                    </a:lnTo>
                    <a:lnTo>
                      <a:pt x="25" y="53"/>
                    </a:lnTo>
                    <a:lnTo>
                      <a:pt x="25" y="53"/>
                    </a:lnTo>
                    <a:lnTo>
                      <a:pt x="25" y="48"/>
                    </a:lnTo>
                    <a:lnTo>
                      <a:pt x="26" y="42"/>
                    </a:lnTo>
                    <a:lnTo>
                      <a:pt x="29" y="37"/>
                    </a:lnTo>
                    <a:lnTo>
                      <a:pt x="33" y="33"/>
                    </a:lnTo>
                    <a:lnTo>
                      <a:pt x="38" y="29"/>
                    </a:lnTo>
                    <a:lnTo>
                      <a:pt x="42" y="27"/>
                    </a:lnTo>
                    <a:lnTo>
                      <a:pt x="48" y="24"/>
                    </a:lnTo>
                    <a:lnTo>
                      <a:pt x="54" y="24"/>
                    </a:lnTo>
                    <a:lnTo>
                      <a:pt x="54" y="24"/>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8" name="Freeform 33"/>
              <p:cNvSpPr>
                <a:spLocks noEditPoints="1"/>
              </p:cNvSpPr>
              <p:nvPr/>
            </p:nvSpPr>
            <p:spPr bwMode="auto">
              <a:xfrm>
                <a:off x="1692275" y="2203450"/>
                <a:ext cx="266700" cy="322263"/>
              </a:xfrm>
              <a:custGeom>
                <a:avLst/>
                <a:gdLst>
                  <a:gd name="T0" fmla="*/ 122 w 168"/>
                  <a:gd name="T1" fmla="*/ 0 h 203"/>
                  <a:gd name="T2" fmla="*/ 46 w 168"/>
                  <a:gd name="T3" fmla="*/ 0 h 203"/>
                  <a:gd name="T4" fmla="*/ 0 w 168"/>
                  <a:gd name="T5" fmla="*/ 203 h 203"/>
                  <a:gd name="T6" fmla="*/ 168 w 168"/>
                  <a:gd name="T7" fmla="*/ 203 h 203"/>
                  <a:gd name="T8" fmla="*/ 122 w 168"/>
                  <a:gd name="T9" fmla="*/ 0 h 203"/>
                  <a:gd name="T10" fmla="*/ 66 w 168"/>
                  <a:gd name="T11" fmla="*/ 25 h 203"/>
                  <a:gd name="T12" fmla="*/ 102 w 168"/>
                  <a:gd name="T13" fmla="*/ 25 h 203"/>
                  <a:gd name="T14" fmla="*/ 138 w 168"/>
                  <a:gd name="T15" fmla="*/ 179 h 203"/>
                  <a:gd name="T16" fmla="*/ 30 w 168"/>
                  <a:gd name="T17" fmla="*/ 179 h 203"/>
                  <a:gd name="T18" fmla="*/ 66 w 168"/>
                  <a:gd name="T19"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3">
                    <a:moveTo>
                      <a:pt x="122" y="0"/>
                    </a:moveTo>
                    <a:lnTo>
                      <a:pt x="46" y="0"/>
                    </a:lnTo>
                    <a:lnTo>
                      <a:pt x="0" y="203"/>
                    </a:lnTo>
                    <a:lnTo>
                      <a:pt x="168" y="203"/>
                    </a:lnTo>
                    <a:lnTo>
                      <a:pt x="122" y="0"/>
                    </a:lnTo>
                    <a:close/>
                    <a:moveTo>
                      <a:pt x="66" y="25"/>
                    </a:moveTo>
                    <a:lnTo>
                      <a:pt x="102" y="25"/>
                    </a:lnTo>
                    <a:lnTo>
                      <a:pt x="138" y="179"/>
                    </a:lnTo>
                    <a:lnTo>
                      <a:pt x="30" y="179"/>
                    </a:lnTo>
                    <a:lnTo>
                      <a:pt x="66" y="25"/>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9" name="Freeform 34"/>
              <p:cNvSpPr>
                <a:spLocks/>
              </p:cNvSpPr>
              <p:nvPr/>
            </p:nvSpPr>
            <p:spPr bwMode="auto">
              <a:xfrm>
                <a:off x="1751013" y="2557463"/>
                <a:ext cx="39688" cy="134938"/>
              </a:xfrm>
              <a:custGeom>
                <a:avLst/>
                <a:gdLst>
                  <a:gd name="T0" fmla="*/ 0 w 25"/>
                  <a:gd name="T1" fmla="*/ 85 h 85"/>
                  <a:gd name="T2" fmla="*/ 25 w 25"/>
                  <a:gd name="T3" fmla="*/ 61 h 85"/>
                  <a:gd name="T4" fmla="*/ 25 w 25"/>
                  <a:gd name="T5" fmla="*/ 0 h 85"/>
                  <a:gd name="T6" fmla="*/ 0 w 25"/>
                  <a:gd name="T7" fmla="*/ 0 h 85"/>
                  <a:gd name="T8" fmla="*/ 0 w 25"/>
                  <a:gd name="T9" fmla="*/ 85 h 85"/>
                </a:gdLst>
                <a:ahLst/>
                <a:cxnLst>
                  <a:cxn ang="0">
                    <a:pos x="T0" y="T1"/>
                  </a:cxn>
                  <a:cxn ang="0">
                    <a:pos x="T2" y="T3"/>
                  </a:cxn>
                  <a:cxn ang="0">
                    <a:pos x="T4" y="T5"/>
                  </a:cxn>
                  <a:cxn ang="0">
                    <a:pos x="T6" y="T7"/>
                  </a:cxn>
                  <a:cxn ang="0">
                    <a:pos x="T8" y="T9"/>
                  </a:cxn>
                </a:cxnLst>
                <a:rect l="0" t="0" r="r" b="b"/>
                <a:pathLst>
                  <a:path w="25" h="85">
                    <a:moveTo>
                      <a:pt x="0" y="85"/>
                    </a:moveTo>
                    <a:lnTo>
                      <a:pt x="25" y="61"/>
                    </a:lnTo>
                    <a:lnTo>
                      <a:pt x="25" y="0"/>
                    </a:lnTo>
                    <a:lnTo>
                      <a:pt x="0" y="0"/>
                    </a:lnTo>
                    <a:lnTo>
                      <a:pt x="0" y="85"/>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60" name="Freeform 35"/>
              <p:cNvSpPr>
                <a:spLocks/>
              </p:cNvSpPr>
              <p:nvPr/>
            </p:nvSpPr>
            <p:spPr bwMode="auto">
              <a:xfrm>
                <a:off x="1860550" y="2557463"/>
                <a:ext cx="39688" cy="134938"/>
              </a:xfrm>
              <a:custGeom>
                <a:avLst/>
                <a:gdLst>
                  <a:gd name="T0" fmla="*/ 0 w 25"/>
                  <a:gd name="T1" fmla="*/ 61 h 85"/>
                  <a:gd name="T2" fmla="*/ 25 w 25"/>
                  <a:gd name="T3" fmla="*/ 85 h 85"/>
                  <a:gd name="T4" fmla="*/ 25 w 25"/>
                  <a:gd name="T5" fmla="*/ 0 h 85"/>
                  <a:gd name="T6" fmla="*/ 0 w 25"/>
                  <a:gd name="T7" fmla="*/ 0 h 85"/>
                  <a:gd name="T8" fmla="*/ 0 w 25"/>
                  <a:gd name="T9" fmla="*/ 61 h 85"/>
                </a:gdLst>
                <a:ahLst/>
                <a:cxnLst>
                  <a:cxn ang="0">
                    <a:pos x="T0" y="T1"/>
                  </a:cxn>
                  <a:cxn ang="0">
                    <a:pos x="T2" y="T3"/>
                  </a:cxn>
                  <a:cxn ang="0">
                    <a:pos x="T4" y="T5"/>
                  </a:cxn>
                  <a:cxn ang="0">
                    <a:pos x="T6" y="T7"/>
                  </a:cxn>
                  <a:cxn ang="0">
                    <a:pos x="T8" y="T9"/>
                  </a:cxn>
                </a:cxnLst>
                <a:rect l="0" t="0" r="r" b="b"/>
                <a:pathLst>
                  <a:path w="25" h="85">
                    <a:moveTo>
                      <a:pt x="0" y="61"/>
                    </a:moveTo>
                    <a:lnTo>
                      <a:pt x="25" y="85"/>
                    </a:lnTo>
                    <a:lnTo>
                      <a:pt x="25" y="0"/>
                    </a:lnTo>
                    <a:lnTo>
                      <a:pt x="0" y="0"/>
                    </a:lnTo>
                    <a:lnTo>
                      <a:pt x="0" y="61"/>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spTree>
    <p:extLst>
      <p:ext uri="{BB962C8B-B14F-4D97-AF65-F5344CB8AC3E}">
        <p14:creationId xmlns:p14="http://schemas.microsoft.com/office/powerpoint/2010/main" val="203681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0" grpId="0"/>
      <p:bldP spid="21" grpId="0" animBg="1"/>
      <p:bldP spid="22" grpId="0" animBg="1"/>
      <p:bldP spid="23" grpId="0"/>
      <p:bldP spid="24" grpId="0" animBg="1"/>
      <p:bldP spid="25" grpId="0" animBg="1"/>
      <p:bldP spid="26" grpId="0"/>
      <p:bldP spid="27" grpId="0" animBg="1"/>
      <p:bldP spid="28" grpId="0" animBg="1"/>
      <p:bldP spid="29" grpId="0"/>
      <p:bldP spid="30" grpId="0" animBg="1"/>
      <p:bldP spid="31" grpId="0" animBg="1"/>
      <p:bldP spid="32" grpId="0"/>
      <p:bldP spid="33" grpId="0" animBg="1"/>
      <p:bldP spid="34" grpId="0" animBg="1"/>
      <p:bldP spid="3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1524000" y="891063"/>
            <a:ext cx="9144000" cy="5940839"/>
          </a:xfrm>
          <a:prstGeom prst="rect">
            <a:avLst/>
          </a:prstGeom>
          <a:solidFill>
            <a:schemeClr val="bg1">
              <a:lumMod val="95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defRPr/>
            </a:pPr>
            <a:endParaRPr lang="en-US">
              <a:solidFill>
                <a:prstClr val="white"/>
              </a:solidFill>
              <a:latin typeface="Calibri"/>
            </a:endParaRPr>
          </a:p>
        </p:txBody>
      </p:sp>
      <p:sp>
        <p:nvSpPr>
          <p:cNvPr id="18" name="Pentagon 17"/>
          <p:cNvSpPr/>
          <p:nvPr/>
        </p:nvSpPr>
        <p:spPr>
          <a:xfrm>
            <a:off x="2313080" y="1968671"/>
            <a:ext cx="7809489" cy="996878"/>
          </a:xfrm>
          <a:prstGeom prst="homePlate">
            <a:avLst/>
          </a:prstGeom>
          <a:solidFill>
            <a:schemeClr val="accent3">
              <a:alpha val="40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defTabSz="914400" fontAlgn="base">
              <a:spcBef>
                <a:spcPct val="0"/>
              </a:spcBef>
              <a:spcAft>
                <a:spcPct val="0"/>
              </a:spcAft>
              <a:defRPr/>
            </a:pPr>
            <a:r>
              <a:rPr lang="en-US" sz="2800" b="1" dirty="0">
                <a:solidFill>
                  <a:prstClr val="white"/>
                </a:solidFill>
                <a:effectLst>
                  <a:outerShdw blurRad="38100" dist="38100" dir="2700000" algn="tl">
                    <a:srgbClr val="000000">
                      <a:alpha val="43137"/>
                    </a:srgbClr>
                  </a:outerShdw>
                </a:effectLst>
                <a:latin typeface="Calibri"/>
              </a:rPr>
              <a:t>Strategic Direction | 3-5 Year Roadmap</a:t>
            </a:r>
          </a:p>
        </p:txBody>
      </p:sp>
      <p:sp>
        <p:nvSpPr>
          <p:cNvPr id="30" name="Rectangle 29"/>
          <p:cNvSpPr/>
          <p:nvPr/>
        </p:nvSpPr>
        <p:spPr>
          <a:xfrm>
            <a:off x="6867526" y="3731842"/>
            <a:ext cx="1323975" cy="1978112"/>
          </a:xfrm>
          <a:prstGeom prst="rect">
            <a:avLst/>
          </a:prstGeom>
          <a:solidFill>
            <a:schemeClr val="accent6"/>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400" fontAlgn="base">
              <a:spcBef>
                <a:spcPct val="0"/>
              </a:spcBef>
              <a:spcAft>
                <a:spcPct val="0"/>
              </a:spcAft>
              <a:defRPr/>
            </a:pPr>
            <a:r>
              <a:rPr lang="en-US" sz="1600" b="1" dirty="0">
                <a:solidFill>
                  <a:prstClr val="white"/>
                </a:solidFill>
                <a:effectLst>
                  <a:outerShdw blurRad="38100" dist="38100" dir="2700000" algn="tl">
                    <a:srgbClr val="000000">
                      <a:alpha val="43137"/>
                    </a:srgbClr>
                  </a:outerShdw>
                </a:effectLst>
                <a:latin typeface="Calibri"/>
              </a:rPr>
              <a:t>Collaborate</a:t>
            </a:r>
          </a:p>
        </p:txBody>
      </p:sp>
      <p:sp>
        <p:nvSpPr>
          <p:cNvPr id="40" name="Rectangle 39"/>
          <p:cNvSpPr/>
          <p:nvPr/>
        </p:nvSpPr>
        <p:spPr>
          <a:xfrm>
            <a:off x="2211367" y="5128765"/>
            <a:ext cx="1331933" cy="581191"/>
          </a:xfrm>
          <a:prstGeom prst="rect">
            <a:avLst/>
          </a:prstGeom>
          <a:solidFill>
            <a:schemeClr val="accent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400" fontAlgn="base">
              <a:spcBef>
                <a:spcPct val="0"/>
              </a:spcBef>
              <a:spcAft>
                <a:spcPct val="0"/>
              </a:spcAft>
              <a:defRPr/>
            </a:pPr>
            <a:r>
              <a:rPr lang="en-US" sz="1600" b="1" dirty="0">
                <a:solidFill>
                  <a:prstClr val="white"/>
                </a:solidFill>
                <a:effectLst>
                  <a:outerShdw blurRad="38100" dist="38100" dir="2700000" algn="tl">
                    <a:srgbClr val="000000">
                      <a:alpha val="43137"/>
                    </a:srgbClr>
                  </a:outerShdw>
                </a:effectLst>
                <a:latin typeface="Calibri"/>
              </a:rPr>
              <a:t>Fundamental</a:t>
            </a:r>
          </a:p>
        </p:txBody>
      </p:sp>
      <p:sp>
        <p:nvSpPr>
          <p:cNvPr id="41" name="Rectangle 40"/>
          <p:cNvSpPr/>
          <p:nvPr/>
        </p:nvSpPr>
        <p:spPr>
          <a:xfrm>
            <a:off x="3836884" y="4720899"/>
            <a:ext cx="1192897" cy="989057"/>
          </a:xfrm>
          <a:prstGeom prst="rect">
            <a:avLst/>
          </a:prstGeom>
          <a:solidFill>
            <a:srgbClr val="FFC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400" fontAlgn="base">
              <a:spcBef>
                <a:spcPct val="0"/>
              </a:spcBef>
              <a:spcAft>
                <a:spcPct val="0"/>
              </a:spcAft>
              <a:defRPr/>
            </a:pPr>
            <a:r>
              <a:rPr lang="en-US" sz="1600" b="1" dirty="0">
                <a:solidFill>
                  <a:prstClr val="white"/>
                </a:solidFill>
                <a:effectLst>
                  <a:outerShdw blurRad="38100" dist="38100" dir="2700000" algn="tl">
                    <a:srgbClr val="000000">
                      <a:alpha val="43137"/>
                    </a:srgbClr>
                  </a:outerShdw>
                </a:effectLst>
                <a:latin typeface="Calibri"/>
              </a:rPr>
              <a:t>Discipline</a:t>
            </a:r>
          </a:p>
        </p:txBody>
      </p:sp>
      <p:sp>
        <p:nvSpPr>
          <p:cNvPr id="42" name="Rectangle 41"/>
          <p:cNvSpPr/>
          <p:nvPr/>
        </p:nvSpPr>
        <p:spPr>
          <a:xfrm>
            <a:off x="5335090" y="4356297"/>
            <a:ext cx="1243195" cy="1364463"/>
          </a:xfrm>
          <a:prstGeom prst="rect">
            <a:avLst/>
          </a:prstGeom>
          <a:solidFill>
            <a:schemeClr val="accent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400" fontAlgn="base">
              <a:spcBef>
                <a:spcPct val="0"/>
              </a:spcBef>
              <a:spcAft>
                <a:spcPct val="0"/>
              </a:spcAft>
              <a:defRPr/>
            </a:pPr>
            <a:r>
              <a:rPr lang="en-US" sz="1600" b="1" dirty="0">
                <a:solidFill>
                  <a:prstClr val="white"/>
                </a:solidFill>
                <a:effectLst>
                  <a:outerShdw blurRad="38100" dist="38100" dir="2700000" algn="tl">
                    <a:srgbClr val="000000">
                      <a:alpha val="43137"/>
                    </a:srgbClr>
                  </a:outerShdw>
                </a:effectLst>
                <a:latin typeface="Calibri"/>
              </a:rPr>
              <a:t>Personalize</a:t>
            </a:r>
          </a:p>
        </p:txBody>
      </p:sp>
      <p:sp>
        <p:nvSpPr>
          <p:cNvPr id="43" name="Rectangle 42"/>
          <p:cNvSpPr/>
          <p:nvPr/>
        </p:nvSpPr>
        <p:spPr>
          <a:xfrm>
            <a:off x="8407748" y="2520262"/>
            <a:ext cx="1371600" cy="3208020"/>
          </a:xfrm>
          <a:prstGeom prst="rect">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400" fontAlgn="base">
              <a:spcBef>
                <a:spcPct val="0"/>
              </a:spcBef>
              <a:spcAft>
                <a:spcPct val="0"/>
              </a:spcAft>
              <a:defRPr/>
            </a:pPr>
            <a:r>
              <a:rPr lang="en-US" sz="1600" b="1" dirty="0">
                <a:solidFill>
                  <a:prstClr val="white"/>
                </a:solidFill>
                <a:effectLst>
                  <a:outerShdw blurRad="38100" dist="38100" dir="2700000" algn="tl">
                    <a:srgbClr val="000000">
                      <a:alpha val="43137"/>
                    </a:srgbClr>
                  </a:outerShdw>
                </a:effectLst>
                <a:latin typeface="Calibri"/>
              </a:rPr>
              <a:t>Progressive</a:t>
            </a:r>
          </a:p>
        </p:txBody>
      </p:sp>
      <p:cxnSp>
        <p:nvCxnSpPr>
          <p:cNvPr id="13" name="Straight Arrow Connector 12"/>
          <p:cNvCxnSpPr/>
          <p:nvPr/>
        </p:nvCxnSpPr>
        <p:spPr>
          <a:xfrm>
            <a:off x="2127947" y="5777395"/>
            <a:ext cx="8343395"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2137648" y="1051094"/>
            <a:ext cx="2" cy="473995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9" name="Arc 38"/>
          <p:cNvSpPr/>
          <p:nvPr/>
        </p:nvSpPr>
        <p:spPr>
          <a:xfrm rot="4751476">
            <a:off x="1642098" y="-3956532"/>
            <a:ext cx="4989221" cy="13221065"/>
          </a:xfrm>
          <a:prstGeom prst="arc">
            <a:avLst>
              <a:gd name="adj1" fmla="val 16658292"/>
              <a:gd name="adj2" fmla="val 1365918"/>
            </a:avLst>
          </a:prstGeom>
          <a:ln w="76200">
            <a:solidFill>
              <a:srgbClr val="00B050"/>
            </a:solidFill>
            <a:headEnd type="arrow"/>
            <a:tailEnd type="none"/>
          </a:ln>
        </p:spPr>
        <p:style>
          <a:lnRef idx="3">
            <a:schemeClr val="accent1"/>
          </a:lnRef>
          <a:fillRef idx="0">
            <a:schemeClr val="accent1"/>
          </a:fillRef>
          <a:effectRef idx="2">
            <a:schemeClr val="accent1"/>
          </a:effectRef>
          <a:fontRef idx="minor">
            <a:schemeClr val="tx1"/>
          </a:fontRef>
        </p:style>
        <p:txBody>
          <a:bodyPr rtlCol="0" anchor="ctr"/>
          <a:lstStyle/>
          <a:p>
            <a:pPr algn="ctr" defTabSz="914400" fontAlgn="base">
              <a:spcBef>
                <a:spcPct val="0"/>
              </a:spcBef>
              <a:spcAft>
                <a:spcPct val="0"/>
              </a:spcAft>
              <a:defRPr/>
            </a:pPr>
            <a:endParaRPr lang="en-US">
              <a:solidFill>
                <a:srgbClr val="231F20"/>
              </a:solidFill>
              <a:latin typeface="Calibri"/>
            </a:endParaRPr>
          </a:p>
        </p:txBody>
      </p:sp>
      <p:grpSp>
        <p:nvGrpSpPr>
          <p:cNvPr id="3" name="Group 14"/>
          <p:cNvGrpSpPr/>
          <p:nvPr/>
        </p:nvGrpSpPr>
        <p:grpSpPr>
          <a:xfrm>
            <a:off x="6953543" y="2979197"/>
            <a:ext cx="1197260" cy="1146854"/>
            <a:chOff x="963400" y="117633"/>
            <a:chExt cx="1539240" cy="1539240"/>
          </a:xfrm>
          <a:solidFill>
            <a:schemeClr val="accent1"/>
          </a:solidFill>
          <a:scene3d>
            <a:camera prst="orthographicFront">
              <a:rot lat="0" lon="0" rev="0"/>
            </a:camera>
            <a:lightRig rig="contrasting" dir="t">
              <a:rot lat="0" lon="0" rev="1500000"/>
            </a:lightRig>
          </a:scene3d>
        </p:grpSpPr>
        <p:sp>
          <p:nvSpPr>
            <p:cNvPr id="34" name="Oval 33"/>
            <p:cNvSpPr/>
            <p:nvPr/>
          </p:nvSpPr>
          <p:spPr>
            <a:xfrm>
              <a:off x="963400" y="117633"/>
              <a:ext cx="1539240" cy="1539240"/>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hemeClr val="lt1">
                <a:hueOff val="0"/>
                <a:satOff val="0"/>
                <a:lumOff val="0"/>
                <a:alphaOff val="0"/>
              </a:schemeClr>
            </a:lnRef>
            <a:fillRef idx="1">
              <a:schemeClr val="accent3">
                <a:alpha val="50000"/>
                <a:hueOff val="0"/>
                <a:satOff val="0"/>
                <a:lumOff val="0"/>
                <a:alphaOff val="0"/>
              </a:schemeClr>
            </a:fillRef>
            <a:effectRef idx="1">
              <a:schemeClr val="accent3">
                <a:alpha val="50000"/>
                <a:hueOff val="0"/>
                <a:satOff val="0"/>
                <a:lumOff val="0"/>
                <a:alphaOff val="0"/>
              </a:schemeClr>
            </a:effectRef>
            <a:fontRef idx="minor">
              <a:schemeClr val="tx1"/>
            </a:fontRef>
          </p:style>
        </p:sp>
        <p:sp>
          <p:nvSpPr>
            <p:cNvPr id="35" name="Oval 4"/>
            <p:cNvSpPr/>
            <p:nvPr/>
          </p:nvSpPr>
          <p:spPr>
            <a:xfrm>
              <a:off x="1008225" y="386999"/>
              <a:ext cx="1433187" cy="949833"/>
            </a:xfrm>
            <a:prstGeom prst="ellipse">
              <a:avLst/>
            </a:prstGeom>
            <a:noFill/>
            <a:ln>
              <a:noFill/>
            </a:ln>
            <a:effectLst>
              <a:outerShdw blurRad="149987" dist="250190" dir="8460000" algn="ctr">
                <a:srgbClr val="000000">
                  <a:alpha val="28000"/>
                </a:srgbClr>
              </a:outerShdw>
            </a:effectLst>
            <a:sp3d prstMaterial="metal">
              <a:bevelT w="88900" h="88900"/>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844550" fontAlgn="base">
                <a:lnSpc>
                  <a:spcPct val="90000"/>
                </a:lnSpc>
                <a:spcBef>
                  <a:spcPct val="0"/>
                </a:spcBef>
                <a:spcAft>
                  <a:spcPct val="35000"/>
                </a:spcAft>
                <a:defRPr/>
              </a:pPr>
              <a:r>
                <a:rPr lang="en-US" sz="1400" b="1" dirty="0">
                  <a:solidFill>
                    <a:prstClr val="white"/>
                  </a:solidFill>
                  <a:effectLst>
                    <a:outerShdw blurRad="38100" dist="38100" dir="2700000" algn="tl">
                      <a:srgbClr val="000000">
                        <a:alpha val="43137"/>
                      </a:srgbClr>
                    </a:outerShdw>
                  </a:effectLst>
                  <a:latin typeface="Calibri"/>
                </a:rPr>
                <a:t>Retailer Alignment</a:t>
              </a:r>
            </a:p>
          </p:txBody>
        </p:sp>
      </p:grpSp>
      <p:grpSp>
        <p:nvGrpSpPr>
          <p:cNvPr id="4" name="Group 17"/>
          <p:cNvGrpSpPr/>
          <p:nvPr/>
        </p:nvGrpSpPr>
        <p:grpSpPr>
          <a:xfrm>
            <a:off x="8480904" y="2137817"/>
            <a:ext cx="1210747" cy="1146854"/>
            <a:chOff x="963400" y="117633"/>
            <a:chExt cx="1556580" cy="1539240"/>
          </a:xfrm>
          <a:solidFill>
            <a:schemeClr val="accent1"/>
          </a:solidFill>
          <a:scene3d>
            <a:camera prst="orthographicFront">
              <a:rot lat="0" lon="0" rev="0"/>
            </a:camera>
            <a:lightRig rig="contrasting" dir="t">
              <a:rot lat="0" lon="0" rev="1500000"/>
            </a:lightRig>
          </a:scene3d>
        </p:grpSpPr>
        <p:sp>
          <p:nvSpPr>
            <p:cNvPr id="37" name="Oval 36"/>
            <p:cNvSpPr/>
            <p:nvPr/>
          </p:nvSpPr>
          <p:spPr>
            <a:xfrm>
              <a:off x="963400" y="117633"/>
              <a:ext cx="1539240" cy="1539240"/>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hemeClr val="lt1">
                <a:hueOff val="0"/>
                <a:satOff val="0"/>
                <a:lumOff val="0"/>
                <a:alphaOff val="0"/>
              </a:schemeClr>
            </a:lnRef>
            <a:fillRef idx="1">
              <a:schemeClr val="accent3">
                <a:alpha val="50000"/>
                <a:hueOff val="0"/>
                <a:satOff val="0"/>
                <a:lumOff val="0"/>
                <a:alphaOff val="0"/>
              </a:schemeClr>
            </a:fillRef>
            <a:effectRef idx="1">
              <a:schemeClr val="accent3">
                <a:alpha val="50000"/>
                <a:hueOff val="0"/>
                <a:satOff val="0"/>
                <a:lumOff val="0"/>
                <a:alphaOff val="0"/>
              </a:schemeClr>
            </a:effectRef>
            <a:fontRef idx="minor">
              <a:schemeClr val="tx1"/>
            </a:fontRef>
          </p:style>
        </p:sp>
        <p:sp>
          <p:nvSpPr>
            <p:cNvPr id="38" name="Oval 4"/>
            <p:cNvSpPr/>
            <p:nvPr/>
          </p:nvSpPr>
          <p:spPr>
            <a:xfrm>
              <a:off x="1024628" y="425351"/>
              <a:ext cx="1495352" cy="949833"/>
            </a:xfrm>
            <a:prstGeom prst="ellipse">
              <a:avLst/>
            </a:prstGeom>
            <a:noFill/>
            <a:ln>
              <a:noFill/>
            </a:ln>
            <a:effectLst>
              <a:outerShdw blurRad="149987" dist="250190" dir="8460000" algn="ctr">
                <a:srgbClr val="000000">
                  <a:alpha val="28000"/>
                </a:srgbClr>
              </a:outerShdw>
            </a:effectLst>
            <a:sp3d prstMaterial="metal">
              <a:bevelT w="88900" h="88900"/>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844550" fontAlgn="base">
                <a:lnSpc>
                  <a:spcPct val="90000"/>
                </a:lnSpc>
                <a:spcBef>
                  <a:spcPct val="0"/>
                </a:spcBef>
                <a:spcAft>
                  <a:spcPct val="35000"/>
                </a:spcAft>
                <a:defRPr/>
              </a:pPr>
              <a:r>
                <a:rPr lang="en-US" sz="1400" b="1" dirty="0">
                  <a:solidFill>
                    <a:prstClr val="white"/>
                  </a:solidFill>
                  <a:effectLst>
                    <a:outerShdw blurRad="38100" dist="38100" dir="2700000" algn="tl">
                      <a:srgbClr val="000000">
                        <a:alpha val="43137"/>
                      </a:srgbClr>
                    </a:outerShdw>
                  </a:effectLst>
                  <a:latin typeface="Calibri"/>
                </a:rPr>
                <a:t> Monitor &amp; Alert</a:t>
              </a:r>
            </a:p>
          </p:txBody>
        </p:sp>
      </p:grpSp>
      <p:grpSp>
        <p:nvGrpSpPr>
          <p:cNvPr id="5" name="Group 3"/>
          <p:cNvGrpSpPr/>
          <p:nvPr/>
        </p:nvGrpSpPr>
        <p:grpSpPr>
          <a:xfrm>
            <a:off x="2254687" y="4231683"/>
            <a:ext cx="1226992" cy="1146854"/>
            <a:chOff x="944286" y="117633"/>
            <a:chExt cx="1577466" cy="1539240"/>
          </a:xfrm>
          <a:solidFill>
            <a:schemeClr val="accent1"/>
          </a:solidFill>
          <a:scene3d>
            <a:camera prst="orthographicFront">
              <a:rot lat="0" lon="0" rev="0"/>
            </a:camera>
            <a:lightRig rig="contrasting" dir="t">
              <a:rot lat="0" lon="0" rev="1500000"/>
            </a:lightRig>
          </a:scene3d>
        </p:grpSpPr>
        <p:sp>
          <p:nvSpPr>
            <p:cNvPr id="25" name="Oval 24"/>
            <p:cNvSpPr/>
            <p:nvPr/>
          </p:nvSpPr>
          <p:spPr>
            <a:xfrm>
              <a:off x="963400" y="117633"/>
              <a:ext cx="1539240" cy="1539240"/>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hemeClr val="lt1">
                <a:hueOff val="0"/>
                <a:satOff val="0"/>
                <a:lumOff val="0"/>
                <a:alphaOff val="0"/>
              </a:schemeClr>
            </a:lnRef>
            <a:fillRef idx="1">
              <a:schemeClr val="accent3">
                <a:alpha val="50000"/>
                <a:hueOff val="0"/>
                <a:satOff val="0"/>
                <a:lumOff val="0"/>
                <a:alphaOff val="0"/>
              </a:schemeClr>
            </a:fillRef>
            <a:effectRef idx="1">
              <a:schemeClr val="accent3">
                <a:alpha val="50000"/>
                <a:hueOff val="0"/>
                <a:satOff val="0"/>
                <a:lumOff val="0"/>
                <a:alphaOff val="0"/>
              </a:schemeClr>
            </a:effectRef>
            <a:fontRef idx="minor">
              <a:schemeClr val="tx1"/>
            </a:fontRef>
          </p:style>
        </p:sp>
        <p:sp>
          <p:nvSpPr>
            <p:cNvPr id="26" name="Oval 4"/>
            <p:cNvSpPr/>
            <p:nvPr/>
          </p:nvSpPr>
          <p:spPr>
            <a:xfrm>
              <a:off x="944286" y="391073"/>
              <a:ext cx="1577466" cy="939299"/>
            </a:xfrm>
            <a:prstGeom prst="ellipse">
              <a:avLst/>
            </a:prstGeom>
            <a:noFill/>
            <a:ln>
              <a:noFill/>
            </a:ln>
            <a:effectLst>
              <a:outerShdw blurRad="149987" dist="250190" dir="8460000" algn="ctr">
                <a:srgbClr val="000000">
                  <a:alpha val="28000"/>
                </a:srgbClr>
              </a:outerShdw>
            </a:effectLst>
            <a:sp3d prstMaterial="metal">
              <a:bevelT w="88900" h="88900"/>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844550" fontAlgn="base">
                <a:lnSpc>
                  <a:spcPct val="90000"/>
                </a:lnSpc>
                <a:spcBef>
                  <a:spcPct val="0"/>
                </a:spcBef>
                <a:spcAft>
                  <a:spcPct val="35000"/>
                </a:spcAft>
                <a:defRPr/>
              </a:pPr>
              <a:r>
                <a:rPr lang="en-US" sz="1200" b="1" dirty="0">
                  <a:solidFill>
                    <a:prstClr val="white"/>
                  </a:solidFill>
                  <a:effectLst>
                    <a:outerShdw blurRad="38100" dist="38100" dir="2700000" algn="tl">
                      <a:srgbClr val="000000">
                        <a:alpha val="43137"/>
                      </a:srgbClr>
                    </a:outerShdw>
                  </a:effectLst>
                  <a:latin typeface="Calibri"/>
                </a:rPr>
                <a:t>Space Management</a:t>
              </a:r>
            </a:p>
          </p:txBody>
        </p:sp>
      </p:grpSp>
      <p:grpSp>
        <p:nvGrpSpPr>
          <p:cNvPr id="6" name="Group 8"/>
          <p:cNvGrpSpPr/>
          <p:nvPr/>
        </p:nvGrpSpPr>
        <p:grpSpPr>
          <a:xfrm>
            <a:off x="3686756" y="3861990"/>
            <a:ext cx="1498205" cy="1146854"/>
            <a:chOff x="770393" y="117633"/>
            <a:chExt cx="1926146" cy="1539240"/>
          </a:xfrm>
          <a:solidFill>
            <a:schemeClr val="accent1"/>
          </a:solidFill>
          <a:scene3d>
            <a:camera prst="orthographicFront">
              <a:rot lat="0" lon="0" rev="0"/>
            </a:camera>
            <a:lightRig rig="contrasting" dir="t">
              <a:rot lat="0" lon="0" rev="1500000"/>
            </a:lightRig>
          </a:scene3d>
        </p:grpSpPr>
        <p:sp>
          <p:nvSpPr>
            <p:cNvPr id="28" name="Oval 27"/>
            <p:cNvSpPr/>
            <p:nvPr/>
          </p:nvSpPr>
          <p:spPr>
            <a:xfrm>
              <a:off x="963400" y="117633"/>
              <a:ext cx="1539240" cy="1539240"/>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hemeClr val="lt1">
                <a:hueOff val="0"/>
                <a:satOff val="0"/>
                <a:lumOff val="0"/>
                <a:alphaOff val="0"/>
              </a:schemeClr>
            </a:lnRef>
            <a:fillRef idx="1">
              <a:schemeClr val="accent3">
                <a:alpha val="50000"/>
                <a:hueOff val="0"/>
                <a:satOff val="0"/>
                <a:lumOff val="0"/>
                <a:alphaOff val="0"/>
              </a:schemeClr>
            </a:fillRef>
            <a:effectRef idx="1">
              <a:schemeClr val="accent3">
                <a:alpha val="50000"/>
                <a:hueOff val="0"/>
                <a:satOff val="0"/>
                <a:lumOff val="0"/>
                <a:alphaOff val="0"/>
              </a:schemeClr>
            </a:effectRef>
            <a:fontRef idx="minor">
              <a:schemeClr val="tx1"/>
            </a:fontRef>
          </p:style>
        </p:sp>
        <p:sp>
          <p:nvSpPr>
            <p:cNvPr id="29" name="Oval 4"/>
            <p:cNvSpPr/>
            <p:nvPr/>
          </p:nvSpPr>
          <p:spPr>
            <a:xfrm>
              <a:off x="770393" y="441952"/>
              <a:ext cx="1926146" cy="949833"/>
            </a:xfrm>
            <a:prstGeom prst="ellipse">
              <a:avLst/>
            </a:prstGeom>
            <a:noFill/>
            <a:ln>
              <a:noFill/>
            </a:ln>
            <a:effectLst>
              <a:outerShdw blurRad="149987" dist="250190" dir="8460000" algn="ctr">
                <a:srgbClr val="000000">
                  <a:alpha val="28000"/>
                </a:srgbClr>
              </a:outerShdw>
            </a:effectLst>
            <a:sp3d prstMaterial="metal">
              <a:bevelT w="88900" h="88900"/>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844550" fontAlgn="base">
                <a:lnSpc>
                  <a:spcPct val="90000"/>
                </a:lnSpc>
                <a:spcBef>
                  <a:spcPct val="0"/>
                </a:spcBef>
                <a:spcAft>
                  <a:spcPct val="35000"/>
                </a:spcAft>
                <a:defRPr/>
              </a:pPr>
              <a:r>
                <a:rPr lang="en-US" sz="1400" b="1" dirty="0">
                  <a:solidFill>
                    <a:prstClr val="white"/>
                  </a:solidFill>
                  <a:effectLst>
                    <a:outerShdw blurRad="38100" dist="38100" dir="2700000" algn="tl">
                      <a:srgbClr val="000000">
                        <a:alpha val="43137"/>
                      </a:srgbClr>
                    </a:outerShdw>
                  </a:effectLst>
                  <a:latin typeface="Calibri"/>
                </a:rPr>
                <a:t>Knowledge Base and Integration</a:t>
              </a:r>
            </a:p>
          </p:txBody>
        </p:sp>
      </p:grpSp>
      <p:grpSp>
        <p:nvGrpSpPr>
          <p:cNvPr id="7" name="Group 11"/>
          <p:cNvGrpSpPr/>
          <p:nvPr/>
        </p:nvGrpSpPr>
        <p:grpSpPr>
          <a:xfrm>
            <a:off x="5358057" y="3524646"/>
            <a:ext cx="1220228" cy="1146854"/>
            <a:chOff x="963400" y="334427"/>
            <a:chExt cx="1568768" cy="1539240"/>
          </a:xfrm>
          <a:solidFill>
            <a:schemeClr val="accent1"/>
          </a:solidFill>
          <a:scene3d>
            <a:camera prst="orthographicFront">
              <a:rot lat="0" lon="0" rev="0"/>
            </a:camera>
            <a:lightRig rig="contrasting" dir="t">
              <a:rot lat="0" lon="0" rev="1500000"/>
            </a:lightRig>
          </a:scene3d>
        </p:grpSpPr>
        <p:sp>
          <p:nvSpPr>
            <p:cNvPr id="31" name="Oval 30"/>
            <p:cNvSpPr/>
            <p:nvPr/>
          </p:nvSpPr>
          <p:spPr>
            <a:xfrm>
              <a:off x="963400" y="334427"/>
              <a:ext cx="1539240" cy="1539240"/>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hemeClr val="lt1">
                <a:hueOff val="0"/>
                <a:satOff val="0"/>
                <a:lumOff val="0"/>
                <a:alphaOff val="0"/>
              </a:schemeClr>
            </a:lnRef>
            <a:fillRef idx="1">
              <a:schemeClr val="accent3">
                <a:alpha val="50000"/>
                <a:hueOff val="0"/>
                <a:satOff val="0"/>
                <a:lumOff val="0"/>
                <a:alphaOff val="0"/>
              </a:schemeClr>
            </a:fillRef>
            <a:effectRef idx="1">
              <a:schemeClr val="accent3">
                <a:alpha val="50000"/>
                <a:hueOff val="0"/>
                <a:satOff val="0"/>
                <a:lumOff val="0"/>
                <a:alphaOff val="0"/>
              </a:schemeClr>
            </a:effectRef>
            <a:fontRef idx="minor">
              <a:schemeClr val="tx1"/>
            </a:fontRef>
          </p:style>
        </p:sp>
        <p:sp>
          <p:nvSpPr>
            <p:cNvPr id="32" name="Oval 4"/>
            <p:cNvSpPr/>
            <p:nvPr/>
          </p:nvSpPr>
          <p:spPr>
            <a:xfrm>
              <a:off x="971658" y="628895"/>
              <a:ext cx="1560510" cy="949832"/>
            </a:xfrm>
            <a:prstGeom prst="ellipse">
              <a:avLst/>
            </a:prstGeom>
            <a:noFill/>
            <a:ln>
              <a:noFill/>
            </a:ln>
            <a:effectLst>
              <a:outerShdw blurRad="149987" dist="250190" dir="8460000" algn="ctr">
                <a:srgbClr val="000000">
                  <a:alpha val="28000"/>
                </a:srgbClr>
              </a:outerShdw>
            </a:effectLst>
            <a:sp3d prstMaterial="metal">
              <a:bevelT w="88900" h="88900"/>
            </a:sp3d>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844550" fontAlgn="base">
                <a:lnSpc>
                  <a:spcPct val="90000"/>
                </a:lnSpc>
                <a:spcBef>
                  <a:spcPct val="0"/>
                </a:spcBef>
                <a:spcAft>
                  <a:spcPct val="35000"/>
                </a:spcAft>
                <a:defRPr/>
              </a:pPr>
              <a:r>
                <a:rPr lang="en-US" sz="1200" b="1" dirty="0">
                  <a:solidFill>
                    <a:prstClr val="white"/>
                  </a:solidFill>
                  <a:effectLst>
                    <a:outerShdw blurRad="38100" dist="38100" dir="2700000" algn="tl">
                      <a:srgbClr val="000000">
                        <a:alpha val="43137"/>
                      </a:srgbClr>
                    </a:outerShdw>
                  </a:effectLst>
                  <a:latin typeface="Calibri"/>
                </a:rPr>
                <a:t>Targeted &amp; Localized</a:t>
              </a:r>
            </a:p>
            <a:p>
              <a:pPr algn="ctr" defTabSz="844550" fontAlgn="base">
                <a:lnSpc>
                  <a:spcPct val="90000"/>
                </a:lnSpc>
                <a:spcBef>
                  <a:spcPct val="0"/>
                </a:spcBef>
                <a:spcAft>
                  <a:spcPct val="35000"/>
                </a:spcAft>
                <a:defRPr/>
              </a:pPr>
              <a:r>
                <a:rPr lang="en-US" sz="1200" b="1" dirty="0">
                  <a:solidFill>
                    <a:prstClr val="white"/>
                  </a:solidFill>
                  <a:effectLst>
                    <a:outerShdw blurRad="38100" dist="38100" dir="2700000" algn="tl">
                      <a:srgbClr val="000000">
                        <a:alpha val="43137"/>
                      </a:srgbClr>
                    </a:outerShdw>
                  </a:effectLst>
                  <a:latin typeface="Calibri"/>
                </a:rPr>
                <a:t>Assortments </a:t>
              </a:r>
            </a:p>
          </p:txBody>
        </p:sp>
      </p:grpSp>
      <p:sp>
        <p:nvSpPr>
          <p:cNvPr id="45" name="TextBox 44"/>
          <p:cNvSpPr txBox="1"/>
          <p:nvPr/>
        </p:nvSpPr>
        <p:spPr>
          <a:xfrm rot="16200000">
            <a:off x="1037343" y="3276419"/>
            <a:ext cx="1718868" cy="400110"/>
          </a:xfrm>
          <a:prstGeom prst="rect">
            <a:avLst/>
          </a:prstGeom>
          <a:solidFill>
            <a:schemeClr val="accent2"/>
          </a:solidFill>
        </p:spPr>
        <p:txBody>
          <a:bodyPr wrap="none" rtlCol="0">
            <a:spAutoFit/>
          </a:bodyPr>
          <a:lstStyle/>
          <a:p>
            <a:pPr defTabSz="914400" fontAlgn="base">
              <a:spcBef>
                <a:spcPct val="0"/>
              </a:spcBef>
              <a:spcAft>
                <a:spcPct val="0"/>
              </a:spcAft>
              <a:defRPr/>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a:ea typeface="ＭＳ Ｐゴシック" pitchFamily="-105" charset="-128"/>
              </a:rPr>
              <a:t>Business Value</a:t>
            </a:r>
          </a:p>
        </p:txBody>
      </p:sp>
      <p:sp>
        <p:nvSpPr>
          <p:cNvPr id="19" name="TextBox 18"/>
          <p:cNvSpPr txBox="1"/>
          <p:nvPr/>
        </p:nvSpPr>
        <p:spPr>
          <a:xfrm>
            <a:off x="8191500" y="5907074"/>
            <a:ext cx="1373676" cy="400110"/>
          </a:xfrm>
          <a:prstGeom prst="rect">
            <a:avLst/>
          </a:prstGeom>
          <a:noFill/>
        </p:spPr>
        <p:txBody>
          <a:bodyPr wrap="square" rtlCol="0">
            <a:spAutoFit/>
          </a:bodyPr>
          <a:lstStyle/>
          <a:p>
            <a:pPr defTabSz="914400" fontAlgn="base">
              <a:spcBef>
                <a:spcPct val="0"/>
              </a:spcBef>
              <a:spcAft>
                <a:spcPct val="0"/>
              </a:spcAft>
              <a:defRPr/>
            </a:pPr>
            <a:r>
              <a:rPr lang="en-US" sz="2000" b="1" dirty="0">
                <a:solidFill>
                  <a:srgbClr val="231F20"/>
                </a:solidFill>
                <a:latin typeface="Arial" pitchFamily="-105" charset="0"/>
                <a:ea typeface="ＭＳ Ｐゴシック" pitchFamily="-105" charset="-128"/>
              </a:rPr>
              <a:t>Proactive</a:t>
            </a:r>
          </a:p>
        </p:txBody>
      </p:sp>
      <p:sp>
        <p:nvSpPr>
          <p:cNvPr id="60" name="TextBox 59"/>
          <p:cNvSpPr txBox="1"/>
          <p:nvPr/>
        </p:nvSpPr>
        <p:spPr>
          <a:xfrm>
            <a:off x="2270069" y="5920032"/>
            <a:ext cx="1373676" cy="400110"/>
          </a:xfrm>
          <a:prstGeom prst="rect">
            <a:avLst/>
          </a:prstGeom>
          <a:noFill/>
        </p:spPr>
        <p:txBody>
          <a:bodyPr wrap="square" rtlCol="0">
            <a:spAutoFit/>
          </a:bodyPr>
          <a:lstStyle/>
          <a:p>
            <a:pPr defTabSz="914400" fontAlgn="base">
              <a:spcBef>
                <a:spcPct val="0"/>
              </a:spcBef>
              <a:spcAft>
                <a:spcPct val="0"/>
              </a:spcAft>
              <a:defRPr/>
            </a:pPr>
            <a:r>
              <a:rPr lang="en-US" sz="2000" b="1" dirty="0">
                <a:solidFill>
                  <a:srgbClr val="231F20"/>
                </a:solidFill>
                <a:latin typeface="Arial" pitchFamily="-105" charset="0"/>
                <a:ea typeface="ＭＳ Ｐゴシック" pitchFamily="-105" charset="-128"/>
              </a:rPr>
              <a:t>Reactive</a:t>
            </a:r>
          </a:p>
        </p:txBody>
      </p:sp>
      <p:sp>
        <p:nvSpPr>
          <p:cNvPr id="61" name="Title 3"/>
          <p:cNvSpPr txBox="1">
            <a:spLocks/>
          </p:cNvSpPr>
          <p:nvPr/>
        </p:nvSpPr>
        <p:spPr>
          <a:xfrm>
            <a:off x="1954686" y="120029"/>
            <a:ext cx="6856697" cy="1005840"/>
          </a:xfrm>
          <a:prstGeom prst="rect">
            <a:avLst/>
          </a:prstGeom>
        </p:spPr>
        <p:txBody>
          <a:bodyPr vert="horz" lIns="0" tIns="45720" rIns="0" bIns="45720" rtlCol="0" anchor="t">
            <a:noAutofit/>
          </a:bodyPr>
          <a:lstStyle>
            <a:lvl1pPr algn="l" defTabSz="342991" rtl="0" eaLnBrk="1" latinLnBrk="0" hangingPunct="1">
              <a:lnSpc>
                <a:spcPct val="80000"/>
              </a:lnSpc>
              <a:spcBef>
                <a:spcPct val="0"/>
              </a:spcBef>
              <a:buNone/>
              <a:defRPr sz="2701" kern="1200">
                <a:solidFill>
                  <a:schemeClr val="bg1"/>
                </a:solidFill>
                <a:latin typeface="+mj-lt"/>
                <a:ea typeface="+mj-ea"/>
                <a:cs typeface="+mj-cs"/>
              </a:defRPr>
            </a:lvl1pPr>
          </a:lstStyle>
          <a:p>
            <a:pPr>
              <a:defRPr/>
            </a:pPr>
            <a:r>
              <a:rPr lang="en-US" b="1" dirty="0">
                <a:solidFill>
                  <a:schemeClr val="tx1"/>
                </a:solidFill>
              </a:rPr>
              <a:t>Category Management Maturity</a:t>
            </a:r>
            <a:endParaRPr lang="en-GB" b="1" dirty="0">
              <a:solidFill>
                <a:schemeClr val="tx1"/>
              </a:solidFill>
            </a:endParaRPr>
          </a:p>
        </p:txBody>
      </p:sp>
    </p:spTree>
    <p:extLst>
      <p:ext uri="{BB962C8B-B14F-4D97-AF65-F5344CB8AC3E}">
        <p14:creationId xmlns:p14="http://schemas.microsoft.com/office/powerpoint/2010/main" val="224294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500"/>
                                        <p:tgtEl>
                                          <p:spTgt spid="41"/>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10" presetClass="entr" presetSubtype="0" fill="hold" nodeType="with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wipe(left)">
                                      <p:cBhvr>
                                        <p:cTn id="46" dur="1000"/>
                                        <p:tgtEl>
                                          <p:spTgt spid="3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59"/>
                                        </p:tgtEl>
                                        <p:attrNameLst>
                                          <p:attrName>style.visibility</p:attrName>
                                        </p:attrNameLst>
                                      </p:cBhvr>
                                      <p:to>
                                        <p:strVal val="visible"/>
                                      </p:to>
                                    </p:set>
                                    <p:animEffect transition="in" filter="fade">
                                      <p:cBhvr>
                                        <p:cTn id="56"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18" grpId="0" animBg="1"/>
      <p:bldP spid="30" grpId="0" animBg="1"/>
      <p:bldP spid="40" grpId="0" animBg="1"/>
      <p:bldP spid="41" grpId="0" animBg="1"/>
      <p:bldP spid="42" grpId="0" animBg="1"/>
      <p:bldP spid="43" grpId="0" animBg="1"/>
      <p:bldP spid="3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5"/>
          <p:cNvSpPr>
            <a:spLocks noChangeArrowheads="1"/>
          </p:cNvSpPr>
          <p:nvPr/>
        </p:nvSpPr>
        <p:spPr bwMode="auto">
          <a:xfrm>
            <a:off x="1762887" y="123826"/>
            <a:ext cx="6291072" cy="938213"/>
          </a:xfrm>
          <a:prstGeom prst="rect">
            <a:avLst/>
          </a:prstGeom>
          <a:noFill/>
          <a:ln w="9525" algn="ctr">
            <a:noFill/>
            <a:miter lim="800000"/>
            <a:headEnd/>
            <a:tailEnd/>
          </a:ln>
        </p:spPr>
        <p:txBody>
          <a:bodyPr anchor="ctr"/>
          <a:lstStyle/>
          <a:p>
            <a:r>
              <a:rPr lang="en-US" sz="3600" b="1" dirty="0">
                <a:latin typeface="+mj-lt"/>
              </a:rPr>
              <a:t>Space &amp; Assortment Process</a:t>
            </a:r>
          </a:p>
        </p:txBody>
      </p:sp>
      <p:graphicFrame>
        <p:nvGraphicFramePr>
          <p:cNvPr id="36" name="Diagram 35"/>
          <p:cNvGraphicFramePr/>
          <p:nvPr/>
        </p:nvGraphicFramePr>
        <p:xfrm>
          <a:off x="1885951" y="1435348"/>
          <a:ext cx="7572375" cy="5205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59546953"/>
      </p:ext>
    </p:extLst>
  </p:cSld>
  <p:clrMapOvr>
    <a:masterClrMapping/>
  </p:clrMapOvr>
  <mc:AlternateContent xmlns:mc="http://schemas.openxmlformats.org/markup-compatibility/2006" xmlns:p14="http://schemas.microsoft.com/office/powerpoint/2010/main">
    <mc:Choice Requires="p14">
      <p:transition spd="slow" p14:dur="1500" advClick="0">
        <p:random/>
      </p:transition>
    </mc:Choice>
    <mc:Fallback xmlns="">
      <p:transition spd="slow" advClick="0">
        <p:rand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2769312"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chemeClr val="accent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Product</a:t>
            </a:r>
          </a:p>
        </p:txBody>
      </p:sp>
      <p:sp>
        <p:nvSpPr>
          <p:cNvPr id="11" name="Freeform 10"/>
          <p:cNvSpPr/>
          <p:nvPr/>
        </p:nvSpPr>
        <p:spPr>
          <a:xfrm>
            <a:off x="3546986"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12" name="Freeform 11"/>
          <p:cNvSpPr/>
          <p:nvPr/>
        </p:nvSpPr>
        <p:spPr>
          <a:xfrm>
            <a:off x="3759079"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Space Fixture</a:t>
            </a:r>
          </a:p>
        </p:txBody>
      </p:sp>
      <p:sp>
        <p:nvSpPr>
          <p:cNvPr id="20" name="Freeform 19"/>
          <p:cNvSpPr/>
          <p:nvPr/>
        </p:nvSpPr>
        <p:spPr>
          <a:xfrm>
            <a:off x="4536754"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21" name="Freeform 20"/>
          <p:cNvSpPr/>
          <p:nvPr/>
        </p:nvSpPr>
        <p:spPr>
          <a:xfrm>
            <a:off x="4748847"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chemeClr val="accent6"/>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Planogram</a:t>
            </a:r>
          </a:p>
        </p:txBody>
      </p:sp>
      <p:sp>
        <p:nvSpPr>
          <p:cNvPr id="22" name="Freeform 21"/>
          <p:cNvSpPr/>
          <p:nvPr/>
        </p:nvSpPr>
        <p:spPr>
          <a:xfrm>
            <a:off x="5526521"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23" name="Freeform 22"/>
          <p:cNvSpPr/>
          <p:nvPr/>
        </p:nvSpPr>
        <p:spPr>
          <a:xfrm>
            <a:off x="5738614"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rgbClr val="FFC026"/>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Floor Fixture</a:t>
            </a:r>
          </a:p>
        </p:txBody>
      </p:sp>
      <p:sp>
        <p:nvSpPr>
          <p:cNvPr id="24" name="Freeform 23"/>
          <p:cNvSpPr/>
          <p:nvPr/>
        </p:nvSpPr>
        <p:spPr>
          <a:xfrm>
            <a:off x="6516289"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25" name="Freeform 24"/>
          <p:cNvSpPr/>
          <p:nvPr/>
        </p:nvSpPr>
        <p:spPr>
          <a:xfrm>
            <a:off x="6728382"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rgbClr val="FF6A13"/>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Floorplan</a:t>
            </a:r>
          </a:p>
        </p:txBody>
      </p:sp>
      <p:sp>
        <p:nvSpPr>
          <p:cNvPr id="26" name="Freeform 25"/>
          <p:cNvSpPr/>
          <p:nvPr/>
        </p:nvSpPr>
        <p:spPr>
          <a:xfrm>
            <a:off x="7506057"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27" name="Freeform 26"/>
          <p:cNvSpPr/>
          <p:nvPr/>
        </p:nvSpPr>
        <p:spPr>
          <a:xfrm>
            <a:off x="7718150"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chemeClr val="accent5"/>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Store</a:t>
            </a:r>
          </a:p>
        </p:txBody>
      </p:sp>
      <p:sp>
        <p:nvSpPr>
          <p:cNvPr id="28" name="Freeform 27"/>
          <p:cNvSpPr/>
          <p:nvPr/>
        </p:nvSpPr>
        <p:spPr>
          <a:xfrm>
            <a:off x="8495825" y="3769504"/>
            <a:ext cx="149879" cy="175330"/>
          </a:xfrm>
          <a:custGeom>
            <a:avLst/>
            <a:gdLst>
              <a:gd name="connsiteX0" fmla="*/ 0 w 199786"/>
              <a:gd name="connsiteY0" fmla="*/ 46742 h 233712"/>
              <a:gd name="connsiteX1" fmla="*/ 99893 w 199786"/>
              <a:gd name="connsiteY1" fmla="*/ 46742 h 233712"/>
              <a:gd name="connsiteX2" fmla="*/ 99893 w 199786"/>
              <a:gd name="connsiteY2" fmla="*/ 0 h 233712"/>
              <a:gd name="connsiteX3" fmla="*/ 199786 w 199786"/>
              <a:gd name="connsiteY3" fmla="*/ 116856 h 233712"/>
              <a:gd name="connsiteX4" fmla="*/ 99893 w 199786"/>
              <a:gd name="connsiteY4" fmla="*/ 233712 h 233712"/>
              <a:gd name="connsiteX5" fmla="*/ 99893 w 199786"/>
              <a:gd name="connsiteY5" fmla="*/ 186970 h 233712"/>
              <a:gd name="connsiteX6" fmla="*/ 0 w 199786"/>
              <a:gd name="connsiteY6" fmla="*/ 186970 h 233712"/>
              <a:gd name="connsiteX7" fmla="*/ 0 w 199786"/>
              <a:gd name="connsiteY7" fmla="*/ 46742 h 23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786" h="233712">
                <a:moveTo>
                  <a:pt x="0" y="46742"/>
                </a:moveTo>
                <a:lnTo>
                  <a:pt x="99893" y="46742"/>
                </a:lnTo>
                <a:lnTo>
                  <a:pt x="99893" y="0"/>
                </a:lnTo>
                <a:lnTo>
                  <a:pt x="199786" y="116856"/>
                </a:lnTo>
                <a:lnTo>
                  <a:pt x="99893" y="233712"/>
                </a:lnTo>
                <a:lnTo>
                  <a:pt x="99893" y="186970"/>
                </a:lnTo>
                <a:lnTo>
                  <a:pt x="0" y="186970"/>
                </a:lnTo>
                <a:lnTo>
                  <a:pt x="0" y="46742"/>
                </a:lnTo>
                <a:close/>
              </a:path>
            </a:pathLst>
          </a:cu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0" tIns="35066" rIns="44964" bIns="35066" numCol="1" spcCol="1270" anchor="ctr" anchorCtr="0">
            <a:noAutofit/>
          </a:bodyPr>
          <a:lstStyle/>
          <a:p>
            <a:pPr algn="ctr" defTabSz="333464">
              <a:lnSpc>
                <a:spcPct val="90000"/>
              </a:lnSpc>
              <a:spcBef>
                <a:spcPct val="0"/>
              </a:spcBef>
              <a:spcAft>
                <a:spcPct val="35000"/>
              </a:spcAft>
            </a:pPr>
            <a:endParaRPr lang="en-US" sz="750"/>
          </a:p>
        </p:txBody>
      </p:sp>
      <p:sp>
        <p:nvSpPr>
          <p:cNvPr id="29" name="Freeform 28"/>
          <p:cNvSpPr/>
          <p:nvPr/>
        </p:nvSpPr>
        <p:spPr>
          <a:xfrm>
            <a:off x="8707918" y="3645076"/>
            <a:ext cx="706977" cy="424186"/>
          </a:xfrm>
          <a:custGeom>
            <a:avLst/>
            <a:gdLst>
              <a:gd name="connsiteX0" fmla="*/ 0 w 942390"/>
              <a:gd name="connsiteY0" fmla="*/ 56543 h 565434"/>
              <a:gd name="connsiteX1" fmla="*/ 56543 w 942390"/>
              <a:gd name="connsiteY1" fmla="*/ 0 h 565434"/>
              <a:gd name="connsiteX2" fmla="*/ 885847 w 942390"/>
              <a:gd name="connsiteY2" fmla="*/ 0 h 565434"/>
              <a:gd name="connsiteX3" fmla="*/ 942390 w 942390"/>
              <a:gd name="connsiteY3" fmla="*/ 56543 h 565434"/>
              <a:gd name="connsiteX4" fmla="*/ 942390 w 942390"/>
              <a:gd name="connsiteY4" fmla="*/ 508891 h 565434"/>
              <a:gd name="connsiteX5" fmla="*/ 885847 w 942390"/>
              <a:gd name="connsiteY5" fmla="*/ 565434 h 565434"/>
              <a:gd name="connsiteX6" fmla="*/ 56543 w 942390"/>
              <a:gd name="connsiteY6" fmla="*/ 565434 h 565434"/>
              <a:gd name="connsiteX7" fmla="*/ 0 w 942390"/>
              <a:gd name="connsiteY7" fmla="*/ 508891 h 565434"/>
              <a:gd name="connsiteX8" fmla="*/ 0 w 942390"/>
              <a:gd name="connsiteY8" fmla="*/ 56543 h 5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2390" h="565434">
                <a:moveTo>
                  <a:pt x="0" y="56543"/>
                </a:moveTo>
                <a:cubicBezTo>
                  <a:pt x="0" y="25315"/>
                  <a:pt x="25315" y="0"/>
                  <a:pt x="56543" y="0"/>
                </a:cubicBezTo>
                <a:lnTo>
                  <a:pt x="885847" y="0"/>
                </a:lnTo>
                <a:cubicBezTo>
                  <a:pt x="917075" y="0"/>
                  <a:pt x="942390" y="25315"/>
                  <a:pt x="942390" y="56543"/>
                </a:cubicBezTo>
                <a:lnTo>
                  <a:pt x="942390" y="508891"/>
                </a:lnTo>
                <a:cubicBezTo>
                  <a:pt x="942390" y="540119"/>
                  <a:pt x="917075" y="565434"/>
                  <a:pt x="885847" y="565434"/>
                </a:cubicBezTo>
                <a:lnTo>
                  <a:pt x="56543" y="565434"/>
                </a:lnTo>
                <a:cubicBezTo>
                  <a:pt x="25315" y="565434"/>
                  <a:pt x="0" y="540119"/>
                  <a:pt x="0" y="508891"/>
                </a:cubicBezTo>
                <a:lnTo>
                  <a:pt x="0" y="56543"/>
                </a:lnTo>
                <a:close/>
              </a:path>
            </a:pathLst>
          </a:custGeom>
          <a:ln>
            <a:solidFill>
              <a:srgbClr val="78AA00"/>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2439" tIns="52439" rIns="52439" bIns="52439" numCol="1" spcCol="1270" anchor="ctr" anchorCtr="0">
            <a:noAutofit/>
          </a:bodyPr>
          <a:lstStyle/>
          <a:p>
            <a:pPr algn="ctr" defTabSz="466849">
              <a:lnSpc>
                <a:spcPct val="90000"/>
              </a:lnSpc>
              <a:spcBef>
                <a:spcPct val="0"/>
              </a:spcBef>
              <a:spcAft>
                <a:spcPct val="35000"/>
              </a:spcAft>
            </a:pPr>
            <a:r>
              <a:rPr lang="en-US" sz="1050" dirty="0"/>
              <a:t>Cluster</a:t>
            </a:r>
          </a:p>
        </p:txBody>
      </p:sp>
      <p:sp>
        <p:nvSpPr>
          <p:cNvPr id="43" name="Left Brace 42"/>
          <p:cNvSpPr/>
          <p:nvPr/>
        </p:nvSpPr>
        <p:spPr>
          <a:xfrm rot="5400000" flipV="1">
            <a:off x="3918897" y="2016001"/>
            <a:ext cx="394241" cy="2697141"/>
          </a:xfrm>
          <a:prstGeom prst="leftBrace">
            <a:avLst/>
          </a:prstGeom>
          <a:ln w="57150" cmpd="sng">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dirty="0"/>
          </a:p>
        </p:txBody>
      </p:sp>
      <p:sp>
        <p:nvSpPr>
          <p:cNvPr id="44" name="Left Brace 43"/>
          <p:cNvSpPr/>
          <p:nvPr/>
        </p:nvSpPr>
        <p:spPr>
          <a:xfrm rot="5400000" flipV="1">
            <a:off x="5887189" y="1719198"/>
            <a:ext cx="394241" cy="2704940"/>
          </a:xfrm>
          <a:prstGeom prst="leftBrac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dirty="0"/>
          </a:p>
        </p:txBody>
      </p:sp>
      <p:sp>
        <p:nvSpPr>
          <p:cNvPr id="4" name="TextBox 3"/>
          <p:cNvSpPr txBox="1"/>
          <p:nvPr/>
        </p:nvSpPr>
        <p:spPr>
          <a:xfrm>
            <a:off x="5351804" y="2504822"/>
            <a:ext cx="1529586" cy="369332"/>
          </a:xfrm>
          <a:prstGeom prst="rect">
            <a:avLst/>
          </a:prstGeom>
          <a:noFill/>
        </p:spPr>
        <p:txBody>
          <a:bodyPr wrap="none" rtlCol="0">
            <a:spAutoFit/>
          </a:bodyPr>
          <a:lstStyle/>
          <a:p>
            <a:r>
              <a:rPr lang="en-US" dirty="0"/>
              <a:t>Floor Planning</a:t>
            </a:r>
          </a:p>
        </p:txBody>
      </p:sp>
      <p:sp>
        <p:nvSpPr>
          <p:cNvPr id="45" name="TextBox 44"/>
          <p:cNvSpPr txBox="1"/>
          <p:nvPr/>
        </p:nvSpPr>
        <p:spPr>
          <a:xfrm>
            <a:off x="3321956" y="2705275"/>
            <a:ext cx="1598515" cy="369332"/>
          </a:xfrm>
          <a:prstGeom prst="rect">
            <a:avLst/>
          </a:prstGeom>
          <a:noFill/>
        </p:spPr>
        <p:txBody>
          <a:bodyPr wrap="none" rtlCol="0">
            <a:spAutoFit/>
          </a:bodyPr>
          <a:lstStyle/>
          <a:p>
            <a:r>
              <a:rPr lang="en-US" dirty="0"/>
              <a:t>Space Planning</a:t>
            </a:r>
          </a:p>
        </p:txBody>
      </p:sp>
      <p:sp>
        <p:nvSpPr>
          <p:cNvPr id="9" name="Left Brace 8"/>
          <p:cNvSpPr/>
          <p:nvPr/>
        </p:nvSpPr>
        <p:spPr>
          <a:xfrm rot="16200000">
            <a:off x="5894985" y="1750925"/>
            <a:ext cx="394241" cy="6649318"/>
          </a:xfrm>
          <a:prstGeom prst="leftBrace">
            <a:avLst/>
          </a:prstGeom>
          <a:ln w="57150" cmpd="sng">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dirty="0"/>
          </a:p>
        </p:txBody>
      </p:sp>
      <p:sp>
        <p:nvSpPr>
          <p:cNvPr id="10" name="TextBox 9"/>
          <p:cNvSpPr txBox="1"/>
          <p:nvPr/>
        </p:nvSpPr>
        <p:spPr>
          <a:xfrm>
            <a:off x="4807449" y="5297505"/>
            <a:ext cx="2604944" cy="369332"/>
          </a:xfrm>
          <a:prstGeom prst="rect">
            <a:avLst/>
          </a:prstGeom>
          <a:noFill/>
        </p:spPr>
        <p:txBody>
          <a:bodyPr wrap="none" rtlCol="0">
            <a:spAutoFit/>
          </a:bodyPr>
          <a:lstStyle/>
          <a:p>
            <a:r>
              <a:rPr lang="en-US" dirty="0"/>
              <a:t>Category Knowledge Base</a:t>
            </a:r>
          </a:p>
        </p:txBody>
      </p:sp>
      <p:sp>
        <p:nvSpPr>
          <p:cNvPr id="5" name="Freeform 4"/>
          <p:cNvSpPr/>
          <p:nvPr/>
        </p:nvSpPr>
        <p:spPr>
          <a:xfrm>
            <a:off x="3180590" y="4072668"/>
            <a:ext cx="952570" cy="319603"/>
          </a:xfrm>
          <a:custGeom>
            <a:avLst/>
            <a:gdLst>
              <a:gd name="connsiteX0" fmla="*/ 0 w 1298864"/>
              <a:gd name="connsiteY0" fmla="*/ 0 h 426027"/>
              <a:gd name="connsiteX1" fmla="*/ 0 w 1298864"/>
              <a:gd name="connsiteY1" fmla="*/ 426027 h 426027"/>
              <a:gd name="connsiteX2" fmla="*/ 1298864 w 1298864"/>
              <a:gd name="connsiteY2" fmla="*/ 426027 h 426027"/>
              <a:gd name="connsiteX3" fmla="*/ 1298864 w 1298864"/>
              <a:gd name="connsiteY3" fmla="*/ 0 h 426027"/>
              <a:gd name="connsiteX4" fmla="*/ 1298864 w 1298864"/>
              <a:gd name="connsiteY4" fmla="*/ 0 h 426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864" h="426027">
                <a:moveTo>
                  <a:pt x="0" y="0"/>
                </a:moveTo>
                <a:lnTo>
                  <a:pt x="0" y="426027"/>
                </a:lnTo>
                <a:lnTo>
                  <a:pt x="1298864" y="426027"/>
                </a:lnTo>
                <a:lnTo>
                  <a:pt x="1298864" y="0"/>
                </a:lnTo>
                <a:lnTo>
                  <a:pt x="1298864" y="0"/>
                </a:lnTo>
              </a:path>
            </a:pathLst>
          </a:custGeom>
          <a:noFill/>
          <a:ln w="31750">
            <a:solidFill>
              <a:schemeClr val="accent1"/>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TextBox 12"/>
          <p:cNvSpPr txBox="1"/>
          <p:nvPr/>
        </p:nvSpPr>
        <p:spPr>
          <a:xfrm>
            <a:off x="3191507" y="4156692"/>
            <a:ext cx="976549" cy="253916"/>
          </a:xfrm>
          <a:prstGeom prst="rect">
            <a:avLst/>
          </a:prstGeom>
          <a:noFill/>
        </p:spPr>
        <p:txBody>
          <a:bodyPr wrap="none" rtlCol="0">
            <a:spAutoFit/>
          </a:bodyPr>
          <a:lstStyle/>
          <a:p>
            <a:r>
              <a:rPr lang="en-US" sz="1050" dirty="0"/>
              <a:t>Space Position</a:t>
            </a:r>
          </a:p>
        </p:txBody>
      </p:sp>
      <p:sp>
        <p:nvSpPr>
          <p:cNvPr id="14" name="Freeform 13"/>
          <p:cNvSpPr/>
          <p:nvPr/>
        </p:nvSpPr>
        <p:spPr>
          <a:xfrm>
            <a:off x="2898912" y="4070104"/>
            <a:ext cx="1972189" cy="772019"/>
          </a:xfrm>
          <a:custGeom>
            <a:avLst/>
            <a:gdLst>
              <a:gd name="connsiteX0" fmla="*/ 0 w 1298864"/>
              <a:gd name="connsiteY0" fmla="*/ 0 h 426027"/>
              <a:gd name="connsiteX1" fmla="*/ 0 w 1298864"/>
              <a:gd name="connsiteY1" fmla="*/ 426027 h 426027"/>
              <a:gd name="connsiteX2" fmla="*/ 1298864 w 1298864"/>
              <a:gd name="connsiteY2" fmla="*/ 426027 h 426027"/>
              <a:gd name="connsiteX3" fmla="*/ 1298864 w 1298864"/>
              <a:gd name="connsiteY3" fmla="*/ 0 h 426027"/>
              <a:gd name="connsiteX4" fmla="*/ 1298864 w 1298864"/>
              <a:gd name="connsiteY4" fmla="*/ 0 h 426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864" h="426027">
                <a:moveTo>
                  <a:pt x="0" y="0"/>
                </a:moveTo>
                <a:lnTo>
                  <a:pt x="0" y="426027"/>
                </a:lnTo>
                <a:lnTo>
                  <a:pt x="1298864" y="426027"/>
                </a:lnTo>
                <a:lnTo>
                  <a:pt x="1298864" y="0"/>
                </a:lnTo>
                <a:lnTo>
                  <a:pt x="1298864" y="0"/>
                </a:lnTo>
              </a:path>
            </a:pathLst>
          </a:custGeom>
          <a:noFill/>
          <a:ln w="31750">
            <a:solidFill>
              <a:schemeClr val="accent1"/>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5" name="TextBox 14"/>
          <p:cNvSpPr txBox="1"/>
          <p:nvPr/>
        </p:nvSpPr>
        <p:spPr>
          <a:xfrm>
            <a:off x="3288172" y="4611229"/>
            <a:ext cx="1245854" cy="253916"/>
          </a:xfrm>
          <a:prstGeom prst="rect">
            <a:avLst/>
          </a:prstGeom>
          <a:noFill/>
        </p:spPr>
        <p:txBody>
          <a:bodyPr wrap="none" rtlCol="0">
            <a:spAutoFit/>
          </a:bodyPr>
          <a:lstStyle/>
          <a:p>
            <a:r>
              <a:rPr lang="en-US" sz="1050" dirty="0"/>
              <a:t>Space Performance</a:t>
            </a:r>
          </a:p>
        </p:txBody>
      </p:sp>
      <p:sp>
        <p:nvSpPr>
          <p:cNvPr id="16" name="Freeform 15"/>
          <p:cNvSpPr/>
          <p:nvPr/>
        </p:nvSpPr>
        <p:spPr>
          <a:xfrm>
            <a:off x="5329473" y="4070104"/>
            <a:ext cx="952570" cy="319603"/>
          </a:xfrm>
          <a:custGeom>
            <a:avLst/>
            <a:gdLst>
              <a:gd name="connsiteX0" fmla="*/ 0 w 1298864"/>
              <a:gd name="connsiteY0" fmla="*/ 0 h 426027"/>
              <a:gd name="connsiteX1" fmla="*/ 0 w 1298864"/>
              <a:gd name="connsiteY1" fmla="*/ 426027 h 426027"/>
              <a:gd name="connsiteX2" fmla="*/ 1298864 w 1298864"/>
              <a:gd name="connsiteY2" fmla="*/ 426027 h 426027"/>
              <a:gd name="connsiteX3" fmla="*/ 1298864 w 1298864"/>
              <a:gd name="connsiteY3" fmla="*/ 0 h 426027"/>
              <a:gd name="connsiteX4" fmla="*/ 1298864 w 1298864"/>
              <a:gd name="connsiteY4" fmla="*/ 0 h 426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864" h="426027">
                <a:moveTo>
                  <a:pt x="0" y="0"/>
                </a:moveTo>
                <a:lnTo>
                  <a:pt x="0" y="426027"/>
                </a:lnTo>
                <a:lnTo>
                  <a:pt x="1298864" y="426027"/>
                </a:lnTo>
                <a:lnTo>
                  <a:pt x="1298864" y="0"/>
                </a:lnTo>
                <a:lnTo>
                  <a:pt x="1298864" y="0"/>
                </a:lnTo>
              </a:path>
            </a:pathLst>
          </a:custGeom>
          <a:noFill/>
          <a:ln w="31750">
            <a:solidFill>
              <a:schemeClr val="accent1"/>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TextBox 16"/>
          <p:cNvSpPr txBox="1"/>
          <p:nvPr/>
        </p:nvSpPr>
        <p:spPr>
          <a:xfrm>
            <a:off x="5378729" y="4161572"/>
            <a:ext cx="899605" cy="253916"/>
          </a:xfrm>
          <a:prstGeom prst="rect">
            <a:avLst/>
          </a:prstGeom>
          <a:noFill/>
        </p:spPr>
        <p:txBody>
          <a:bodyPr wrap="none" rtlCol="0">
            <a:spAutoFit/>
          </a:bodyPr>
          <a:lstStyle/>
          <a:p>
            <a:r>
              <a:rPr lang="en-US" sz="1050" dirty="0"/>
              <a:t>Floor Section</a:t>
            </a:r>
          </a:p>
        </p:txBody>
      </p:sp>
      <p:sp>
        <p:nvSpPr>
          <p:cNvPr id="18" name="Freeform 17"/>
          <p:cNvSpPr/>
          <p:nvPr/>
        </p:nvSpPr>
        <p:spPr>
          <a:xfrm>
            <a:off x="5098215" y="4070104"/>
            <a:ext cx="1972189" cy="772019"/>
          </a:xfrm>
          <a:custGeom>
            <a:avLst/>
            <a:gdLst>
              <a:gd name="connsiteX0" fmla="*/ 0 w 1298864"/>
              <a:gd name="connsiteY0" fmla="*/ 0 h 426027"/>
              <a:gd name="connsiteX1" fmla="*/ 0 w 1298864"/>
              <a:gd name="connsiteY1" fmla="*/ 426027 h 426027"/>
              <a:gd name="connsiteX2" fmla="*/ 1298864 w 1298864"/>
              <a:gd name="connsiteY2" fmla="*/ 426027 h 426027"/>
              <a:gd name="connsiteX3" fmla="*/ 1298864 w 1298864"/>
              <a:gd name="connsiteY3" fmla="*/ 0 h 426027"/>
              <a:gd name="connsiteX4" fmla="*/ 1298864 w 1298864"/>
              <a:gd name="connsiteY4" fmla="*/ 0 h 426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864" h="426027">
                <a:moveTo>
                  <a:pt x="0" y="0"/>
                </a:moveTo>
                <a:lnTo>
                  <a:pt x="0" y="426027"/>
                </a:lnTo>
                <a:lnTo>
                  <a:pt x="1298864" y="426027"/>
                </a:lnTo>
                <a:lnTo>
                  <a:pt x="1298864" y="0"/>
                </a:lnTo>
                <a:lnTo>
                  <a:pt x="1298864" y="0"/>
                </a:lnTo>
              </a:path>
            </a:pathLst>
          </a:custGeom>
          <a:noFill/>
          <a:ln w="31750">
            <a:solidFill>
              <a:schemeClr val="accent1"/>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9" name="TextBox 18"/>
          <p:cNvSpPr txBox="1"/>
          <p:nvPr/>
        </p:nvSpPr>
        <p:spPr>
          <a:xfrm>
            <a:off x="5515111" y="4611229"/>
            <a:ext cx="1204176" cy="253916"/>
          </a:xfrm>
          <a:prstGeom prst="rect">
            <a:avLst/>
          </a:prstGeom>
          <a:noFill/>
        </p:spPr>
        <p:txBody>
          <a:bodyPr wrap="none" rtlCol="0">
            <a:spAutoFit/>
          </a:bodyPr>
          <a:lstStyle/>
          <a:p>
            <a:r>
              <a:rPr lang="en-US" sz="1050" dirty="0"/>
              <a:t>Floor Performance</a:t>
            </a:r>
          </a:p>
        </p:txBody>
      </p:sp>
      <p:sp>
        <p:nvSpPr>
          <p:cNvPr id="2" name="Rectangle 1"/>
          <p:cNvSpPr/>
          <p:nvPr/>
        </p:nvSpPr>
        <p:spPr>
          <a:xfrm>
            <a:off x="3538502" y="3766787"/>
            <a:ext cx="158362" cy="1803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2" name="Rectangle 31"/>
          <p:cNvSpPr/>
          <p:nvPr/>
        </p:nvSpPr>
        <p:spPr>
          <a:xfrm>
            <a:off x="5522279" y="3758385"/>
            <a:ext cx="158362" cy="1803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 name="TextBox 2"/>
          <p:cNvSpPr txBox="1"/>
          <p:nvPr/>
        </p:nvSpPr>
        <p:spPr>
          <a:xfrm>
            <a:off x="4429969" y="1800646"/>
            <a:ext cx="3383427" cy="461793"/>
          </a:xfrm>
          <a:prstGeom prst="rect">
            <a:avLst/>
          </a:prstGeom>
          <a:noFill/>
        </p:spPr>
        <p:txBody>
          <a:bodyPr wrap="none" rtlCol="0">
            <a:spAutoFit/>
          </a:bodyPr>
          <a:lstStyle/>
          <a:p>
            <a:r>
              <a:rPr lang="en-US" sz="2401" b="1" dirty="0">
                <a:solidFill>
                  <a:schemeClr val="accent3"/>
                </a:solidFill>
              </a:rPr>
              <a:t>CKB Object Relationships</a:t>
            </a:r>
          </a:p>
        </p:txBody>
      </p:sp>
      <p:grpSp>
        <p:nvGrpSpPr>
          <p:cNvPr id="34" name="Group 33"/>
          <p:cNvGrpSpPr/>
          <p:nvPr/>
        </p:nvGrpSpPr>
        <p:grpSpPr>
          <a:xfrm>
            <a:off x="8703251" y="2193645"/>
            <a:ext cx="1600200" cy="1214177"/>
            <a:chOff x="266700" y="4943475"/>
            <a:chExt cx="1600200" cy="1618481"/>
          </a:xfrm>
        </p:grpSpPr>
        <p:sp>
          <p:nvSpPr>
            <p:cNvPr id="35" name="Line 7"/>
            <p:cNvSpPr>
              <a:spLocks noChangeShapeType="1"/>
            </p:cNvSpPr>
            <p:nvPr/>
          </p:nvSpPr>
          <p:spPr bwMode="auto">
            <a:xfrm>
              <a:off x="266700" y="6543675"/>
              <a:ext cx="1600200" cy="1588"/>
            </a:xfrm>
            <a:prstGeom prst="line">
              <a:avLst/>
            </a:prstGeom>
            <a:noFill/>
            <a:ln w="25400" cap="flat">
              <a:solidFill>
                <a:srgbClr val="0070C0"/>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350"/>
            </a:p>
          </p:txBody>
        </p:sp>
        <p:sp>
          <p:nvSpPr>
            <p:cNvPr id="36" name="Rectangle 8"/>
            <p:cNvSpPr>
              <a:spLocks/>
            </p:cNvSpPr>
            <p:nvPr/>
          </p:nvSpPr>
          <p:spPr bwMode="auto">
            <a:xfrm>
              <a:off x="824426" y="6238875"/>
              <a:ext cx="484750" cy="32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30481" bIns="0">
              <a:spAutoFit/>
            </a:bodyPr>
            <a:lstStyle/>
            <a:p>
              <a:pPr marL="39692" algn="ctr"/>
              <a:r>
                <a:rPr lang="en-US" sz="1575" b="1" dirty="0">
                  <a:solidFill>
                    <a:schemeClr val="accent2"/>
                  </a:solidFill>
                  <a:ea typeface="Arial Narrow" charset="0"/>
                  <a:cs typeface="Arial Narrow" charset="0"/>
                  <a:sym typeface="Arial Narrow" charset="0"/>
                </a:rPr>
                <a:t>Time</a:t>
              </a:r>
            </a:p>
          </p:txBody>
        </p:sp>
        <p:sp>
          <p:nvSpPr>
            <p:cNvPr id="37" name="Line 10"/>
            <p:cNvSpPr>
              <a:spLocks noChangeShapeType="1"/>
            </p:cNvSpPr>
            <p:nvPr/>
          </p:nvSpPr>
          <p:spPr bwMode="auto">
            <a:xfrm rot="10800000" flipH="1">
              <a:off x="266700" y="4943475"/>
              <a:ext cx="0" cy="1600200"/>
            </a:xfrm>
            <a:prstGeom prst="line">
              <a:avLst/>
            </a:prstGeom>
            <a:noFill/>
            <a:ln w="25400" cap="flat">
              <a:solidFill>
                <a:srgbClr val="0070C0"/>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350"/>
            </a:p>
          </p:txBody>
        </p:sp>
        <p:sp>
          <p:nvSpPr>
            <p:cNvPr id="38" name="Rectangle 11"/>
            <p:cNvSpPr>
              <a:spLocks/>
            </p:cNvSpPr>
            <p:nvPr/>
          </p:nvSpPr>
          <p:spPr bwMode="auto">
            <a:xfrm rot="16200000">
              <a:off x="-82798" y="5622388"/>
              <a:ext cx="1041897"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30481" bIns="0">
              <a:spAutoFit/>
            </a:bodyPr>
            <a:lstStyle/>
            <a:p>
              <a:pPr marL="39692" algn="ctr"/>
              <a:r>
                <a:rPr lang="en-US" sz="1575" b="1" dirty="0">
                  <a:solidFill>
                    <a:schemeClr val="accent2"/>
                  </a:solidFill>
                  <a:ea typeface="Arial Narrow" charset="0"/>
                  <a:cs typeface="Arial Narrow" charset="0"/>
                  <a:sym typeface="Arial Narrow" charset="0"/>
                </a:rPr>
                <a:t>Lifecycle</a:t>
              </a:r>
            </a:p>
          </p:txBody>
        </p:sp>
      </p:grpSp>
      <p:sp>
        <p:nvSpPr>
          <p:cNvPr id="39" name="TextBox 38"/>
          <p:cNvSpPr txBox="1"/>
          <p:nvPr/>
        </p:nvSpPr>
        <p:spPr>
          <a:xfrm>
            <a:off x="8968984" y="2031013"/>
            <a:ext cx="2103680" cy="1408086"/>
          </a:xfrm>
          <a:prstGeom prst="rect">
            <a:avLst/>
          </a:prstGeom>
          <a:noFill/>
        </p:spPr>
        <p:txBody>
          <a:bodyPr wrap="square" lIns="91448" tIns="45724" rIns="91448" bIns="45724" rtlCol="0">
            <a:spAutoFit/>
          </a:bodyPr>
          <a:lstStyle/>
          <a:p>
            <a:pPr>
              <a:buClr>
                <a:schemeClr val="accent3"/>
              </a:buClr>
              <a:buFont typeface="Arial" pitchFamily="34" charset="0"/>
              <a:buChar char="•"/>
            </a:pPr>
            <a:r>
              <a:rPr lang="en-US" sz="1425" dirty="0"/>
              <a:t>Work In Progress</a:t>
            </a:r>
          </a:p>
          <a:p>
            <a:pPr>
              <a:buClr>
                <a:schemeClr val="accent3"/>
              </a:buClr>
              <a:buFont typeface="Arial" pitchFamily="34" charset="0"/>
              <a:buChar char="•"/>
            </a:pPr>
            <a:r>
              <a:rPr lang="en-US" sz="1425" dirty="0"/>
              <a:t>Pending</a:t>
            </a:r>
          </a:p>
          <a:p>
            <a:pPr>
              <a:buClr>
                <a:schemeClr val="accent3"/>
              </a:buClr>
              <a:buFont typeface="Arial" pitchFamily="34" charset="0"/>
              <a:buChar char="•"/>
            </a:pPr>
            <a:r>
              <a:rPr lang="en-US" sz="1425" dirty="0"/>
              <a:t>Live</a:t>
            </a:r>
          </a:p>
          <a:p>
            <a:pPr>
              <a:buClr>
                <a:schemeClr val="accent3"/>
              </a:buClr>
              <a:buFont typeface="Arial" pitchFamily="34" charset="0"/>
              <a:buChar char="•"/>
            </a:pPr>
            <a:r>
              <a:rPr lang="en-US" sz="1425" dirty="0"/>
              <a:t>Historic</a:t>
            </a:r>
          </a:p>
          <a:p>
            <a:pPr>
              <a:buClr>
                <a:schemeClr val="accent3"/>
              </a:buClr>
              <a:buFont typeface="Arial" pitchFamily="34" charset="0"/>
              <a:buChar char="•"/>
            </a:pPr>
            <a:r>
              <a:rPr lang="en-US" sz="1425" dirty="0"/>
              <a:t>Analysis</a:t>
            </a:r>
          </a:p>
          <a:p>
            <a:pPr>
              <a:buClr>
                <a:schemeClr val="accent3"/>
              </a:buClr>
              <a:buFont typeface="Arial" pitchFamily="34" charset="0"/>
              <a:buChar char="•"/>
            </a:pPr>
            <a:endParaRPr lang="en-US" sz="1425" dirty="0" err="1"/>
          </a:p>
        </p:txBody>
      </p:sp>
      <p:sp>
        <p:nvSpPr>
          <p:cNvPr id="40" name="Title 3"/>
          <p:cNvSpPr txBox="1">
            <a:spLocks/>
          </p:cNvSpPr>
          <p:nvPr/>
        </p:nvSpPr>
        <p:spPr>
          <a:xfrm>
            <a:off x="1954686" y="120029"/>
            <a:ext cx="6856697" cy="1005840"/>
          </a:xfrm>
          <a:prstGeom prst="rect">
            <a:avLst/>
          </a:prstGeom>
        </p:spPr>
        <p:txBody>
          <a:bodyPr vert="horz" lIns="0" tIns="45720" rIns="0" bIns="45720" rtlCol="0" anchor="t">
            <a:noAutofit/>
          </a:bodyPr>
          <a:lstStyle>
            <a:lvl1pPr algn="l" defTabSz="342991" rtl="0" eaLnBrk="1" latinLnBrk="0" hangingPunct="1">
              <a:lnSpc>
                <a:spcPct val="80000"/>
              </a:lnSpc>
              <a:spcBef>
                <a:spcPct val="0"/>
              </a:spcBef>
              <a:buNone/>
              <a:defRPr sz="2701" kern="1200">
                <a:solidFill>
                  <a:schemeClr val="bg1"/>
                </a:solidFill>
                <a:latin typeface="+mj-lt"/>
                <a:ea typeface="+mj-ea"/>
                <a:cs typeface="+mj-cs"/>
              </a:defRPr>
            </a:lvl1pPr>
          </a:lstStyle>
          <a:p>
            <a:r>
              <a:rPr lang="en-US" b="1" dirty="0">
                <a:solidFill>
                  <a:schemeClr val="tx1"/>
                </a:solidFill>
              </a:rPr>
              <a:t>Category Knowledge Base – Data Structure</a:t>
            </a:r>
            <a:endParaRPr lang="en-GB" b="1" dirty="0">
              <a:solidFill>
                <a:schemeClr val="tx1"/>
              </a:solidFill>
            </a:endParaRPr>
          </a:p>
        </p:txBody>
      </p:sp>
    </p:spTree>
    <p:extLst>
      <p:ext uri="{BB962C8B-B14F-4D97-AF65-F5344CB8AC3E}">
        <p14:creationId xmlns:p14="http://schemas.microsoft.com/office/powerpoint/2010/main" val="128347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wipe(down)">
                                      <p:cBhvr>
                                        <p:cTn id="65" dur="500"/>
                                        <p:tgtEl>
                                          <p:spTgt spid="43"/>
                                        </p:tgtEl>
                                      </p:cBhvr>
                                    </p:animEffect>
                                  </p:childTnLst>
                                </p:cTn>
                              </p:par>
                            </p:childTnLst>
                          </p:cTn>
                        </p:par>
                        <p:par>
                          <p:cTn id="66" fill="hold">
                            <p:stCondLst>
                              <p:cond delay="500"/>
                            </p:stCondLst>
                            <p:childTnLst>
                              <p:par>
                                <p:cTn id="67" presetID="10" presetClass="entr" presetSubtype="0" fill="hold" grpId="0" nodeType="after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500"/>
                                        <p:tgtEl>
                                          <p:spTgt spid="45"/>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8" fill="hold" grpId="0" nodeType="click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wipe(left)">
                                      <p:cBhvr>
                                        <p:cTn id="74" dur="500"/>
                                        <p:tgtEl>
                                          <p:spTgt spid="5"/>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wipe(left)">
                                      <p:cBhvr>
                                        <p:cTn id="77" dur="500"/>
                                        <p:tgtEl>
                                          <p:spTgt spid="2"/>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13"/>
                                        </p:tgtEl>
                                        <p:attrNameLst>
                                          <p:attrName>style.visibility</p:attrName>
                                        </p:attrNameLst>
                                      </p:cBhvr>
                                      <p:to>
                                        <p:strVal val="visible"/>
                                      </p:to>
                                    </p:set>
                                    <p:animEffect transition="in" filter="fade">
                                      <p:cBhvr>
                                        <p:cTn id="81" dur="500"/>
                                        <p:tgtEl>
                                          <p:spTgt spid="13"/>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grpId="0" nodeType="clickEffect">
                                  <p:stCondLst>
                                    <p:cond delay="0"/>
                                  </p:stCondLst>
                                  <p:childTnLst>
                                    <p:set>
                                      <p:cBhvr>
                                        <p:cTn id="85" dur="1" fill="hold">
                                          <p:stCondLst>
                                            <p:cond delay="0"/>
                                          </p:stCondLst>
                                        </p:cTn>
                                        <p:tgtEl>
                                          <p:spTgt spid="14"/>
                                        </p:tgtEl>
                                        <p:attrNameLst>
                                          <p:attrName>style.visibility</p:attrName>
                                        </p:attrNameLst>
                                      </p:cBhvr>
                                      <p:to>
                                        <p:strVal val="visible"/>
                                      </p:to>
                                    </p:set>
                                    <p:animEffect transition="in" filter="wipe(left)">
                                      <p:cBhvr>
                                        <p:cTn id="86" dur="500"/>
                                        <p:tgtEl>
                                          <p:spTgt spid="14"/>
                                        </p:tgtEl>
                                      </p:cBhvr>
                                    </p:animEffect>
                                  </p:childTnLst>
                                </p:cTn>
                              </p:par>
                            </p:childTnLst>
                          </p:cTn>
                        </p:par>
                        <p:par>
                          <p:cTn id="87" fill="hold">
                            <p:stCondLst>
                              <p:cond delay="500"/>
                            </p:stCondLst>
                            <p:childTnLst>
                              <p:par>
                                <p:cTn id="88" presetID="10" presetClass="entr" presetSubtype="0" fill="hold" grpId="0" nodeType="after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fade">
                                      <p:cBhvr>
                                        <p:cTn id="90" dur="500"/>
                                        <p:tgtEl>
                                          <p:spTgt spid="15"/>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4" fill="hold" grpId="0" nodeType="clickEffect">
                                  <p:stCondLst>
                                    <p:cond delay="0"/>
                                  </p:stCondLst>
                                  <p:childTnLst>
                                    <p:set>
                                      <p:cBhvr>
                                        <p:cTn id="94" dur="1" fill="hold">
                                          <p:stCondLst>
                                            <p:cond delay="0"/>
                                          </p:stCondLst>
                                        </p:cTn>
                                        <p:tgtEl>
                                          <p:spTgt spid="44"/>
                                        </p:tgtEl>
                                        <p:attrNameLst>
                                          <p:attrName>style.visibility</p:attrName>
                                        </p:attrNameLst>
                                      </p:cBhvr>
                                      <p:to>
                                        <p:strVal val="visible"/>
                                      </p:to>
                                    </p:set>
                                    <p:animEffect transition="in" filter="wipe(down)">
                                      <p:cBhvr>
                                        <p:cTn id="95" dur="500"/>
                                        <p:tgtEl>
                                          <p:spTgt spid="44"/>
                                        </p:tgtEl>
                                      </p:cBhvr>
                                    </p:animEffect>
                                  </p:childTnLst>
                                </p:cTn>
                              </p:par>
                            </p:childTnLst>
                          </p:cTn>
                        </p:par>
                        <p:par>
                          <p:cTn id="96" fill="hold">
                            <p:stCondLst>
                              <p:cond delay="500"/>
                            </p:stCondLst>
                            <p:childTnLst>
                              <p:par>
                                <p:cTn id="97" presetID="10" presetClass="entr" presetSubtype="0" fill="hold" grpId="0" nodeType="afterEffect">
                                  <p:stCondLst>
                                    <p:cond delay="0"/>
                                  </p:stCondLst>
                                  <p:childTnLst>
                                    <p:set>
                                      <p:cBhvr>
                                        <p:cTn id="98" dur="1" fill="hold">
                                          <p:stCondLst>
                                            <p:cond delay="0"/>
                                          </p:stCondLst>
                                        </p:cTn>
                                        <p:tgtEl>
                                          <p:spTgt spid="4"/>
                                        </p:tgtEl>
                                        <p:attrNameLst>
                                          <p:attrName>style.visibility</p:attrName>
                                        </p:attrNameLst>
                                      </p:cBhvr>
                                      <p:to>
                                        <p:strVal val="visible"/>
                                      </p:to>
                                    </p:set>
                                    <p:animEffect transition="in" filter="fade">
                                      <p:cBhvr>
                                        <p:cTn id="99" dur="500"/>
                                        <p:tgtEl>
                                          <p:spTgt spid="4"/>
                                        </p:tgtEl>
                                      </p:cBhvr>
                                    </p:animEffect>
                                  </p:childTnLst>
                                </p:cTn>
                              </p:par>
                            </p:childTnLst>
                          </p:cTn>
                        </p:par>
                      </p:childTnLst>
                    </p:cTn>
                  </p:par>
                  <p:par>
                    <p:cTn id="100" fill="hold">
                      <p:stCondLst>
                        <p:cond delay="indefinite"/>
                      </p:stCondLst>
                      <p:childTnLst>
                        <p:par>
                          <p:cTn id="101" fill="hold">
                            <p:stCondLst>
                              <p:cond delay="0"/>
                            </p:stCondLst>
                            <p:childTnLst>
                              <p:par>
                                <p:cTn id="102" presetID="22" presetClass="entr" presetSubtype="8" fill="hold" grpId="0" nodeType="clickEffect">
                                  <p:stCondLst>
                                    <p:cond delay="0"/>
                                  </p:stCondLst>
                                  <p:childTnLst>
                                    <p:set>
                                      <p:cBhvr>
                                        <p:cTn id="103" dur="1" fill="hold">
                                          <p:stCondLst>
                                            <p:cond delay="0"/>
                                          </p:stCondLst>
                                        </p:cTn>
                                        <p:tgtEl>
                                          <p:spTgt spid="16"/>
                                        </p:tgtEl>
                                        <p:attrNameLst>
                                          <p:attrName>style.visibility</p:attrName>
                                        </p:attrNameLst>
                                      </p:cBhvr>
                                      <p:to>
                                        <p:strVal val="visible"/>
                                      </p:to>
                                    </p:set>
                                    <p:animEffect transition="in" filter="wipe(left)">
                                      <p:cBhvr>
                                        <p:cTn id="104" dur="500"/>
                                        <p:tgtEl>
                                          <p:spTgt spid="16"/>
                                        </p:tgtEl>
                                      </p:cBhvr>
                                    </p:animEffect>
                                  </p:childTnLst>
                                </p:cTn>
                              </p:par>
                              <p:par>
                                <p:cTn id="105" presetID="22" presetClass="entr" presetSubtype="8" fill="hold" grpId="0" nodeType="withEffect">
                                  <p:stCondLst>
                                    <p:cond delay="0"/>
                                  </p:stCondLst>
                                  <p:childTnLst>
                                    <p:set>
                                      <p:cBhvr>
                                        <p:cTn id="106" dur="1" fill="hold">
                                          <p:stCondLst>
                                            <p:cond delay="0"/>
                                          </p:stCondLst>
                                        </p:cTn>
                                        <p:tgtEl>
                                          <p:spTgt spid="32"/>
                                        </p:tgtEl>
                                        <p:attrNameLst>
                                          <p:attrName>style.visibility</p:attrName>
                                        </p:attrNameLst>
                                      </p:cBhvr>
                                      <p:to>
                                        <p:strVal val="visible"/>
                                      </p:to>
                                    </p:set>
                                    <p:animEffect transition="in" filter="wipe(left)">
                                      <p:cBhvr>
                                        <p:cTn id="107" dur="500"/>
                                        <p:tgtEl>
                                          <p:spTgt spid="32"/>
                                        </p:tgtEl>
                                      </p:cBhvr>
                                    </p:animEffect>
                                  </p:childTnLst>
                                </p:cTn>
                              </p:par>
                            </p:childTnLst>
                          </p:cTn>
                        </p:par>
                        <p:par>
                          <p:cTn id="108" fill="hold">
                            <p:stCondLst>
                              <p:cond delay="500"/>
                            </p:stCondLst>
                            <p:childTnLst>
                              <p:par>
                                <p:cTn id="109" presetID="10" presetClass="entr" presetSubtype="0" fill="hold" grpId="0" nodeType="afterEffect">
                                  <p:stCondLst>
                                    <p:cond delay="0"/>
                                  </p:stCondLst>
                                  <p:childTnLst>
                                    <p:set>
                                      <p:cBhvr>
                                        <p:cTn id="110" dur="1" fill="hold">
                                          <p:stCondLst>
                                            <p:cond delay="0"/>
                                          </p:stCondLst>
                                        </p:cTn>
                                        <p:tgtEl>
                                          <p:spTgt spid="17"/>
                                        </p:tgtEl>
                                        <p:attrNameLst>
                                          <p:attrName>style.visibility</p:attrName>
                                        </p:attrNameLst>
                                      </p:cBhvr>
                                      <p:to>
                                        <p:strVal val="visible"/>
                                      </p:to>
                                    </p:set>
                                    <p:animEffect transition="in" filter="fade">
                                      <p:cBhvr>
                                        <p:cTn id="111" dur="500"/>
                                        <p:tgtEl>
                                          <p:spTgt spid="17"/>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8" fill="hold" grpId="0" nodeType="clickEffect">
                                  <p:stCondLst>
                                    <p:cond delay="0"/>
                                  </p:stCondLst>
                                  <p:childTnLst>
                                    <p:set>
                                      <p:cBhvr>
                                        <p:cTn id="115" dur="1" fill="hold">
                                          <p:stCondLst>
                                            <p:cond delay="0"/>
                                          </p:stCondLst>
                                        </p:cTn>
                                        <p:tgtEl>
                                          <p:spTgt spid="18"/>
                                        </p:tgtEl>
                                        <p:attrNameLst>
                                          <p:attrName>style.visibility</p:attrName>
                                        </p:attrNameLst>
                                      </p:cBhvr>
                                      <p:to>
                                        <p:strVal val="visible"/>
                                      </p:to>
                                    </p:set>
                                    <p:animEffect transition="in" filter="wipe(left)">
                                      <p:cBhvr>
                                        <p:cTn id="116" dur="500"/>
                                        <p:tgtEl>
                                          <p:spTgt spid="18"/>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19"/>
                                        </p:tgtEl>
                                        <p:attrNameLst>
                                          <p:attrName>style.visibility</p:attrName>
                                        </p:attrNameLst>
                                      </p:cBhvr>
                                      <p:to>
                                        <p:strVal val="visible"/>
                                      </p:to>
                                    </p:set>
                                    <p:animEffect transition="in" filter="fade">
                                      <p:cBhvr>
                                        <p:cTn id="120" dur="500"/>
                                        <p:tgtEl>
                                          <p:spTgt spid="19"/>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9"/>
                                        </p:tgtEl>
                                        <p:attrNameLst>
                                          <p:attrName>style.visibility</p:attrName>
                                        </p:attrNameLst>
                                      </p:cBhvr>
                                      <p:to>
                                        <p:strVal val="visible"/>
                                      </p:to>
                                    </p:set>
                                    <p:animEffect transition="in" filter="wipe(up)">
                                      <p:cBhvr>
                                        <p:cTn id="125" dur="500"/>
                                        <p:tgtEl>
                                          <p:spTgt spid="9"/>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0"/>
                                        </p:tgtEl>
                                        <p:attrNameLst>
                                          <p:attrName>style.visibility</p:attrName>
                                        </p:attrNameLst>
                                      </p:cBhvr>
                                      <p:to>
                                        <p:strVal val="visible"/>
                                      </p:to>
                                    </p:set>
                                    <p:animEffect transition="in" filter="fade">
                                      <p:cBhvr>
                                        <p:cTn id="129" dur="500"/>
                                        <p:tgtEl>
                                          <p:spTgt spid="10"/>
                                        </p:tgtEl>
                                      </p:cBhvr>
                                    </p:animEffect>
                                  </p:childTnLst>
                                </p:cTn>
                              </p:par>
                            </p:childTnLst>
                          </p:cTn>
                        </p:par>
                      </p:childTnLst>
                    </p:cTn>
                  </p:par>
                  <p:par>
                    <p:cTn id="130" fill="hold">
                      <p:stCondLst>
                        <p:cond delay="indefinite"/>
                      </p:stCondLst>
                      <p:childTnLst>
                        <p:par>
                          <p:cTn id="131" fill="hold">
                            <p:stCondLst>
                              <p:cond delay="0"/>
                            </p:stCondLst>
                            <p:childTnLst>
                              <p:par>
                                <p:cTn id="132" presetID="1" presetClass="entr" presetSubtype="0" fill="hold" grpId="0" nodeType="clickEffect">
                                  <p:stCondLst>
                                    <p:cond delay="0"/>
                                  </p:stCondLst>
                                  <p:childTnLst>
                                    <p:set>
                                      <p:cBhvr>
                                        <p:cTn id="133" dur="1" fill="hold">
                                          <p:stCondLst>
                                            <p:cond delay="0"/>
                                          </p:stCondLst>
                                        </p:cTn>
                                        <p:tgtEl>
                                          <p:spTgt spid="39"/>
                                        </p:tgtEl>
                                        <p:attrNameLst>
                                          <p:attrName>style.visibility</p:attrName>
                                        </p:attrNameLst>
                                      </p:cBhvr>
                                      <p:to>
                                        <p:strVal val="visible"/>
                                      </p:to>
                                    </p:set>
                                  </p:childTnLst>
                                </p:cTn>
                              </p:par>
                              <p:par>
                                <p:cTn id="134" presetID="1" presetClass="entr" presetSubtype="0" fill="hold" nodeType="withEffect">
                                  <p:stCondLst>
                                    <p:cond delay="0"/>
                                  </p:stCondLst>
                                  <p:childTnLst>
                                    <p:set>
                                      <p:cBhvr>
                                        <p:cTn id="135"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43" grpId="0" animBg="1"/>
      <p:bldP spid="44" grpId="0" animBg="1"/>
      <p:bldP spid="4" grpId="0"/>
      <p:bldP spid="45" grpId="0"/>
      <p:bldP spid="9" grpId="0" animBg="1"/>
      <p:bldP spid="10" grpId="0"/>
      <p:bldP spid="5" grpId="0" animBg="1"/>
      <p:bldP spid="13" grpId="0"/>
      <p:bldP spid="14" grpId="0" animBg="1"/>
      <p:bldP spid="15" grpId="0"/>
      <p:bldP spid="16" grpId="0" animBg="1"/>
      <p:bldP spid="17" grpId="0"/>
      <p:bldP spid="18" grpId="0" animBg="1"/>
      <p:bldP spid="19" grpId="0"/>
      <p:bldP spid="2" grpId="0" animBg="1"/>
      <p:bldP spid="32" grpId="0" animBg="1"/>
      <p:bldP spid="3" grpId="0"/>
      <p:bldP spid="3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r>
              <a:rPr lang="en-US"/>
              <a:t>Category Management Best Practice</a:t>
            </a:r>
          </a:p>
        </p:txBody>
      </p:sp>
      <p:sp>
        <p:nvSpPr>
          <p:cNvPr id="53251" name="Rectangle 3"/>
          <p:cNvSpPr>
            <a:spLocks noGrp="1" noChangeArrowheads="1"/>
          </p:cNvSpPr>
          <p:nvPr>
            <p:ph type="body" idx="1"/>
          </p:nvPr>
        </p:nvSpPr>
        <p:spPr>
          <a:xfrm>
            <a:off x="1524000" y="1371601"/>
            <a:ext cx="8686800" cy="4754563"/>
          </a:xfrm>
          <a:noFill/>
          <a:ln/>
        </p:spPr>
        <p:txBody>
          <a:bodyPr/>
          <a:lstStyle/>
          <a:p>
            <a:pPr lvl="1">
              <a:lnSpc>
                <a:spcPct val="90000"/>
              </a:lnSpc>
              <a:buFont typeface="Wingdings" pitchFamily="2" charset="2"/>
              <a:buChar char="Ø"/>
            </a:pPr>
            <a:r>
              <a:rPr lang="en-CA" dirty="0"/>
              <a:t>Define a Category Management Calendar around the above business model</a:t>
            </a:r>
          </a:p>
          <a:p>
            <a:pPr lvl="2">
              <a:lnSpc>
                <a:spcPct val="90000"/>
              </a:lnSpc>
              <a:buFont typeface="Wingdings" pitchFamily="2" charset="2"/>
              <a:buChar char="§"/>
            </a:pPr>
            <a:r>
              <a:rPr lang="en-CA" sz="1800" dirty="0"/>
              <a:t>streamline planogram changes</a:t>
            </a:r>
          </a:p>
          <a:p>
            <a:pPr lvl="2">
              <a:lnSpc>
                <a:spcPct val="90000"/>
              </a:lnSpc>
              <a:buFont typeface="Wingdings" pitchFamily="2" charset="2"/>
              <a:buChar char="§"/>
            </a:pPr>
            <a:r>
              <a:rPr lang="en-CA" sz="1800" dirty="0"/>
              <a:t>improve distribution and execution of planograms</a:t>
            </a:r>
          </a:p>
          <a:p>
            <a:pPr lvl="2">
              <a:lnSpc>
                <a:spcPct val="90000"/>
              </a:lnSpc>
              <a:buFont typeface="Wingdings" pitchFamily="2" charset="2"/>
              <a:buChar char="§"/>
            </a:pPr>
            <a:r>
              <a:rPr lang="en-CA" sz="1800" dirty="0"/>
              <a:t>reduce amount of re-work.</a:t>
            </a:r>
          </a:p>
          <a:p>
            <a:pPr lvl="1">
              <a:lnSpc>
                <a:spcPct val="90000"/>
              </a:lnSpc>
              <a:buFont typeface="Wingdings" pitchFamily="2" charset="2"/>
              <a:buChar char="Ø"/>
            </a:pPr>
            <a:r>
              <a:rPr lang="en-CA" dirty="0"/>
              <a:t>Identify regularly scheduled reviews of categories </a:t>
            </a:r>
          </a:p>
          <a:p>
            <a:pPr lvl="1">
              <a:lnSpc>
                <a:spcPct val="90000"/>
              </a:lnSpc>
              <a:buFont typeface="Wingdings" pitchFamily="2" charset="2"/>
              <a:buChar char="Ø"/>
            </a:pPr>
            <a:r>
              <a:rPr lang="en-CA" dirty="0"/>
              <a:t>Identify / Modify product assortments with flexibility to be quick to market</a:t>
            </a:r>
          </a:p>
          <a:p>
            <a:pPr lvl="1">
              <a:lnSpc>
                <a:spcPct val="90000"/>
              </a:lnSpc>
              <a:buFont typeface="Wingdings" pitchFamily="2" charset="2"/>
              <a:buChar char="Ø"/>
            </a:pPr>
            <a:r>
              <a:rPr lang="en-CA" dirty="0"/>
              <a:t>Take into account workload schedules</a:t>
            </a:r>
          </a:p>
          <a:p>
            <a:pPr lvl="1">
              <a:lnSpc>
                <a:spcPct val="90000"/>
              </a:lnSpc>
              <a:buFont typeface="Wingdings" pitchFamily="2" charset="2"/>
              <a:buChar char="Ø"/>
            </a:pPr>
            <a:r>
              <a:rPr lang="en-CA" dirty="0"/>
              <a:t>Adjust for seasonality issues for particular categories  </a:t>
            </a:r>
          </a:p>
          <a:p>
            <a:pPr lvl="1">
              <a:lnSpc>
                <a:spcPct val="90000"/>
              </a:lnSpc>
              <a:buFont typeface="Wingdings" pitchFamily="2" charset="2"/>
              <a:buChar char="Ø"/>
            </a:pPr>
            <a:r>
              <a:rPr lang="en-CA" dirty="0"/>
              <a:t>Notify vendors of schedule for review </a:t>
            </a:r>
          </a:p>
          <a:p>
            <a:pPr lvl="1">
              <a:lnSpc>
                <a:spcPct val="90000"/>
              </a:lnSpc>
              <a:buFont typeface="Wingdings" pitchFamily="2" charset="2"/>
              <a:buChar char="Ø"/>
            </a:pPr>
            <a:r>
              <a:rPr lang="en-CA" dirty="0"/>
              <a:t>Assign rules around new item introductions  </a:t>
            </a:r>
          </a:p>
          <a:p>
            <a:pPr lvl="1">
              <a:lnSpc>
                <a:spcPct val="90000"/>
              </a:lnSpc>
              <a:buFont typeface="Wingdings" pitchFamily="2" charset="2"/>
              <a:buChar char="Ø"/>
            </a:pPr>
            <a:r>
              <a:rPr lang="en-CA" dirty="0"/>
              <a:t>Create and maintain current planograms by category / subcategory</a:t>
            </a:r>
          </a:p>
          <a:p>
            <a:pPr lvl="2">
              <a:lnSpc>
                <a:spcPct val="90000"/>
              </a:lnSpc>
              <a:buFont typeface="Wingdings" pitchFamily="2" charset="2"/>
              <a:buChar char="§"/>
            </a:pPr>
            <a:r>
              <a:rPr lang="en-CA" sz="1800" dirty="0"/>
              <a:t>Review and analyze holding power and days of supply to determine order quantities and minimums</a:t>
            </a:r>
            <a:r>
              <a:rPr lang="en-US" sz="1800" dirty="0"/>
              <a:t> </a:t>
            </a:r>
          </a:p>
          <a:p>
            <a:pPr lvl="1">
              <a:lnSpc>
                <a:spcPct val="90000"/>
              </a:lnSpc>
              <a:buFont typeface="Wingdings" pitchFamily="2" charset="2"/>
              <a:buChar char="Ø"/>
            </a:pPr>
            <a:endParaRPr lang="en-US" sz="1800" dirty="0">
              <a:solidFill>
                <a:schemeClr val="accent2"/>
              </a:solidFill>
            </a:endParaRPr>
          </a:p>
        </p:txBody>
      </p:sp>
    </p:spTree>
    <p:extLst>
      <p:ext uri="{BB962C8B-B14F-4D97-AF65-F5344CB8AC3E}">
        <p14:creationId xmlns:p14="http://schemas.microsoft.com/office/powerpoint/2010/main" val="41195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p:txBody>
          <a:bodyPr/>
          <a:lstStyle/>
          <a:p>
            <a:r>
              <a:rPr lang="en-US"/>
              <a:t>Merchandising Calendar</a:t>
            </a:r>
          </a:p>
        </p:txBody>
      </p:sp>
      <p:sp>
        <p:nvSpPr>
          <p:cNvPr id="54275" name="Rectangle 3"/>
          <p:cNvSpPr>
            <a:spLocks noGrp="1" noChangeArrowheads="1"/>
          </p:cNvSpPr>
          <p:nvPr>
            <p:ph type="body" idx="1"/>
          </p:nvPr>
        </p:nvSpPr>
        <p:spPr>
          <a:xfrm>
            <a:off x="1524000" y="1371601"/>
            <a:ext cx="8229600" cy="4525963"/>
          </a:xfrm>
          <a:noFill/>
          <a:ln/>
        </p:spPr>
        <p:txBody>
          <a:bodyPr/>
          <a:lstStyle/>
          <a:p>
            <a:pPr lvl="1">
              <a:lnSpc>
                <a:spcPct val="80000"/>
              </a:lnSpc>
              <a:buFont typeface="Wingdings" pitchFamily="2" charset="2"/>
              <a:buChar char="Ø"/>
            </a:pPr>
            <a:r>
              <a:rPr lang="en-CA" sz="2400" dirty="0"/>
              <a:t>Planogram change calendar will accommodate minor and major changes as well as scheduled remodels (i.e. multiple major planogram changes.)</a:t>
            </a:r>
          </a:p>
          <a:p>
            <a:pPr lvl="1">
              <a:lnSpc>
                <a:spcPct val="80000"/>
              </a:lnSpc>
              <a:buFont typeface="Wingdings" pitchFamily="2" charset="2"/>
              <a:buChar char="Ø"/>
            </a:pPr>
            <a:r>
              <a:rPr lang="en-CA" sz="2400" dirty="0"/>
              <a:t>Set calendar for major and minor releases to stores</a:t>
            </a:r>
          </a:p>
          <a:p>
            <a:pPr lvl="2">
              <a:lnSpc>
                <a:spcPct val="80000"/>
              </a:lnSpc>
              <a:buFont typeface="Wingdings" pitchFamily="2" charset="2"/>
              <a:buChar char="§"/>
            </a:pPr>
            <a:r>
              <a:rPr lang="en-CA" dirty="0"/>
              <a:t>Align major reviews to category management cycle</a:t>
            </a:r>
          </a:p>
          <a:p>
            <a:pPr lvl="2">
              <a:lnSpc>
                <a:spcPct val="80000"/>
              </a:lnSpc>
              <a:buFont typeface="Wingdings" pitchFamily="2" charset="2"/>
              <a:buChar char="§"/>
            </a:pPr>
            <a:r>
              <a:rPr lang="en-CA" dirty="0"/>
              <a:t>Group minor reviews based on expected labor impact at store level</a:t>
            </a:r>
          </a:p>
          <a:p>
            <a:pPr lvl="2">
              <a:lnSpc>
                <a:spcPct val="80000"/>
              </a:lnSpc>
              <a:buFont typeface="Wingdings" pitchFamily="2" charset="2"/>
              <a:buChar char="§"/>
            </a:pPr>
            <a:r>
              <a:rPr lang="en-CA" dirty="0"/>
              <a:t>Identify labor threshold at store level to govern release schedule (e.g. 20 hours per week)</a:t>
            </a:r>
          </a:p>
          <a:p>
            <a:pPr lvl="2">
              <a:lnSpc>
                <a:spcPct val="80000"/>
              </a:lnSpc>
              <a:buFont typeface="Wingdings" pitchFamily="2" charset="2"/>
              <a:buChar char="§"/>
            </a:pPr>
            <a:r>
              <a:rPr lang="en-CA" dirty="0"/>
              <a:t>Forecast for entire year</a:t>
            </a:r>
          </a:p>
          <a:p>
            <a:pPr lvl="3">
              <a:lnSpc>
                <a:spcPct val="80000"/>
              </a:lnSpc>
              <a:buFontTx/>
              <a:buChar char="•"/>
            </a:pPr>
            <a:r>
              <a:rPr lang="en-CA" sz="2400" dirty="0"/>
              <a:t>By category for major</a:t>
            </a:r>
          </a:p>
          <a:p>
            <a:pPr lvl="3">
              <a:lnSpc>
                <a:spcPct val="80000"/>
              </a:lnSpc>
              <a:buFontTx/>
              <a:buChar char="•"/>
            </a:pPr>
            <a:r>
              <a:rPr lang="en-CA" sz="2400" dirty="0"/>
              <a:t>By release for minor</a:t>
            </a:r>
          </a:p>
          <a:p>
            <a:pPr lvl="1">
              <a:lnSpc>
                <a:spcPct val="80000"/>
              </a:lnSpc>
              <a:buFont typeface="Wingdings" panose="05000000000000000000" pitchFamily="2" charset="2"/>
              <a:buChar char="Ø"/>
            </a:pPr>
            <a:r>
              <a:rPr lang="en-CA" sz="2400" dirty="0"/>
              <a:t>Allow for flexibility first to market tier one releases</a:t>
            </a:r>
          </a:p>
          <a:p>
            <a:pPr>
              <a:lnSpc>
                <a:spcPct val="80000"/>
              </a:lnSpc>
            </a:pPr>
            <a:endParaRPr lang="en-US" sz="2700" dirty="0">
              <a:solidFill>
                <a:schemeClr val="accent2"/>
              </a:solidFill>
            </a:endParaRPr>
          </a:p>
        </p:txBody>
      </p:sp>
    </p:spTree>
    <p:extLst>
      <p:ext uri="{BB962C8B-B14F-4D97-AF65-F5344CB8AC3E}">
        <p14:creationId xmlns:p14="http://schemas.microsoft.com/office/powerpoint/2010/main" val="129833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FF1F1A-DCA6-48F1-BC83-024C5E9CDCC6}"/>
              </a:ext>
            </a:extLst>
          </p:cNvPr>
          <p:cNvSpPr>
            <a:spLocks noGrp="1"/>
          </p:cNvSpPr>
          <p:nvPr>
            <p:ph type="ctrTitle"/>
          </p:nvPr>
        </p:nvSpPr>
        <p:spPr>
          <a:xfrm>
            <a:off x="603330" y="690314"/>
            <a:ext cx="7473891" cy="2104232"/>
          </a:xfrm>
        </p:spPr>
        <p:txBody>
          <a:bodyPr/>
          <a:lstStyle/>
          <a:p>
            <a:r>
              <a:rPr lang="en-US" dirty="0"/>
              <a:t>Blue Yonder Category Management</a:t>
            </a:r>
          </a:p>
        </p:txBody>
      </p:sp>
      <p:sp>
        <p:nvSpPr>
          <p:cNvPr id="4" name="Subtitle 3">
            <a:extLst>
              <a:ext uri="{FF2B5EF4-FFF2-40B4-BE49-F238E27FC236}">
                <a16:creationId xmlns:a16="http://schemas.microsoft.com/office/drawing/2014/main" id="{9D10588D-A52D-4E61-911A-5480750463FC}"/>
              </a:ext>
            </a:extLst>
          </p:cNvPr>
          <p:cNvSpPr>
            <a:spLocks noGrp="1"/>
          </p:cNvSpPr>
          <p:nvPr>
            <p:ph type="subTitle" idx="1"/>
          </p:nvPr>
        </p:nvSpPr>
        <p:spPr>
          <a:xfrm>
            <a:off x="619990" y="3000467"/>
            <a:ext cx="5058915" cy="417497"/>
          </a:xfrm>
        </p:spPr>
        <p:txBody>
          <a:bodyPr/>
          <a:lstStyle/>
          <a:p>
            <a:r>
              <a:rPr lang="en-US" b="0" dirty="0"/>
              <a:t>Space Planning Future State Design</a:t>
            </a:r>
          </a:p>
          <a:p>
            <a:r>
              <a:rPr lang="en-US" b="0" dirty="0"/>
              <a:t>Name, Title</a:t>
            </a:r>
          </a:p>
          <a:p>
            <a:r>
              <a:rPr lang="en-US" b="0" dirty="0"/>
              <a:t>Date</a:t>
            </a:r>
          </a:p>
          <a:p>
            <a:endParaRPr lang="en-US" dirty="0"/>
          </a:p>
        </p:txBody>
      </p:sp>
      <p:pic>
        <p:nvPicPr>
          <p:cNvPr id="7" name="Picture Placeholder 6" descr="A cloud in a blue cloudy sky&#10;&#10;Description automatically generated">
            <a:extLst>
              <a:ext uri="{FF2B5EF4-FFF2-40B4-BE49-F238E27FC236}">
                <a16:creationId xmlns:a16="http://schemas.microsoft.com/office/drawing/2014/main" id="{549A26E8-58C6-4E42-B676-FD06EEDC5CA5}"/>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a:fillRect/>
          </a:stretch>
        </p:blipFill>
        <p:spPr/>
      </p:pic>
      <p:pic>
        <p:nvPicPr>
          <p:cNvPr id="11" name="Picture Placeholder 10" descr="A person with collar shirt&#10;&#10;Description automatically generated">
            <a:extLst>
              <a:ext uri="{FF2B5EF4-FFF2-40B4-BE49-F238E27FC236}">
                <a16:creationId xmlns:a16="http://schemas.microsoft.com/office/drawing/2014/main" id="{52F65918-8C60-43CA-A37C-90B399FABA88}"/>
              </a:ext>
            </a:extLst>
          </p:cNvPr>
          <p:cNvPicPr>
            <a:picLocks noGrp="1" noChangeAspect="1"/>
          </p:cNvPicPr>
          <p:nvPr>
            <p:ph type="pic" sz="quarter" idx="13"/>
          </p:nvPr>
        </p:nvPicPr>
        <p:blipFill rotWithShape="1">
          <a:blip r:embed="rId4" cstate="email">
            <a:extLst>
              <a:ext uri="{28A0092B-C50C-407E-A947-70E740481C1C}">
                <a14:useLocalDpi xmlns:a14="http://schemas.microsoft.com/office/drawing/2010/main"/>
              </a:ext>
            </a:extLst>
          </a:blip>
          <a:srcRect t="-8979"/>
          <a:stretch/>
        </p:blipFill>
        <p:spPr>
          <a:xfrm>
            <a:off x="4615147" y="3428124"/>
            <a:ext cx="4551343" cy="3429876"/>
          </a:xfrm>
        </p:spPr>
      </p:pic>
    </p:spTree>
    <p:extLst>
      <p:ext uri="{BB962C8B-B14F-4D97-AF65-F5344CB8AC3E}">
        <p14:creationId xmlns:p14="http://schemas.microsoft.com/office/powerpoint/2010/main" val="72799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fining Merchandising Standards &amp; Guidelines</a:t>
            </a:r>
          </a:p>
        </p:txBody>
      </p:sp>
      <p:sp>
        <p:nvSpPr>
          <p:cNvPr id="9" name="Content Placeholder 8"/>
          <p:cNvSpPr>
            <a:spLocks noGrp="1"/>
          </p:cNvSpPr>
          <p:nvPr>
            <p:ph idx="1"/>
          </p:nvPr>
        </p:nvSpPr>
        <p:spPr/>
        <p:txBody>
          <a:bodyPr/>
          <a:lstStyle/>
          <a:p>
            <a:pPr>
              <a:lnSpc>
                <a:spcPct val="150000"/>
              </a:lnSpc>
            </a:pPr>
            <a:r>
              <a:rPr lang="en-US" sz="2400" dirty="0"/>
              <a:t>A company position that details what the stores should look like and how to implement corporate merchandising direction</a:t>
            </a:r>
            <a:endParaRPr lang="en-US" dirty="0"/>
          </a:p>
          <a:p>
            <a:pPr>
              <a:lnSpc>
                <a:spcPct val="150000"/>
              </a:lnSpc>
            </a:pPr>
            <a:r>
              <a:rPr lang="en-US" sz="2400" dirty="0"/>
              <a:t>Establishes the rules of behavior for stores to follow</a:t>
            </a:r>
          </a:p>
          <a:p>
            <a:pPr>
              <a:lnSpc>
                <a:spcPct val="150000"/>
              </a:lnSpc>
            </a:pPr>
            <a:r>
              <a:rPr lang="en-US" sz="2400" dirty="0"/>
              <a:t>Provides a consistent look and feel for customers at every store</a:t>
            </a:r>
          </a:p>
          <a:p>
            <a:pPr>
              <a:lnSpc>
                <a:spcPct val="150000"/>
              </a:lnSpc>
            </a:pPr>
            <a:r>
              <a:rPr lang="en-US" dirty="0"/>
              <a:t>Allows stores to confidently make merchandising decisions when corporate direction is missing on unclear </a:t>
            </a:r>
          </a:p>
          <a:p>
            <a:pPr>
              <a:lnSpc>
                <a:spcPct val="150000"/>
              </a:lnSpc>
            </a:pPr>
            <a:r>
              <a:rPr lang="en-US" sz="2400" dirty="0"/>
              <a:t>Aligns all levels of the company to execute the same vision</a:t>
            </a:r>
          </a:p>
          <a:p>
            <a:pPr>
              <a:lnSpc>
                <a:spcPct val="150000"/>
              </a:lnSpc>
            </a:pPr>
            <a:endParaRPr lang="en-US" dirty="0"/>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171968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a:xfrm>
            <a:off x="746771" y="435601"/>
            <a:ext cx="11007264" cy="1010863"/>
          </a:xfrm>
        </p:spPr>
        <p:txBody>
          <a:bodyPr/>
          <a:lstStyle/>
          <a:p>
            <a:r>
              <a:rPr lang="en-US" dirty="0"/>
              <a:t>Defining Merchandising Standards &amp; Guidelines</a:t>
            </a:r>
          </a:p>
        </p:txBody>
      </p:sp>
      <p:sp>
        <p:nvSpPr>
          <p:cNvPr id="64515" name="Rectangle 3"/>
          <p:cNvSpPr>
            <a:spLocks noGrp="1" noChangeArrowheads="1"/>
          </p:cNvSpPr>
          <p:nvPr>
            <p:ph type="body" idx="1"/>
          </p:nvPr>
        </p:nvSpPr>
        <p:spPr>
          <a:xfrm>
            <a:off x="1171853" y="1571349"/>
            <a:ext cx="10582182" cy="5286652"/>
          </a:xfrm>
          <a:noFill/>
          <a:ln/>
        </p:spPr>
        <p:txBody>
          <a:bodyPr/>
          <a:lstStyle/>
          <a:p>
            <a:pPr lvl="1">
              <a:lnSpc>
                <a:spcPct val="90000"/>
              </a:lnSpc>
              <a:buFont typeface="Wingdings" pitchFamily="2" charset="2"/>
              <a:buChar char="Ø"/>
            </a:pPr>
            <a:r>
              <a:rPr lang="en-CA" sz="1800" dirty="0"/>
              <a:t>Drivers to planogram merchandising</a:t>
            </a:r>
          </a:p>
          <a:p>
            <a:pPr lvl="2">
              <a:lnSpc>
                <a:spcPct val="90000"/>
              </a:lnSpc>
              <a:buFont typeface="Wingdings" pitchFamily="2" charset="2"/>
              <a:buChar char="§"/>
            </a:pPr>
            <a:r>
              <a:rPr lang="en-CA" sz="1800" dirty="0"/>
              <a:t>Category Management</a:t>
            </a:r>
          </a:p>
          <a:p>
            <a:pPr lvl="3">
              <a:lnSpc>
                <a:spcPct val="90000"/>
              </a:lnSpc>
              <a:buFontTx/>
              <a:buChar char="•"/>
            </a:pPr>
            <a:r>
              <a:rPr lang="en-CA" sz="1600" dirty="0"/>
              <a:t>“Where” product goes</a:t>
            </a:r>
          </a:p>
          <a:p>
            <a:pPr lvl="3">
              <a:lnSpc>
                <a:spcPct val="90000"/>
              </a:lnSpc>
              <a:buFontTx/>
              <a:buChar char="•"/>
            </a:pPr>
            <a:r>
              <a:rPr lang="en-US" sz="1600" dirty="0"/>
              <a:t>Match merchandising strategy with how consumers shop</a:t>
            </a:r>
          </a:p>
          <a:p>
            <a:pPr lvl="3">
              <a:lnSpc>
                <a:spcPct val="90000"/>
              </a:lnSpc>
              <a:buFontTx/>
              <a:buChar char="•"/>
            </a:pPr>
            <a:r>
              <a:rPr lang="en-CA" sz="1600" dirty="0"/>
              <a:t>Drives primary blocking requirement (vendor, brand, function or price) </a:t>
            </a:r>
          </a:p>
          <a:p>
            <a:pPr lvl="3">
              <a:lnSpc>
                <a:spcPct val="90000"/>
              </a:lnSpc>
              <a:buFontTx/>
              <a:buChar char="•"/>
            </a:pPr>
            <a:r>
              <a:rPr lang="en-CA" sz="1600" dirty="0"/>
              <a:t>Identifies secondary blocking requirement (vendor, size, brand, function, price, sub-category, etc)</a:t>
            </a:r>
          </a:p>
          <a:p>
            <a:pPr lvl="2">
              <a:lnSpc>
                <a:spcPct val="90000"/>
              </a:lnSpc>
              <a:buFont typeface="Wingdings" pitchFamily="2" charset="2"/>
              <a:buChar char="§"/>
            </a:pPr>
            <a:r>
              <a:rPr lang="en-CA" sz="1800" dirty="0"/>
              <a:t>Physical Space Constraints</a:t>
            </a:r>
          </a:p>
          <a:p>
            <a:pPr lvl="3">
              <a:lnSpc>
                <a:spcPct val="90000"/>
              </a:lnSpc>
              <a:buFontTx/>
              <a:buChar char="•"/>
            </a:pPr>
            <a:r>
              <a:rPr lang="en-CA" sz="1600" dirty="0"/>
              <a:t>Maximize available shelf space in planogram</a:t>
            </a:r>
          </a:p>
          <a:p>
            <a:pPr lvl="3">
              <a:lnSpc>
                <a:spcPct val="90000"/>
              </a:lnSpc>
              <a:buFontTx/>
              <a:buChar char="•"/>
            </a:pPr>
            <a:r>
              <a:rPr lang="en-CA" sz="1600" dirty="0"/>
              <a:t>No dead space</a:t>
            </a:r>
          </a:p>
          <a:p>
            <a:pPr lvl="2">
              <a:lnSpc>
                <a:spcPct val="90000"/>
              </a:lnSpc>
              <a:buFont typeface="Wingdings" pitchFamily="2" charset="2"/>
              <a:buChar char="§"/>
            </a:pPr>
            <a:r>
              <a:rPr lang="en-CA" sz="1800" dirty="0"/>
              <a:t>Space Productivity Goals</a:t>
            </a:r>
          </a:p>
          <a:p>
            <a:pPr lvl="3">
              <a:lnSpc>
                <a:spcPct val="90000"/>
              </a:lnSpc>
              <a:buFontTx/>
              <a:buChar char="•"/>
            </a:pPr>
            <a:r>
              <a:rPr lang="en-CA" sz="1600" dirty="0"/>
              <a:t>Identify productivity measures (e.g. sales or margin per </a:t>
            </a:r>
            <a:r>
              <a:rPr lang="en-CA" sz="1600" dirty="0" err="1"/>
              <a:t>sq</a:t>
            </a:r>
            <a:r>
              <a:rPr lang="en-CA" sz="1600" dirty="0"/>
              <a:t> </a:t>
            </a:r>
            <a:r>
              <a:rPr lang="en-CA" sz="1600" dirty="0" err="1"/>
              <a:t>ft</a:t>
            </a:r>
            <a:r>
              <a:rPr lang="en-CA" sz="1600" dirty="0"/>
              <a:t>)</a:t>
            </a:r>
          </a:p>
          <a:p>
            <a:pPr lvl="3">
              <a:lnSpc>
                <a:spcPct val="90000"/>
              </a:lnSpc>
              <a:buFontTx/>
              <a:buChar char="•"/>
            </a:pPr>
            <a:r>
              <a:rPr lang="en-CA" sz="1600" dirty="0"/>
              <a:t>Maximize productivity</a:t>
            </a:r>
          </a:p>
          <a:p>
            <a:pPr lvl="2">
              <a:lnSpc>
                <a:spcPct val="90000"/>
              </a:lnSpc>
              <a:buFont typeface="Wingdings" pitchFamily="2" charset="2"/>
              <a:buChar char="§"/>
            </a:pPr>
            <a:r>
              <a:rPr lang="en-CA" sz="1800" dirty="0"/>
              <a:t>Holding Capacity Optimization</a:t>
            </a:r>
          </a:p>
          <a:p>
            <a:pPr lvl="3">
              <a:lnSpc>
                <a:spcPct val="90000"/>
              </a:lnSpc>
              <a:buFontTx/>
              <a:buChar char="•"/>
            </a:pPr>
            <a:r>
              <a:rPr lang="en-CA" sz="1600" dirty="0"/>
              <a:t>Identify thresholds for over and under stock positions based on rate of sale</a:t>
            </a:r>
          </a:p>
          <a:p>
            <a:pPr lvl="1">
              <a:lnSpc>
                <a:spcPct val="90000"/>
              </a:lnSpc>
              <a:buFont typeface="Wingdings" pitchFamily="2" charset="2"/>
              <a:buChar char="Ø"/>
            </a:pPr>
            <a:r>
              <a:rPr lang="en-CA" sz="1800" dirty="0"/>
              <a:t>Rank drivers in terms of importance to allow user to trade off when executing merchandising principles</a:t>
            </a:r>
          </a:p>
          <a:p>
            <a:pPr lvl="1">
              <a:lnSpc>
                <a:spcPct val="90000"/>
              </a:lnSpc>
            </a:pPr>
            <a:endParaRPr lang="en-US" sz="1800" dirty="0">
              <a:solidFill>
                <a:schemeClr val="accent2"/>
              </a:solidFill>
            </a:endParaRPr>
          </a:p>
        </p:txBody>
      </p:sp>
      <p:sp>
        <p:nvSpPr>
          <p:cNvPr id="4" name="TextBox 3"/>
          <p:cNvSpPr txBox="1"/>
          <p:nvPr/>
        </p:nvSpPr>
        <p:spPr>
          <a:xfrm>
            <a:off x="592367" y="941033"/>
            <a:ext cx="11161667" cy="707886"/>
          </a:xfrm>
          <a:prstGeom prst="rect">
            <a:avLst/>
          </a:prstGeom>
          <a:noFill/>
        </p:spPr>
        <p:txBody>
          <a:bodyPr wrap="square" rtlCol="0">
            <a:spAutoFit/>
          </a:bodyPr>
          <a:lstStyle/>
          <a:p>
            <a:pPr algn="ctr"/>
            <a:r>
              <a:rPr lang="en-US" sz="2000" b="1" dirty="0">
                <a:solidFill>
                  <a:schemeClr val="accent5"/>
                </a:solidFill>
              </a:rPr>
              <a:t>Rank drivers in terms of importance to allow </a:t>
            </a:r>
          </a:p>
          <a:p>
            <a:pPr algn="ctr"/>
            <a:r>
              <a:rPr lang="en-US" sz="2000" b="1" dirty="0">
                <a:solidFill>
                  <a:schemeClr val="accent5"/>
                </a:solidFill>
              </a:rPr>
              <a:t>trade offs when executing merchandising principles</a:t>
            </a:r>
          </a:p>
        </p:txBody>
      </p:sp>
    </p:spTree>
    <p:extLst>
      <p:ext uri="{BB962C8B-B14F-4D97-AF65-F5344CB8AC3E}">
        <p14:creationId xmlns:p14="http://schemas.microsoft.com/office/powerpoint/2010/main" val="24355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erchandising Drivers</a:t>
            </a:r>
          </a:p>
        </p:txBody>
      </p:sp>
      <p:sp>
        <p:nvSpPr>
          <p:cNvPr id="7" name="Text Placeholder 6"/>
          <p:cNvSpPr>
            <a:spLocks noGrp="1"/>
          </p:cNvSpPr>
          <p:nvPr>
            <p:ph type="body" idx="1"/>
          </p:nvPr>
        </p:nvSpPr>
        <p:spPr>
          <a:xfrm>
            <a:off x="452761" y="1705663"/>
            <a:ext cx="5485499" cy="406917"/>
          </a:xfrm>
        </p:spPr>
        <p:txBody>
          <a:bodyPr/>
          <a:lstStyle/>
          <a:p>
            <a:r>
              <a:rPr lang="en-US" sz="1800" dirty="0"/>
              <a:t>Category Management</a:t>
            </a:r>
          </a:p>
        </p:txBody>
      </p:sp>
      <p:sp>
        <p:nvSpPr>
          <p:cNvPr id="8" name="Content Placeholder 7"/>
          <p:cNvSpPr>
            <a:spLocks noGrp="1"/>
          </p:cNvSpPr>
          <p:nvPr>
            <p:ph sz="half" idx="2"/>
          </p:nvPr>
        </p:nvSpPr>
        <p:spPr>
          <a:xfrm>
            <a:off x="1482570" y="1975946"/>
            <a:ext cx="8842531" cy="1364654"/>
          </a:xfrm>
        </p:spPr>
        <p:txBody>
          <a:bodyPr/>
          <a:lstStyle/>
          <a:p>
            <a:r>
              <a:rPr lang="en-US" sz="1800" dirty="0"/>
              <a:t>“Merchandising direction (left to right, top to bottom, color/ROYGBIV, etc.)</a:t>
            </a:r>
          </a:p>
          <a:p>
            <a:r>
              <a:rPr lang="en-US" sz="1800" dirty="0"/>
              <a:t>Standardized naming conventions</a:t>
            </a:r>
          </a:p>
          <a:p>
            <a:r>
              <a:rPr lang="en-US" sz="1800" dirty="0"/>
              <a:t>Flexing rules for out of stock items</a:t>
            </a:r>
          </a:p>
          <a:p>
            <a:endParaRPr lang="en-US" dirty="0"/>
          </a:p>
        </p:txBody>
      </p:sp>
      <p:sp>
        <p:nvSpPr>
          <p:cNvPr id="9" name="Text Placeholder 8"/>
          <p:cNvSpPr>
            <a:spLocks noGrp="1"/>
          </p:cNvSpPr>
          <p:nvPr>
            <p:ph type="body" sz="quarter" idx="3"/>
          </p:nvPr>
        </p:nvSpPr>
        <p:spPr>
          <a:xfrm>
            <a:off x="452761" y="3429000"/>
            <a:ext cx="9758040" cy="448894"/>
          </a:xfrm>
        </p:spPr>
        <p:txBody>
          <a:bodyPr/>
          <a:lstStyle/>
          <a:p>
            <a:r>
              <a:rPr lang="en-US" sz="1800" dirty="0"/>
              <a:t>Physical Space Constraints</a:t>
            </a:r>
          </a:p>
        </p:txBody>
      </p:sp>
      <p:sp>
        <p:nvSpPr>
          <p:cNvPr id="10" name="Content Placeholder 9"/>
          <p:cNvSpPr>
            <a:spLocks noGrp="1"/>
          </p:cNvSpPr>
          <p:nvPr>
            <p:ph sz="quarter" idx="4"/>
          </p:nvPr>
        </p:nvSpPr>
        <p:spPr>
          <a:xfrm>
            <a:off x="1482570" y="3966294"/>
            <a:ext cx="8842532" cy="2707774"/>
          </a:xfrm>
        </p:spPr>
        <p:txBody>
          <a:bodyPr numCol="2"/>
          <a:lstStyle/>
          <a:p>
            <a:r>
              <a:rPr lang="en-US" sz="1800" dirty="0"/>
              <a:t>Maximize available shelf space in planogram</a:t>
            </a:r>
          </a:p>
          <a:p>
            <a:r>
              <a:rPr lang="en-US" sz="1800" dirty="0"/>
              <a:t>Rules on capping and nesting</a:t>
            </a:r>
          </a:p>
          <a:p>
            <a:r>
              <a:rPr lang="en-US" sz="1800" dirty="0"/>
              <a:t>No dead space</a:t>
            </a:r>
          </a:p>
          <a:p>
            <a:pPr lvl="1"/>
            <a:r>
              <a:rPr lang="en-US" sz="1800" dirty="0"/>
              <a:t>On shelf (width and depth)</a:t>
            </a:r>
          </a:p>
          <a:p>
            <a:pPr lvl="1"/>
            <a:r>
              <a:rPr lang="en-US" sz="1800" dirty="0"/>
              <a:t>In air (above shelf)</a:t>
            </a:r>
          </a:p>
          <a:p>
            <a:pPr lvl="1"/>
            <a:r>
              <a:rPr lang="en-US" sz="1800" dirty="0"/>
              <a:t>Where pegboard and shelves intersect</a:t>
            </a:r>
          </a:p>
          <a:p>
            <a:pPr lvl="2"/>
            <a:r>
              <a:rPr lang="en-US" sz="1800" dirty="0"/>
              <a:t>Pegged product behind shelved</a:t>
            </a:r>
          </a:p>
          <a:p>
            <a:pPr lvl="2"/>
            <a:r>
              <a:rPr lang="en-US" sz="1800" dirty="0"/>
              <a:t>Pegged product above shelved</a:t>
            </a:r>
          </a:p>
          <a:p>
            <a:r>
              <a:rPr lang="en-US" sz="1800" dirty="0"/>
              <a:t>Promotional item/section placement</a:t>
            </a:r>
          </a:p>
          <a:p>
            <a:r>
              <a:rPr lang="en-US" sz="1800" dirty="0"/>
              <a:t>Signs and sight lines </a:t>
            </a:r>
          </a:p>
          <a:p>
            <a:r>
              <a:rPr lang="en-US" sz="1800" dirty="0"/>
              <a:t>Adjacencies</a:t>
            </a:r>
          </a:p>
          <a:p>
            <a:endParaRPr lang="en-US" dirty="0"/>
          </a:p>
        </p:txBody>
      </p:sp>
      <p:sp>
        <p:nvSpPr>
          <p:cNvPr id="11" name="TextBox 10"/>
          <p:cNvSpPr txBox="1"/>
          <p:nvPr/>
        </p:nvSpPr>
        <p:spPr>
          <a:xfrm>
            <a:off x="592369" y="909378"/>
            <a:ext cx="12014107" cy="707886"/>
          </a:xfrm>
          <a:prstGeom prst="rect">
            <a:avLst/>
          </a:prstGeom>
          <a:noFill/>
        </p:spPr>
        <p:txBody>
          <a:bodyPr wrap="square" rtlCol="0">
            <a:spAutoFit/>
          </a:bodyPr>
          <a:lstStyle/>
          <a:p>
            <a:pPr algn="ctr"/>
            <a:r>
              <a:rPr lang="en-US" sz="2000" b="1" dirty="0">
                <a:solidFill>
                  <a:schemeClr val="accent5"/>
                </a:solidFill>
              </a:rPr>
              <a:t>Rank drivers in terms of importance to allow </a:t>
            </a:r>
          </a:p>
          <a:p>
            <a:pPr algn="ctr"/>
            <a:r>
              <a:rPr lang="en-US" sz="2000" b="1" dirty="0">
                <a:solidFill>
                  <a:schemeClr val="accent5"/>
                </a:solidFill>
              </a:rPr>
              <a:t>trade offs when executing merchandising principles</a:t>
            </a:r>
          </a:p>
        </p:txBody>
      </p:sp>
      <p:sp>
        <p:nvSpPr>
          <p:cNvPr id="12"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194475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500"/>
                                        <p:tgtEl>
                                          <p:spTgt spid="8">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8">
                                            <p:txEl>
                                              <p:pRg st="2" end="2"/>
                                            </p:txEl>
                                          </p:spTgt>
                                        </p:tgtEl>
                                        <p:attrNameLst>
                                          <p:attrName>style.visibility</p:attrName>
                                        </p:attrNameLst>
                                      </p:cBhvr>
                                      <p:to>
                                        <p:strVal val="visible"/>
                                      </p:to>
                                    </p:set>
                                    <p:animEffect transition="in" filter="fade">
                                      <p:cBhvr>
                                        <p:cTn id="25" dur="500"/>
                                        <p:tgtEl>
                                          <p:spTgt spid="8">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txEl>
                                              <p:pRg st="0" end="0"/>
                                            </p:txEl>
                                          </p:spTgt>
                                        </p:tgtEl>
                                        <p:attrNameLst>
                                          <p:attrName>style.visibility</p:attrName>
                                        </p:attrNameLst>
                                      </p:cBhvr>
                                      <p:to>
                                        <p:strVal val="visible"/>
                                      </p:to>
                                    </p:set>
                                    <p:animEffect transition="in" filter="fade">
                                      <p:cBhvr>
                                        <p:cTn id="30" dur="500"/>
                                        <p:tgtEl>
                                          <p:spTgt spid="9">
                                            <p:txEl>
                                              <p:pRg st="0" end="0"/>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
                                            <p:txEl>
                                              <p:pRg st="0" end="0"/>
                                            </p:txEl>
                                          </p:spTgt>
                                        </p:tgtEl>
                                        <p:attrNameLst>
                                          <p:attrName>style.visibility</p:attrName>
                                        </p:attrNameLst>
                                      </p:cBhvr>
                                      <p:to>
                                        <p:strVal val="visible"/>
                                      </p:to>
                                    </p:set>
                                    <p:animEffect transition="in" filter="fade">
                                      <p:cBhvr>
                                        <p:cTn id="33" dur="500"/>
                                        <p:tgtEl>
                                          <p:spTgt spid="10">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0">
                                            <p:txEl>
                                              <p:pRg st="1" end="1"/>
                                            </p:txEl>
                                          </p:spTgt>
                                        </p:tgtEl>
                                        <p:attrNameLst>
                                          <p:attrName>style.visibility</p:attrName>
                                        </p:attrNameLst>
                                      </p:cBhvr>
                                      <p:to>
                                        <p:strVal val="visible"/>
                                      </p:to>
                                    </p:set>
                                    <p:animEffect transition="in" filter="fade">
                                      <p:cBhvr>
                                        <p:cTn id="38" dur="500"/>
                                        <p:tgtEl>
                                          <p:spTgt spid="10">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fade">
                                      <p:cBhvr>
                                        <p:cTn id="43" dur="500"/>
                                        <p:tgtEl>
                                          <p:spTgt spid="10">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0">
                                            <p:txEl>
                                              <p:pRg st="3" end="3"/>
                                            </p:txEl>
                                          </p:spTgt>
                                        </p:tgtEl>
                                        <p:attrNameLst>
                                          <p:attrName>style.visibility</p:attrName>
                                        </p:attrNameLst>
                                      </p:cBhvr>
                                      <p:to>
                                        <p:strVal val="visible"/>
                                      </p:to>
                                    </p:set>
                                    <p:animEffect transition="in" filter="fade">
                                      <p:cBhvr>
                                        <p:cTn id="48" dur="500"/>
                                        <p:tgtEl>
                                          <p:spTgt spid="10">
                                            <p:txEl>
                                              <p:pRg st="3" end="3"/>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
                                            <p:txEl>
                                              <p:pRg st="4" end="4"/>
                                            </p:txEl>
                                          </p:spTgt>
                                        </p:tgtEl>
                                        <p:attrNameLst>
                                          <p:attrName>style.visibility</p:attrName>
                                        </p:attrNameLst>
                                      </p:cBhvr>
                                      <p:to>
                                        <p:strVal val="visible"/>
                                      </p:to>
                                    </p:set>
                                    <p:animEffect transition="in" filter="fade">
                                      <p:cBhvr>
                                        <p:cTn id="51" dur="500"/>
                                        <p:tgtEl>
                                          <p:spTgt spid="10">
                                            <p:txEl>
                                              <p:pRg st="4" end="4"/>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0">
                                            <p:txEl>
                                              <p:pRg st="5" end="5"/>
                                            </p:txEl>
                                          </p:spTgt>
                                        </p:tgtEl>
                                        <p:attrNameLst>
                                          <p:attrName>style.visibility</p:attrName>
                                        </p:attrNameLst>
                                      </p:cBhvr>
                                      <p:to>
                                        <p:strVal val="visible"/>
                                      </p:to>
                                    </p:set>
                                    <p:animEffect transition="in" filter="fade">
                                      <p:cBhvr>
                                        <p:cTn id="56" dur="500"/>
                                        <p:tgtEl>
                                          <p:spTgt spid="10">
                                            <p:txEl>
                                              <p:pRg st="5" end="5"/>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
                                            <p:txEl>
                                              <p:pRg st="6" end="6"/>
                                            </p:txEl>
                                          </p:spTgt>
                                        </p:tgtEl>
                                        <p:attrNameLst>
                                          <p:attrName>style.visibility</p:attrName>
                                        </p:attrNameLst>
                                      </p:cBhvr>
                                      <p:to>
                                        <p:strVal val="visible"/>
                                      </p:to>
                                    </p:set>
                                    <p:animEffect transition="in" filter="fade">
                                      <p:cBhvr>
                                        <p:cTn id="61" dur="500"/>
                                        <p:tgtEl>
                                          <p:spTgt spid="10">
                                            <p:txEl>
                                              <p:pRg st="6" end="6"/>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
                                            <p:txEl>
                                              <p:pRg st="7" end="7"/>
                                            </p:txEl>
                                          </p:spTgt>
                                        </p:tgtEl>
                                        <p:attrNameLst>
                                          <p:attrName>style.visibility</p:attrName>
                                        </p:attrNameLst>
                                      </p:cBhvr>
                                      <p:to>
                                        <p:strVal val="visible"/>
                                      </p:to>
                                    </p:set>
                                    <p:animEffect transition="in" filter="fade">
                                      <p:cBhvr>
                                        <p:cTn id="64" dur="500"/>
                                        <p:tgtEl>
                                          <p:spTgt spid="10">
                                            <p:txEl>
                                              <p:pRg st="7" end="7"/>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0">
                                            <p:txEl>
                                              <p:pRg st="8" end="8"/>
                                            </p:txEl>
                                          </p:spTgt>
                                        </p:tgtEl>
                                        <p:attrNameLst>
                                          <p:attrName>style.visibility</p:attrName>
                                        </p:attrNameLst>
                                      </p:cBhvr>
                                      <p:to>
                                        <p:strVal val="visible"/>
                                      </p:to>
                                    </p:set>
                                    <p:animEffect transition="in" filter="fade">
                                      <p:cBhvr>
                                        <p:cTn id="69" dur="500"/>
                                        <p:tgtEl>
                                          <p:spTgt spid="10">
                                            <p:txEl>
                                              <p:pRg st="8" end="8"/>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0">
                                            <p:txEl>
                                              <p:pRg st="9" end="9"/>
                                            </p:txEl>
                                          </p:spTgt>
                                        </p:tgtEl>
                                        <p:attrNameLst>
                                          <p:attrName>style.visibility</p:attrName>
                                        </p:attrNameLst>
                                      </p:cBhvr>
                                      <p:to>
                                        <p:strVal val="visible"/>
                                      </p:to>
                                    </p:set>
                                    <p:animEffect transition="in" filter="fade">
                                      <p:cBhvr>
                                        <p:cTn id="74" dur="500"/>
                                        <p:tgtEl>
                                          <p:spTgt spid="10">
                                            <p:txEl>
                                              <p:pRg st="9" end="9"/>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
                                            <p:txEl>
                                              <p:pRg st="10" end="10"/>
                                            </p:txEl>
                                          </p:spTgt>
                                        </p:tgtEl>
                                        <p:attrNameLst>
                                          <p:attrName>style.visibility</p:attrName>
                                        </p:attrNameLst>
                                      </p:cBhvr>
                                      <p:to>
                                        <p:strVal val="visible"/>
                                      </p:to>
                                    </p:set>
                                    <p:animEffect transition="in" filter="fade">
                                      <p:cBhvr>
                                        <p:cTn id="79" dur="500"/>
                                        <p:tgtEl>
                                          <p:spTgt spid="1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uiExpand="1" build="p"/>
      <p:bldP spid="9" grpId="0" build="p"/>
      <p:bldP spid="10" grpId="0" uiExpand="1" build="p"/>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erchandising Drivers</a:t>
            </a:r>
          </a:p>
        </p:txBody>
      </p:sp>
      <p:sp>
        <p:nvSpPr>
          <p:cNvPr id="7" name="Text Placeholder 6"/>
          <p:cNvSpPr>
            <a:spLocks noGrp="1"/>
          </p:cNvSpPr>
          <p:nvPr>
            <p:ph type="body" idx="1"/>
          </p:nvPr>
        </p:nvSpPr>
        <p:spPr>
          <a:xfrm>
            <a:off x="843379" y="1949571"/>
            <a:ext cx="5094881" cy="447675"/>
          </a:xfrm>
        </p:spPr>
        <p:txBody>
          <a:bodyPr/>
          <a:lstStyle/>
          <a:p>
            <a:r>
              <a:rPr lang="en-US" dirty="0"/>
              <a:t>Space Productivity Goals</a:t>
            </a:r>
          </a:p>
        </p:txBody>
      </p:sp>
      <p:sp>
        <p:nvSpPr>
          <p:cNvPr id="8" name="Content Placeholder 7"/>
          <p:cNvSpPr>
            <a:spLocks noGrp="1"/>
          </p:cNvSpPr>
          <p:nvPr>
            <p:ph sz="half" idx="2"/>
          </p:nvPr>
        </p:nvSpPr>
        <p:spPr>
          <a:xfrm>
            <a:off x="2102069" y="2290439"/>
            <a:ext cx="8108731" cy="1349979"/>
          </a:xfrm>
        </p:spPr>
        <p:txBody>
          <a:bodyPr/>
          <a:lstStyle/>
          <a:p>
            <a:r>
              <a:rPr lang="en-US" sz="1800" b="0" dirty="0"/>
              <a:t>Identify productivity measures (e.g. sales or margin per sq. ft.)</a:t>
            </a:r>
          </a:p>
          <a:p>
            <a:r>
              <a:rPr lang="en-US" sz="1800" b="0" dirty="0"/>
              <a:t>Maximize productivity</a:t>
            </a:r>
          </a:p>
          <a:p>
            <a:r>
              <a:rPr lang="en-US" sz="1800" b="0" dirty="0"/>
              <a:t>More detail in the “Analysis and KPIs” presentation</a:t>
            </a:r>
          </a:p>
          <a:p>
            <a:endParaRPr lang="en-US" dirty="0"/>
          </a:p>
        </p:txBody>
      </p:sp>
      <p:sp>
        <p:nvSpPr>
          <p:cNvPr id="9" name="Text Placeholder 8"/>
          <p:cNvSpPr>
            <a:spLocks noGrp="1"/>
          </p:cNvSpPr>
          <p:nvPr>
            <p:ph type="body" sz="quarter" idx="3"/>
          </p:nvPr>
        </p:nvSpPr>
        <p:spPr>
          <a:xfrm>
            <a:off x="843379" y="3650443"/>
            <a:ext cx="9367421" cy="447675"/>
          </a:xfrm>
        </p:spPr>
        <p:txBody>
          <a:bodyPr/>
          <a:lstStyle/>
          <a:p>
            <a:r>
              <a:rPr lang="en-US" dirty="0"/>
              <a:t>Holding Capacity Optimization</a:t>
            </a:r>
          </a:p>
        </p:txBody>
      </p:sp>
      <p:sp>
        <p:nvSpPr>
          <p:cNvPr id="10" name="Content Placeholder 9"/>
          <p:cNvSpPr>
            <a:spLocks noGrp="1"/>
          </p:cNvSpPr>
          <p:nvPr>
            <p:ph sz="quarter" idx="4"/>
          </p:nvPr>
        </p:nvSpPr>
        <p:spPr>
          <a:xfrm>
            <a:off x="2102068" y="4098119"/>
            <a:ext cx="9731865" cy="2393242"/>
          </a:xfrm>
        </p:spPr>
        <p:txBody>
          <a:bodyPr numCol="2"/>
          <a:lstStyle/>
          <a:p>
            <a:r>
              <a:rPr lang="en-US" sz="1800" b="0" dirty="0"/>
              <a:t>Identify thresholds for over and under stock positions based on rate of sale</a:t>
            </a:r>
          </a:p>
          <a:p>
            <a:r>
              <a:rPr lang="en-US" sz="1800" b="0" dirty="0"/>
              <a:t>When planning the number of facings for an item, consider:</a:t>
            </a:r>
          </a:p>
          <a:p>
            <a:pPr lvl="1"/>
            <a:r>
              <a:rPr lang="en-US" sz="1800" dirty="0"/>
              <a:t>Rate of sale</a:t>
            </a:r>
          </a:p>
          <a:p>
            <a:pPr lvl="1"/>
            <a:r>
              <a:rPr lang="en-US" sz="1800" dirty="0"/>
              <a:t>Capacity</a:t>
            </a:r>
          </a:p>
          <a:p>
            <a:pPr lvl="1"/>
            <a:r>
              <a:rPr lang="en-US" sz="1800" dirty="0"/>
              <a:t>Case Pack</a:t>
            </a:r>
          </a:p>
          <a:p>
            <a:pPr lvl="1"/>
            <a:r>
              <a:rPr lang="en-US" sz="1800" dirty="0"/>
              <a:t>Safety Stock</a:t>
            </a:r>
          </a:p>
          <a:p>
            <a:pPr lvl="1"/>
            <a:r>
              <a:rPr lang="en-US" sz="1800" dirty="0"/>
              <a:t>Min and Max units needed</a:t>
            </a:r>
          </a:p>
          <a:p>
            <a:pPr lvl="1"/>
            <a:r>
              <a:rPr lang="en-US" sz="1800" dirty="0"/>
              <a:t>Days of Supply requirements</a:t>
            </a:r>
          </a:p>
          <a:p>
            <a:pPr lvl="1"/>
            <a:r>
              <a:rPr lang="en-US" sz="1800" dirty="0"/>
              <a:t>Etc.</a:t>
            </a:r>
          </a:p>
          <a:p>
            <a:endParaRPr lang="en-US" dirty="0"/>
          </a:p>
        </p:txBody>
      </p:sp>
      <p:sp>
        <p:nvSpPr>
          <p:cNvPr id="11" name="TextBox 10"/>
          <p:cNvSpPr txBox="1"/>
          <p:nvPr/>
        </p:nvSpPr>
        <p:spPr>
          <a:xfrm>
            <a:off x="3181733" y="1150828"/>
            <a:ext cx="5656164" cy="707886"/>
          </a:xfrm>
          <a:prstGeom prst="rect">
            <a:avLst/>
          </a:prstGeom>
          <a:noFill/>
        </p:spPr>
        <p:txBody>
          <a:bodyPr wrap="none" rtlCol="0">
            <a:spAutoFit/>
          </a:bodyPr>
          <a:lstStyle/>
          <a:p>
            <a:pPr algn="ctr"/>
            <a:r>
              <a:rPr lang="en-US" sz="2000" b="1" dirty="0">
                <a:solidFill>
                  <a:schemeClr val="accent5"/>
                </a:solidFill>
              </a:rPr>
              <a:t>Rank drivers in terms of importance to allow </a:t>
            </a:r>
          </a:p>
          <a:p>
            <a:pPr algn="ctr"/>
            <a:r>
              <a:rPr lang="en-US" sz="2000" b="1" dirty="0">
                <a:solidFill>
                  <a:schemeClr val="accent5"/>
                </a:solidFill>
              </a:rPr>
              <a:t>trade offs when executing merchandising principles</a:t>
            </a:r>
          </a:p>
        </p:txBody>
      </p:sp>
      <p:sp>
        <p:nvSpPr>
          <p:cNvPr id="12"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2570142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xEl>
                                              <p:pRg st="2" end="2"/>
                                            </p:txEl>
                                          </p:spTgt>
                                        </p:tgtEl>
                                        <p:attrNameLst>
                                          <p:attrName>style.visibility</p:attrName>
                                        </p:attrNameLst>
                                      </p:cBhvr>
                                      <p:to>
                                        <p:strVal val="visible"/>
                                      </p:to>
                                    </p:set>
                                    <p:animEffect transition="in" filter="fade">
                                      <p:cBhvr>
                                        <p:cTn id="20" dur="500"/>
                                        <p:tgtEl>
                                          <p:spTgt spid="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xEl>
                                              <p:pRg st="0" end="0"/>
                                            </p:txEl>
                                          </p:spTgt>
                                        </p:tgtEl>
                                        <p:attrNameLst>
                                          <p:attrName>style.visibility</p:attrName>
                                        </p:attrNameLst>
                                      </p:cBhvr>
                                      <p:to>
                                        <p:strVal val="visible"/>
                                      </p:to>
                                    </p:set>
                                    <p:animEffect transition="in" filter="fade">
                                      <p:cBhvr>
                                        <p:cTn id="25" dur="500"/>
                                        <p:tgtEl>
                                          <p:spTgt spid="9">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
                                            <p:txEl>
                                              <p:pRg st="0" end="0"/>
                                            </p:txEl>
                                          </p:spTgt>
                                        </p:tgtEl>
                                        <p:attrNameLst>
                                          <p:attrName>style.visibility</p:attrName>
                                        </p:attrNameLst>
                                      </p:cBhvr>
                                      <p:to>
                                        <p:strVal val="visible"/>
                                      </p:to>
                                    </p:set>
                                    <p:animEffect transition="in" filter="fade">
                                      <p:cBhvr>
                                        <p:cTn id="28" dur="500"/>
                                        <p:tgtEl>
                                          <p:spTgt spid="10">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0">
                                            <p:txEl>
                                              <p:pRg st="1" end="1"/>
                                            </p:txEl>
                                          </p:spTgt>
                                        </p:tgtEl>
                                        <p:attrNameLst>
                                          <p:attrName>style.visibility</p:attrName>
                                        </p:attrNameLst>
                                      </p:cBhvr>
                                      <p:to>
                                        <p:strVal val="visible"/>
                                      </p:to>
                                    </p:set>
                                    <p:animEffect transition="in" filter="fade">
                                      <p:cBhvr>
                                        <p:cTn id="33" dur="500"/>
                                        <p:tgtEl>
                                          <p:spTgt spid="10">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0">
                                            <p:txEl>
                                              <p:pRg st="2" end="2"/>
                                            </p:txEl>
                                          </p:spTgt>
                                        </p:tgtEl>
                                        <p:attrNameLst>
                                          <p:attrName>style.visibility</p:attrName>
                                        </p:attrNameLst>
                                      </p:cBhvr>
                                      <p:to>
                                        <p:strVal val="visible"/>
                                      </p:to>
                                    </p:set>
                                    <p:animEffect transition="in" filter="fade">
                                      <p:cBhvr>
                                        <p:cTn id="38" dur="500"/>
                                        <p:tgtEl>
                                          <p:spTgt spid="10">
                                            <p:txEl>
                                              <p:pRg st="2" end="2"/>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xEl>
                                              <p:pRg st="3" end="3"/>
                                            </p:txEl>
                                          </p:spTgt>
                                        </p:tgtEl>
                                        <p:attrNameLst>
                                          <p:attrName>style.visibility</p:attrName>
                                        </p:attrNameLst>
                                      </p:cBhvr>
                                      <p:to>
                                        <p:strVal val="visible"/>
                                      </p:to>
                                    </p:set>
                                    <p:animEffect transition="in" filter="fade">
                                      <p:cBhvr>
                                        <p:cTn id="41" dur="500"/>
                                        <p:tgtEl>
                                          <p:spTgt spid="10">
                                            <p:txEl>
                                              <p:pRg st="3" end="3"/>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xEl>
                                              <p:pRg st="4" end="4"/>
                                            </p:txEl>
                                          </p:spTgt>
                                        </p:tgtEl>
                                        <p:attrNameLst>
                                          <p:attrName>style.visibility</p:attrName>
                                        </p:attrNameLst>
                                      </p:cBhvr>
                                      <p:to>
                                        <p:strVal val="visible"/>
                                      </p:to>
                                    </p:set>
                                    <p:animEffect transition="in" filter="fade">
                                      <p:cBhvr>
                                        <p:cTn id="44" dur="500"/>
                                        <p:tgtEl>
                                          <p:spTgt spid="10">
                                            <p:txEl>
                                              <p:pRg st="4" end="4"/>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
                                            <p:txEl>
                                              <p:pRg st="5" end="5"/>
                                            </p:txEl>
                                          </p:spTgt>
                                        </p:tgtEl>
                                        <p:attrNameLst>
                                          <p:attrName>style.visibility</p:attrName>
                                        </p:attrNameLst>
                                      </p:cBhvr>
                                      <p:to>
                                        <p:strVal val="visible"/>
                                      </p:to>
                                    </p:set>
                                    <p:animEffect transition="in" filter="fade">
                                      <p:cBhvr>
                                        <p:cTn id="47" dur="500"/>
                                        <p:tgtEl>
                                          <p:spTgt spid="10">
                                            <p:txEl>
                                              <p:pRg st="5" end="5"/>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
                                            <p:txEl>
                                              <p:pRg st="6" end="6"/>
                                            </p:txEl>
                                          </p:spTgt>
                                        </p:tgtEl>
                                        <p:attrNameLst>
                                          <p:attrName>style.visibility</p:attrName>
                                        </p:attrNameLst>
                                      </p:cBhvr>
                                      <p:to>
                                        <p:strVal val="visible"/>
                                      </p:to>
                                    </p:set>
                                    <p:animEffect transition="in" filter="fade">
                                      <p:cBhvr>
                                        <p:cTn id="50" dur="500"/>
                                        <p:tgtEl>
                                          <p:spTgt spid="10">
                                            <p:txEl>
                                              <p:pRg st="6" end="6"/>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
                                            <p:txEl>
                                              <p:pRg st="7" end="7"/>
                                            </p:txEl>
                                          </p:spTgt>
                                        </p:tgtEl>
                                        <p:attrNameLst>
                                          <p:attrName>style.visibility</p:attrName>
                                        </p:attrNameLst>
                                      </p:cBhvr>
                                      <p:to>
                                        <p:strVal val="visible"/>
                                      </p:to>
                                    </p:set>
                                    <p:animEffect transition="in" filter="fade">
                                      <p:cBhvr>
                                        <p:cTn id="53" dur="500"/>
                                        <p:tgtEl>
                                          <p:spTgt spid="10">
                                            <p:txEl>
                                              <p:pRg st="7" end="7"/>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
                                            <p:txEl>
                                              <p:pRg st="8" end="8"/>
                                            </p:txEl>
                                          </p:spTgt>
                                        </p:tgtEl>
                                        <p:attrNameLst>
                                          <p:attrName>style.visibility</p:attrName>
                                        </p:attrNameLst>
                                      </p:cBhvr>
                                      <p:to>
                                        <p:strVal val="visible"/>
                                      </p:to>
                                    </p:set>
                                    <p:animEffect transition="in" filter="fade">
                                      <p:cBhvr>
                                        <p:cTn id="56" dur="500"/>
                                        <p:tgtEl>
                                          <p:spTgt spid="1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P spid="10"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auto">
          <a:xfrm>
            <a:off x="1943100" y="1572161"/>
            <a:ext cx="5638800" cy="4953000"/>
          </a:xfrm>
          <a:prstGeom prst="rect">
            <a:avLst/>
          </a:prstGeom>
          <a:noFill/>
          <a:ln w="12700" cap="sq">
            <a:noFill/>
            <a:miter lim="800000"/>
            <a:headEnd type="none" w="sm" len="sm"/>
            <a:tailEnd type="none" w="sm" len="sm"/>
          </a:ln>
        </p:spPr>
        <p:txBody>
          <a:bodyPr/>
          <a:lstStyle/>
          <a:p>
            <a:pPr>
              <a:lnSpc>
                <a:spcPct val="110000"/>
              </a:lnSpc>
              <a:spcBef>
                <a:spcPct val="50000"/>
              </a:spcBef>
              <a:buClr>
                <a:srgbClr val="830C2C"/>
              </a:buClr>
              <a:buSzPct val="75000"/>
            </a:pPr>
            <a:r>
              <a:rPr lang="en-US" sz="2400" dirty="0">
                <a:solidFill>
                  <a:srgbClr val="455B6D"/>
                </a:solidFill>
                <a:latin typeface="Myriad Pro" pitchFamily="34" charset="0"/>
              </a:rPr>
              <a:t>Weekly Sales per Store</a:t>
            </a:r>
          </a:p>
          <a:p>
            <a:pPr>
              <a:lnSpc>
                <a:spcPct val="110000"/>
              </a:lnSpc>
              <a:spcBef>
                <a:spcPct val="50000"/>
              </a:spcBef>
              <a:buClr>
                <a:srgbClr val="830C2C"/>
              </a:buClr>
              <a:buSzPct val="75000"/>
            </a:pPr>
            <a:r>
              <a:rPr lang="en-US" sz="2400" dirty="0">
                <a:solidFill>
                  <a:srgbClr val="455B6D"/>
                </a:solidFill>
                <a:latin typeface="Myriad Pro" pitchFamily="34" charset="0"/>
              </a:rPr>
              <a:t>Weekly Profit per Store</a:t>
            </a:r>
          </a:p>
          <a:p>
            <a:pPr>
              <a:lnSpc>
                <a:spcPct val="110000"/>
              </a:lnSpc>
              <a:spcBef>
                <a:spcPct val="50000"/>
              </a:spcBef>
              <a:buClr>
                <a:srgbClr val="830C2C"/>
              </a:buClr>
              <a:buSzPct val="75000"/>
            </a:pPr>
            <a:r>
              <a:rPr lang="en-US" sz="2400" dirty="0">
                <a:solidFill>
                  <a:srgbClr val="455B6D"/>
                </a:solidFill>
                <a:latin typeface="Myriad Pro" pitchFamily="34" charset="0"/>
              </a:rPr>
              <a:t>ROII</a:t>
            </a:r>
          </a:p>
          <a:p>
            <a:pPr>
              <a:lnSpc>
                <a:spcPct val="110000"/>
              </a:lnSpc>
              <a:spcBef>
                <a:spcPct val="50000"/>
              </a:spcBef>
              <a:buClr>
                <a:srgbClr val="830C2C"/>
              </a:buClr>
              <a:buSzPct val="75000"/>
            </a:pPr>
            <a:r>
              <a:rPr lang="en-US" sz="2400" dirty="0">
                <a:solidFill>
                  <a:srgbClr val="455B6D"/>
                </a:solidFill>
                <a:latin typeface="Myriad Pro" pitchFamily="34" charset="0"/>
              </a:rPr>
              <a:t>Annual Inventory Turns</a:t>
            </a:r>
          </a:p>
          <a:p>
            <a:pPr>
              <a:lnSpc>
                <a:spcPct val="110000"/>
              </a:lnSpc>
              <a:spcBef>
                <a:spcPct val="50000"/>
              </a:spcBef>
              <a:buClr>
                <a:srgbClr val="830C2C"/>
              </a:buClr>
              <a:buSzPct val="75000"/>
            </a:pPr>
            <a:r>
              <a:rPr lang="en-US" sz="2400" dirty="0">
                <a:solidFill>
                  <a:srgbClr val="455B6D"/>
                </a:solidFill>
                <a:latin typeface="Myriad Pro" pitchFamily="34" charset="0"/>
              </a:rPr>
              <a:t>Cash Flow</a:t>
            </a:r>
          </a:p>
          <a:p>
            <a:pPr>
              <a:lnSpc>
                <a:spcPct val="110000"/>
              </a:lnSpc>
              <a:spcBef>
                <a:spcPct val="50000"/>
              </a:spcBef>
              <a:buClr>
                <a:srgbClr val="830C2C"/>
              </a:buClr>
              <a:buSzPct val="75000"/>
            </a:pPr>
            <a:r>
              <a:rPr lang="en-US" sz="2400" dirty="0">
                <a:solidFill>
                  <a:srgbClr val="455B6D"/>
                </a:solidFill>
                <a:latin typeface="Myriad Pro" pitchFamily="34" charset="0"/>
              </a:rPr>
              <a:t>Out of Stocks</a:t>
            </a:r>
          </a:p>
          <a:p>
            <a:pPr>
              <a:lnSpc>
                <a:spcPct val="110000"/>
              </a:lnSpc>
              <a:spcBef>
                <a:spcPct val="50000"/>
              </a:spcBef>
              <a:buClr>
                <a:srgbClr val="830C2C"/>
              </a:buClr>
              <a:buSzPct val="75000"/>
            </a:pPr>
            <a:r>
              <a:rPr lang="en-US" sz="2400" dirty="0">
                <a:solidFill>
                  <a:srgbClr val="455B6D"/>
                </a:solidFill>
                <a:latin typeface="Myriad Pro" pitchFamily="34" charset="0"/>
              </a:rPr>
              <a:t>Average Days of Supply</a:t>
            </a:r>
          </a:p>
          <a:p>
            <a:pPr>
              <a:lnSpc>
                <a:spcPct val="110000"/>
              </a:lnSpc>
              <a:spcBef>
                <a:spcPct val="50000"/>
              </a:spcBef>
              <a:buClr>
                <a:srgbClr val="830C2C"/>
              </a:buClr>
              <a:buSzPct val="75000"/>
            </a:pPr>
            <a:r>
              <a:rPr lang="en-US" sz="2400" dirty="0">
                <a:solidFill>
                  <a:srgbClr val="455B6D"/>
                </a:solidFill>
                <a:latin typeface="Myriad Pro" pitchFamily="34" charset="0"/>
              </a:rPr>
              <a:t>Inventory Dollars</a:t>
            </a:r>
          </a:p>
          <a:p>
            <a:pPr marL="342900" indent="-342900">
              <a:lnSpc>
                <a:spcPct val="110000"/>
              </a:lnSpc>
              <a:spcBef>
                <a:spcPct val="50000"/>
              </a:spcBef>
              <a:buClr>
                <a:srgbClr val="830C2C"/>
              </a:buClr>
              <a:buSzPct val="75000"/>
              <a:buBlip>
                <a:blip r:embed="rId3"/>
              </a:buBlip>
            </a:pPr>
            <a:endParaRPr lang="en-US" sz="2400" dirty="0">
              <a:solidFill>
                <a:srgbClr val="455B6D"/>
              </a:solidFill>
              <a:latin typeface="Myriad Pro" pitchFamily="34" charset="0"/>
            </a:endParaRPr>
          </a:p>
        </p:txBody>
      </p:sp>
      <p:sp>
        <p:nvSpPr>
          <p:cNvPr id="12" name="AutoShape 3"/>
          <p:cNvSpPr>
            <a:spLocks noChangeArrowheads="1"/>
          </p:cNvSpPr>
          <p:nvPr/>
        </p:nvSpPr>
        <p:spPr bwMode="auto">
          <a:xfrm>
            <a:off x="5992813" y="1544638"/>
            <a:ext cx="457200" cy="476250"/>
          </a:xfrm>
          <a:prstGeom prst="upArrow">
            <a:avLst>
              <a:gd name="adj1" fmla="val 50000"/>
              <a:gd name="adj2" fmla="val 26042"/>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13" name="AutoShape 4"/>
          <p:cNvSpPr>
            <a:spLocks noChangeArrowheads="1"/>
          </p:cNvSpPr>
          <p:nvPr/>
        </p:nvSpPr>
        <p:spPr bwMode="auto">
          <a:xfrm>
            <a:off x="5992813" y="2120900"/>
            <a:ext cx="457200" cy="476250"/>
          </a:xfrm>
          <a:prstGeom prst="upArrow">
            <a:avLst>
              <a:gd name="adj1" fmla="val 50000"/>
              <a:gd name="adj2" fmla="val 26042"/>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14" name="AutoShape 5"/>
          <p:cNvSpPr>
            <a:spLocks noChangeArrowheads="1"/>
          </p:cNvSpPr>
          <p:nvPr/>
        </p:nvSpPr>
        <p:spPr bwMode="auto">
          <a:xfrm rot="10800000">
            <a:off x="6002338" y="4582902"/>
            <a:ext cx="457200" cy="458788"/>
          </a:xfrm>
          <a:prstGeom prst="upArrow">
            <a:avLst>
              <a:gd name="adj1" fmla="val 50000"/>
              <a:gd name="adj2" fmla="val 25087"/>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15" name="AutoShape 7"/>
          <p:cNvSpPr>
            <a:spLocks noChangeArrowheads="1"/>
          </p:cNvSpPr>
          <p:nvPr/>
        </p:nvSpPr>
        <p:spPr bwMode="auto">
          <a:xfrm>
            <a:off x="5994400" y="2692401"/>
            <a:ext cx="457200" cy="449263"/>
          </a:xfrm>
          <a:prstGeom prst="upArrow">
            <a:avLst>
              <a:gd name="adj1" fmla="val 50000"/>
              <a:gd name="adj2" fmla="val 25000"/>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16" name="Text Box 8"/>
          <p:cNvSpPr txBox="1">
            <a:spLocks noChangeArrowheads="1"/>
          </p:cNvSpPr>
          <p:nvPr/>
        </p:nvSpPr>
        <p:spPr bwMode="auto">
          <a:xfrm>
            <a:off x="7065109" y="2742664"/>
            <a:ext cx="3111589" cy="2446751"/>
          </a:xfrm>
          <a:prstGeom prst="rect">
            <a:avLst/>
          </a:prstGeom>
          <a:solidFill>
            <a:schemeClr val="tx1">
              <a:lumMod val="50000"/>
              <a:lumOff val="50000"/>
            </a:schemeClr>
          </a:solidFill>
          <a:ln w="9525">
            <a:noFill/>
            <a:miter lim="800000"/>
            <a:headEnd/>
            <a:tailEnd/>
          </a:ln>
          <a:scene3d>
            <a:camera prst="orthographicFront"/>
            <a:lightRig rig="threePt" dir="t"/>
          </a:scene3d>
          <a:sp3d>
            <a:bevelT w="114300" prst="hardEdge"/>
          </a:sp3d>
        </p:spPr>
        <p:txBody>
          <a:bodyPr anchor="ctr">
            <a:noAutofit/>
          </a:bodyPr>
          <a:lstStyle/>
          <a:p>
            <a:pPr algn="ctr" eaLnBrk="0" hangingPunct="0"/>
            <a:r>
              <a:rPr lang="en-US" sz="2000" b="1" dirty="0">
                <a:solidFill>
                  <a:srgbClr val="FFFFFF"/>
                </a:solidFill>
              </a:rPr>
              <a:t>We  can measure &amp; assess the impact of the proposed planogram by key performance indicators</a:t>
            </a:r>
          </a:p>
        </p:txBody>
      </p:sp>
      <p:sp>
        <p:nvSpPr>
          <p:cNvPr id="17" name="Line 10"/>
          <p:cNvSpPr>
            <a:spLocks noChangeShapeType="1"/>
          </p:cNvSpPr>
          <p:nvPr/>
        </p:nvSpPr>
        <p:spPr bwMode="auto">
          <a:xfrm>
            <a:off x="1652589" y="4400565"/>
            <a:ext cx="5051425" cy="22225"/>
          </a:xfrm>
          <a:prstGeom prst="line">
            <a:avLst/>
          </a:prstGeom>
          <a:noFill/>
          <a:ln w="12700">
            <a:solidFill>
              <a:srgbClr val="800000"/>
            </a:solidFill>
            <a:prstDash val="dash"/>
            <a:round/>
            <a:headEnd/>
            <a:tailEnd/>
          </a:ln>
        </p:spPr>
        <p:txBody>
          <a:bodyPr anchor="ctr"/>
          <a:lstStyle/>
          <a:p>
            <a:endParaRPr lang="en-US" dirty="0">
              <a:solidFill>
                <a:srgbClr val="455B6D"/>
              </a:solidFill>
            </a:endParaRPr>
          </a:p>
        </p:txBody>
      </p:sp>
      <p:sp>
        <p:nvSpPr>
          <p:cNvPr id="18" name="AutoShape 12"/>
          <p:cNvSpPr>
            <a:spLocks noChangeArrowheads="1"/>
          </p:cNvSpPr>
          <p:nvPr/>
        </p:nvSpPr>
        <p:spPr bwMode="auto">
          <a:xfrm rot="10800000">
            <a:off x="6007100" y="5125827"/>
            <a:ext cx="457200" cy="457200"/>
          </a:xfrm>
          <a:prstGeom prst="upArrow">
            <a:avLst>
              <a:gd name="adj1" fmla="val 50000"/>
              <a:gd name="adj2" fmla="val 25000"/>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19" name="AutoShape 13"/>
          <p:cNvSpPr>
            <a:spLocks noChangeArrowheads="1"/>
          </p:cNvSpPr>
          <p:nvPr/>
        </p:nvSpPr>
        <p:spPr bwMode="auto">
          <a:xfrm rot="10800000">
            <a:off x="6026150" y="5676690"/>
            <a:ext cx="457200" cy="476250"/>
          </a:xfrm>
          <a:prstGeom prst="upArrow">
            <a:avLst>
              <a:gd name="adj1" fmla="val 50000"/>
              <a:gd name="adj2" fmla="val 26042"/>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20" name="AutoShape 14"/>
          <p:cNvSpPr>
            <a:spLocks noChangeArrowheads="1"/>
          </p:cNvSpPr>
          <p:nvPr/>
        </p:nvSpPr>
        <p:spPr bwMode="auto">
          <a:xfrm>
            <a:off x="5991225" y="3311526"/>
            <a:ext cx="457200" cy="449263"/>
          </a:xfrm>
          <a:prstGeom prst="upArrow">
            <a:avLst>
              <a:gd name="adj1" fmla="val 50000"/>
              <a:gd name="adj2" fmla="val 25000"/>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21" name="AutoShape 14"/>
          <p:cNvSpPr>
            <a:spLocks noChangeArrowheads="1"/>
          </p:cNvSpPr>
          <p:nvPr/>
        </p:nvSpPr>
        <p:spPr bwMode="auto">
          <a:xfrm>
            <a:off x="5991221" y="3866708"/>
            <a:ext cx="457200" cy="449263"/>
          </a:xfrm>
          <a:prstGeom prst="upArrow">
            <a:avLst>
              <a:gd name="adj1" fmla="val 50000"/>
              <a:gd name="adj2" fmla="val 25000"/>
            </a:avLst>
          </a:prstGeom>
          <a:solidFill>
            <a:srgbClr val="333399"/>
          </a:solidFill>
          <a:ln w="9525">
            <a:solidFill>
              <a:schemeClr val="tx1"/>
            </a:solidFill>
            <a:miter lim="800000"/>
            <a:headEnd/>
            <a:tailEnd/>
          </a:ln>
        </p:spPr>
        <p:txBody>
          <a:bodyPr wrap="none" anchor="ctr"/>
          <a:lstStyle/>
          <a:p>
            <a:endParaRPr lang="en-US" dirty="0">
              <a:solidFill>
                <a:srgbClr val="455B6D"/>
              </a:solidFill>
            </a:endParaRPr>
          </a:p>
        </p:txBody>
      </p:sp>
      <p:sp>
        <p:nvSpPr>
          <p:cNvPr id="22" name="Title 1"/>
          <p:cNvSpPr txBox="1">
            <a:spLocks/>
          </p:cNvSpPr>
          <p:nvPr/>
        </p:nvSpPr>
        <p:spPr>
          <a:xfrm>
            <a:off x="1731548" y="177553"/>
            <a:ext cx="4364452" cy="894063"/>
          </a:xfrm>
          <a:prstGeom prst="rect">
            <a:avLst/>
          </a:prstGeom>
        </p:spPr>
        <p:txBody>
          <a:bodyPr/>
          <a:lstStyle>
            <a:lvl1pPr algn="l" defTabSz="817962" rtl="0" eaLnBrk="0" fontAlgn="base" hangingPunct="0">
              <a:spcBef>
                <a:spcPct val="0"/>
              </a:spcBef>
              <a:spcAft>
                <a:spcPct val="0"/>
              </a:spcAft>
              <a:defRPr sz="3000">
                <a:solidFill>
                  <a:schemeClr val="bg2">
                    <a:lumMod val="65000"/>
                    <a:lumOff val="35000"/>
                  </a:schemeClr>
                </a:solidFill>
                <a:latin typeface="+mj-lt"/>
                <a:ea typeface="+mj-ea"/>
                <a:cs typeface="+mj-cs"/>
              </a:defRPr>
            </a:lvl1pPr>
            <a:lvl2pPr algn="l" defTabSz="817962" rtl="0" eaLnBrk="0" fontAlgn="base" hangingPunct="0">
              <a:spcBef>
                <a:spcPct val="0"/>
              </a:spcBef>
              <a:spcAft>
                <a:spcPct val="0"/>
              </a:spcAft>
              <a:defRPr sz="3000">
                <a:solidFill>
                  <a:schemeClr val="tx2"/>
                </a:solidFill>
                <a:latin typeface="Verdana" pitchFamily="34" charset="0"/>
              </a:defRPr>
            </a:lvl2pPr>
            <a:lvl3pPr algn="l" defTabSz="817962" rtl="0" eaLnBrk="0" fontAlgn="base" hangingPunct="0">
              <a:spcBef>
                <a:spcPct val="0"/>
              </a:spcBef>
              <a:spcAft>
                <a:spcPct val="0"/>
              </a:spcAft>
              <a:defRPr sz="3000">
                <a:solidFill>
                  <a:schemeClr val="tx2"/>
                </a:solidFill>
                <a:latin typeface="Verdana" pitchFamily="34" charset="0"/>
              </a:defRPr>
            </a:lvl3pPr>
            <a:lvl4pPr algn="l" defTabSz="817962" rtl="0" eaLnBrk="0" fontAlgn="base" hangingPunct="0">
              <a:spcBef>
                <a:spcPct val="0"/>
              </a:spcBef>
              <a:spcAft>
                <a:spcPct val="0"/>
              </a:spcAft>
              <a:defRPr sz="3000">
                <a:solidFill>
                  <a:schemeClr val="tx2"/>
                </a:solidFill>
                <a:latin typeface="Verdana" pitchFamily="34" charset="0"/>
              </a:defRPr>
            </a:lvl4pPr>
            <a:lvl5pPr algn="l" defTabSz="817962" rtl="0" eaLnBrk="0" fontAlgn="base" hangingPunct="0">
              <a:spcBef>
                <a:spcPct val="0"/>
              </a:spcBef>
              <a:spcAft>
                <a:spcPct val="0"/>
              </a:spcAft>
              <a:defRPr sz="3000">
                <a:solidFill>
                  <a:schemeClr val="tx2"/>
                </a:solidFill>
                <a:latin typeface="Verdana" pitchFamily="34" charset="0"/>
              </a:defRPr>
            </a:lvl5pPr>
            <a:lvl6pPr marL="425899" algn="l" defTabSz="820743" rtl="0" fontAlgn="base">
              <a:spcBef>
                <a:spcPct val="0"/>
              </a:spcBef>
              <a:spcAft>
                <a:spcPct val="0"/>
              </a:spcAft>
              <a:defRPr sz="3000">
                <a:solidFill>
                  <a:schemeClr val="tx2"/>
                </a:solidFill>
                <a:latin typeface="Verdana" pitchFamily="34" charset="0"/>
              </a:defRPr>
            </a:lvl6pPr>
            <a:lvl7pPr marL="851799" algn="l" defTabSz="820743" rtl="0" fontAlgn="base">
              <a:spcBef>
                <a:spcPct val="0"/>
              </a:spcBef>
              <a:spcAft>
                <a:spcPct val="0"/>
              </a:spcAft>
              <a:defRPr sz="3000">
                <a:solidFill>
                  <a:schemeClr val="tx2"/>
                </a:solidFill>
                <a:latin typeface="Verdana" pitchFamily="34" charset="0"/>
              </a:defRPr>
            </a:lvl7pPr>
            <a:lvl8pPr marL="1277697" algn="l" defTabSz="820743" rtl="0" fontAlgn="base">
              <a:spcBef>
                <a:spcPct val="0"/>
              </a:spcBef>
              <a:spcAft>
                <a:spcPct val="0"/>
              </a:spcAft>
              <a:defRPr sz="3000">
                <a:solidFill>
                  <a:schemeClr val="tx2"/>
                </a:solidFill>
                <a:latin typeface="Verdana" pitchFamily="34" charset="0"/>
              </a:defRPr>
            </a:lvl8pPr>
            <a:lvl9pPr marL="1703597" algn="l" defTabSz="820743" rtl="0" fontAlgn="base">
              <a:spcBef>
                <a:spcPct val="0"/>
              </a:spcBef>
              <a:spcAft>
                <a:spcPct val="0"/>
              </a:spcAft>
              <a:defRPr sz="3000">
                <a:solidFill>
                  <a:schemeClr val="tx2"/>
                </a:solidFill>
                <a:latin typeface="Verdana" pitchFamily="34" charset="0"/>
              </a:defRPr>
            </a:lvl9pPr>
          </a:lstStyle>
          <a:p>
            <a:r>
              <a:rPr lang="en-US" b="1" kern="0" dirty="0">
                <a:solidFill>
                  <a:schemeClr val="tx1"/>
                </a:solidFill>
              </a:rPr>
              <a:t>DOS Methodology</a:t>
            </a:r>
          </a:p>
        </p:txBody>
      </p:sp>
    </p:spTree>
    <p:extLst>
      <p:ext uri="{BB962C8B-B14F-4D97-AF65-F5344CB8AC3E}">
        <p14:creationId xmlns:p14="http://schemas.microsoft.com/office/powerpoint/2010/main" val="249914310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0D891-A88E-48DC-BF0C-E89A6A99D740}"/>
              </a:ext>
            </a:extLst>
          </p:cNvPr>
          <p:cNvSpPr>
            <a:spLocks noGrp="1"/>
          </p:cNvSpPr>
          <p:nvPr>
            <p:ph type="title"/>
          </p:nvPr>
        </p:nvSpPr>
        <p:spPr/>
        <p:txBody>
          <a:bodyPr/>
          <a:lstStyle/>
          <a:p>
            <a:r>
              <a:rPr lang="en-US"/>
              <a:t>Optimize shelf space productivity</a:t>
            </a:r>
            <a:br>
              <a:rPr lang="en-US"/>
            </a:br>
            <a:endParaRPr lang="en-GB"/>
          </a:p>
        </p:txBody>
      </p:sp>
      <p:sp>
        <p:nvSpPr>
          <p:cNvPr id="3" name="Text Placeholder 2">
            <a:extLst>
              <a:ext uri="{FF2B5EF4-FFF2-40B4-BE49-F238E27FC236}">
                <a16:creationId xmlns:a16="http://schemas.microsoft.com/office/drawing/2014/main" id="{48F09E4B-F031-45DD-B571-BB2DA4737C4F}"/>
              </a:ext>
            </a:extLst>
          </p:cNvPr>
          <p:cNvSpPr>
            <a:spLocks noGrp="1"/>
          </p:cNvSpPr>
          <p:nvPr>
            <p:ph type="body" sz="quarter" idx="10"/>
          </p:nvPr>
        </p:nvSpPr>
        <p:spPr/>
        <p:txBody>
          <a:bodyPr/>
          <a:lstStyle/>
          <a:p>
            <a:r>
              <a:rPr lang="en-US"/>
              <a:t>Multiple inventory models supported</a:t>
            </a:r>
          </a:p>
        </p:txBody>
      </p:sp>
      <p:pic>
        <p:nvPicPr>
          <p:cNvPr id="4" name="Picture 3">
            <a:extLst>
              <a:ext uri="{FF2B5EF4-FFF2-40B4-BE49-F238E27FC236}">
                <a16:creationId xmlns:a16="http://schemas.microsoft.com/office/drawing/2014/main" id="{DBFEC06C-C293-4822-96A8-9F29A3007590}"/>
              </a:ext>
            </a:extLst>
          </p:cNvPr>
          <p:cNvPicPr>
            <a:picLocks noChangeAspect="1"/>
          </p:cNvPicPr>
          <p:nvPr/>
        </p:nvPicPr>
        <p:blipFill rotWithShape="1">
          <a:blip r:embed="rId2"/>
          <a:srcRect l="1287" t="363" r="1636" b="1507"/>
          <a:stretch/>
        </p:blipFill>
        <p:spPr>
          <a:xfrm>
            <a:off x="498846" y="1299690"/>
            <a:ext cx="3092297" cy="3077958"/>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7341A765-8B00-4577-A6E5-61D583BB594B}"/>
              </a:ext>
            </a:extLst>
          </p:cNvPr>
          <p:cNvPicPr>
            <a:picLocks noChangeAspect="1"/>
          </p:cNvPicPr>
          <p:nvPr/>
        </p:nvPicPr>
        <p:blipFill rotWithShape="1">
          <a:blip r:embed="rId3"/>
          <a:srcRect l="1115" t="551" r="1027" b="2169"/>
          <a:stretch/>
        </p:blipFill>
        <p:spPr>
          <a:xfrm>
            <a:off x="498847" y="4564474"/>
            <a:ext cx="4222147" cy="2230891"/>
          </a:xfrm>
          <a:prstGeom prst="rect">
            <a:avLst/>
          </a:prstGeom>
          <a:ln>
            <a:noFill/>
          </a:ln>
          <a:effectLst>
            <a:outerShdw blurRad="292100" dist="139700" dir="2700000" algn="tl" rotWithShape="0">
              <a:srgbClr val="333333">
                <a:alpha val="65000"/>
              </a:srgbClr>
            </a:outerShdw>
          </a:effectLst>
        </p:spPr>
      </p:pic>
      <p:sp>
        <p:nvSpPr>
          <p:cNvPr id="6" name="Rounded Rectangular Callout 23">
            <a:extLst>
              <a:ext uri="{FF2B5EF4-FFF2-40B4-BE49-F238E27FC236}">
                <a16:creationId xmlns:a16="http://schemas.microsoft.com/office/drawing/2014/main" id="{9172DA1F-E2D6-46D1-B7E6-C75BDCE88DE7}"/>
              </a:ext>
            </a:extLst>
          </p:cNvPr>
          <p:cNvSpPr/>
          <p:nvPr/>
        </p:nvSpPr>
        <p:spPr>
          <a:xfrm>
            <a:off x="3686903" y="1299690"/>
            <a:ext cx="1478163" cy="1013810"/>
          </a:xfrm>
          <a:prstGeom prst="wedgeRoundRectCallout">
            <a:avLst>
              <a:gd name="adj1" fmla="val -66139"/>
              <a:gd name="adj2" fmla="val 72958"/>
              <a:gd name="adj3" fmla="val 1666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a:t>Inventory model:</a:t>
            </a:r>
          </a:p>
          <a:p>
            <a:pPr marL="285664" indent="-285664">
              <a:buFont typeface="Arial" panose="020B0604020202020204" pitchFamily="34" charset="0"/>
              <a:buChar char="•"/>
            </a:pPr>
            <a:r>
              <a:rPr lang="en-US" sz="1200"/>
              <a:t>Min and Max</a:t>
            </a:r>
          </a:p>
          <a:p>
            <a:pPr marL="285664" indent="-285664">
              <a:buFont typeface="Arial" panose="020B0604020202020204" pitchFamily="34" charset="0"/>
              <a:buChar char="•"/>
            </a:pPr>
            <a:r>
              <a:rPr lang="en-US" sz="1200"/>
              <a:t>Case multiple</a:t>
            </a:r>
          </a:p>
          <a:p>
            <a:pPr marL="285664" indent="-285664">
              <a:buFont typeface="Arial" panose="020B0604020202020204" pitchFamily="34" charset="0"/>
              <a:buChar char="•"/>
            </a:pPr>
            <a:r>
              <a:rPr lang="en-US" sz="1200"/>
              <a:t>Days of supply</a:t>
            </a:r>
          </a:p>
          <a:p>
            <a:pPr marL="285664" indent="-285664">
              <a:buFont typeface="Arial" panose="020B0604020202020204" pitchFamily="34" charset="0"/>
              <a:buChar char="•"/>
            </a:pPr>
            <a:r>
              <a:rPr lang="en-US" sz="1200"/>
              <a:t>Peak Demand</a:t>
            </a:r>
          </a:p>
        </p:txBody>
      </p:sp>
      <p:sp>
        <p:nvSpPr>
          <p:cNvPr id="7" name="Rounded Rectangular Callout 24">
            <a:extLst>
              <a:ext uri="{FF2B5EF4-FFF2-40B4-BE49-F238E27FC236}">
                <a16:creationId xmlns:a16="http://schemas.microsoft.com/office/drawing/2014/main" id="{537329C0-2D91-4A94-8E91-04B509AC5692}"/>
              </a:ext>
            </a:extLst>
          </p:cNvPr>
          <p:cNvSpPr/>
          <p:nvPr/>
        </p:nvSpPr>
        <p:spPr>
          <a:xfrm>
            <a:off x="3670129" y="3177582"/>
            <a:ext cx="1478163" cy="1234773"/>
          </a:xfrm>
          <a:prstGeom prst="wedgeRoundRectCallout">
            <a:avLst>
              <a:gd name="adj1" fmla="val -34070"/>
              <a:gd name="adj2" fmla="val 85725"/>
              <a:gd name="adj3" fmla="val 1666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200"/>
              <a:t>Optimize the facings based on different business rules and objectives</a:t>
            </a:r>
            <a:endParaRPr lang="en-GB" sz="1200"/>
          </a:p>
        </p:txBody>
      </p:sp>
      <p:pic>
        <p:nvPicPr>
          <p:cNvPr id="8" name="Picture 7" descr="Screen Clipping">
            <a:extLst>
              <a:ext uri="{FF2B5EF4-FFF2-40B4-BE49-F238E27FC236}">
                <a16:creationId xmlns:a16="http://schemas.microsoft.com/office/drawing/2014/main" id="{F19E3AC0-4566-466E-87DD-DFB085897E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1838" y="1299690"/>
            <a:ext cx="6501412" cy="3145164"/>
          </a:xfrm>
          <a:prstGeom prst="rect">
            <a:avLst/>
          </a:prstGeom>
          <a:ln>
            <a:noFill/>
          </a:ln>
          <a:effectLst>
            <a:outerShdw blurRad="292100" dist="139700" dir="2700000" algn="tl" rotWithShape="0">
              <a:srgbClr val="333333">
                <a:alpha val="65000"/>
              </a:srgbClr>
            </a:outerShdw>
          </a:effectLst>
        </p:spPr>
      </p:pic>
      <p:pic>
        <p:nvPicPr>
          <p:cNvPr id="9" name="Picture 8" descr="Screen Clipping">
            <a:extLst>
              <a:ext uri="{FF2B5EF4-FFF2-40B4-BE49-F238E27FC236}">
                <a16:creationId xmlns:a16="http://schemas.microsoft.com/office/drawing/2014/main" id="{7E2460F7-51A0-40D2-A812-BD371067D1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1839" y="4576711"/>
            <a:ext cx="3849866" cy="2218655"/>
          </a:xfrm>
          <a:prstGeom prst="rect">
            <a:avLst/>
          </a:prstGeom>
          <a:ln>
            <a:noFill/>
          </a:ln>
          <a:effectLst>
            <a:outerShdw blurRad="292100" dist="139700" dir="2700000" algn="tl" rotWithShape="0">
              <a:srgbClr val="333333">
                <a:alpha val="65000"/>
              </a:srgbClr>
            </a:outerShdw>
          </a:effectLst>
        </p:spPr>
      </p:pic>
      <p:sp>
        <p:nvSpPr>
          <p:cNvPr id="10" name="Rounded Rectangular Callout 25">
            <a:extLst>
              <a:ext uri="{FF2B5EF4-FFF2-40B4-BE49-F238E27FC236}">
                <a16:creationId xmlns:a16="http://schemas.microsoft.com/office/drawing/2014/main" id="{2F6BDA54-B758-4433-A63D-9CFA16544C7F}"/>
              </a:ext>
            </a:extLst>
          </p:cNvPr>
          <p:cNvSpPr/>
          <p:nvPr/>
        </p:nvSpPr>
        <p:spPr>
          <a:xfrm>
            <a:off x="9325096" y="5958082"/>
            <a:ext cx="2008464" cy="686560"/>
          </a:xfrm>
          <a:prstGeom prst="wedgeRoundRectCallout">
            <a:avLst>
              <a:gd name="adj1" fmla="val -68784"/>
              <a:gd name="adj2" fmla="val -104918"/>
              <a:gd name="adj3" fmla="val 1666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200"/>
              <a:t>Report showing over and under spaced products</a:t>
            </a:r>
            <a:endParaRPr lang="en-GB" sz="1200"/>
          </a:p>
        </p:txBody>
      </p:sp>
      <p:sp>
        <p:nvSpPr>
          <p:cNvPr id="11" name="Rounded Rectangular Callout 26">
            <a:extLst>
              <a:ext uri="{FF2B5EF4-FFF2-40B4-BE49-F238E27FC236}">
                <a16:creationId xmlns:a16="http://schemas.microsoft.com/office/drawing/2014/main" id="{5DFB3A28-93FE-4F25-8406-FFB08E412FE2}"/>
              </a:ext>
            </a:extLst>
          </p:cNvPr>
          <p:cNvSpPr/>
          <p:nvPr/>
        </p:nvSpPr>
        <p:spPr>
          <a:xfrm>
            <a:off x="9863249" y="4711015"/>
            <a:ext cx="2008464" cy="686560"/>
          </a:xfrm>
          <a:prstGeom prst="wedgeRoundRectCallout">
            <a:avLst>
              <a:gd name="adj1" fmla="val -68784"/>
              <a:gd name="adj2" fmla="val -104918"/>
              <a:gd name="adj3" fmla="val 1666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1200"/>
              <a:t>Highlight showing over and under spaced products</a:t>
            </a:r>
            <a:endParaRPr lang="en-GB" sz="1200"/>
          </a:p>
        </p:txBody>
      </p:sp>
    </p:spTree>
    <p:extLst>
      <p:ext uri="{BB962C8B-B14F-4D97-AF65-F5344CB8AC3E}">
        <p14:creationId xmlns:p14="http://schemas.microsoft.com/office/powerpoint/2010/main" val="180390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Merchandised Items</a:t>
            </a:r>
          </a:p>
        </p:txBody>
      </p:sp>
      <p:sp>
        <p:nvSpPr>
          <p:cNvPr id="10" name="Text Placeholder 9"/>
          <p:cNvSpPr>
            <a:spLocks noGrp="1"/>
          </p:cNvSpPr>
          <p:nvPr>
            <p:ph type="body" idx="1"/>
          </p:nvPr>
        </p:nvSpPr>
        <p:spPr>
          <a:xfrm>
            <a:off x="1981200" y="1741751"/>
            <a:ext cx="8229601" cy="447675"/>
          </a:xfrm>
        </p:spPr>
        <p:txBody>
          <a:bodyPr/>
          <a:lstStyle/>
          <a:p>
            <a:pPr algn="ctr"/>
            <a:r>
              <a:rPr lang="en-US" dirty="0"/>
              <a:t>BY Objects for Merchandising Consideration</a:t>
            </a:r>
          </a:p>
        </p:txBody>
      </p:sp>
      <p:sp>
        <p:nvSpPr>
          <p:cNvPr id="9" name="Content Placeholder 8"/>
          <p:cNvSpPr>
            <a:spLocks noGrp="1"/>
          </p:cNvSpPr>
          <p:nvPr>
            <p:ph sz="half" idx="2"/>
          </p:nvPr>
        </p:nvSpPr>
        <p:spPr/>
        <p:txBody>
          <a:bodyPr/>
          <a:lstStyle/>
          <a:p>
            <a:pPr>
              <a:lnSpc>
                <a:spcPct val="150000"/>
              </a:lnSpc>
            </a:pPr>
            <a:r>
              <a:rPr lang="en-US" dirty="0"/>
              <a:t>Products</a:t>
            </a:r>
          </a:p>
          <a:p>
            <a:pPr lvl="1">
              <a:lnSpc>
                <a:spcPct val="150000"/>
              </a:lnSpc>
            </a:pPr>
            <a:r>
              <a:rPr lang="en-US" dirty="0"/>
              <a:t>Placed on fixtures in planograms</a:t>
            </a:r>
          </a:p>
          <a:p>
            <a:pPr lvl="1">
              <a:lnSpc>
                <a:spcPct val="150000"/>
              </a:lnSpc>
            </a:pPr>
            <a:r>
              <a:rPr lang="en-US" dirty="0"/>
              <a:t>Unallocated</a:t>
            </a:r>
          </a:p>
          <a:p>
            <a:pPr>
              <a:lnSpc>
                <a:spcPct val="150000"/>
              </a:lnSpc>
            </a:pPr>
            <a:r>
              <a:rPr lang="en-US" dirty="0"/>
              <a:t>Planograms</a:t>
            </a:r>
          </a:p>
          <a:p>
            <a:pPr lvl="1">
              <a:lnSpc>
                <a:spcPct val="150000"/>
              </a:lnSpc>
            </a:pPr>
            <a:r>
              <a:rPr lang="en-US" dirty="0"/>
              <a:t>Obstructions (brackets, signs, etc.)</a:t>
            </a:r>
          </a:p>
          <a:p>
            <a:pPr lvl="1">
              <a:lnSpc>
                <a:spcPct val="150000"/>
              </a:lnSpc>
            </a:pPr>
            <a:r>
              <a:rPr lang="en-US" dirty="0"/>
              <a:t>Endcap management</a:t>
            </a:r>
          </a:p>
        </p:txBody>
      </p:sp>
      <p:sp>
        <p:nvSpPr>
          <p:cNvPr id="12" name="Content Placeholder 11"/>
          <p:cNvSpPr>
            <a:spLocks noGrp="1"/>
          </p:cNvSpPr>
          <p:nvPr>
            <p:ph sz="quarter" idx="4"/>
          </p:nvPr>
        </p:nvSpPr>
        <p:spPr/>
        <p:txBody>
          <a:bodyPr/>
          <a:lstStyle/>
          <a:p>
            <a:pPr>
              <a:lnSpc>
                <a:spcPct val="150000"/>
              </a:lnSpc>
            </a:pPr>
            <a:r>
              <a:rPr lang="en-US" dirty="0"/>
              <a:t>Floorplans</a:t>
            </a:r>
          </a:p>
          <a:p>
            <a:pPr lvl="1">
              <a:lnSpc>
                <a:spcPct val="150000"/>
              </a:lnSpc>
            </a:pPr>
            <a:r>
              <a:rPr lang="en-US" dirty="0"/>
              <a:t>ADA requirements</a:t>
            </a:r>
          </a:p>
          <a:p>
            <a:pPr lvl="1">
              <a:lnSpc>
                <a:spcPct val="150000"/>
              </a:lnSpc>
            </a:pPr>
            <a:r>
              <a:rPr lang="en-US" dirty="0"/>
              <a:t>Traffic flow design</a:t>
            </a:r>
          </a:p>
          <a:p>
            <a:pPr lvl="1">
              <a:lnSpc>
                <a:spcPct val="150000"/>
              </a:lnSpc>
            </a:pPr>
            <a:r>
              <a:rPr lang="en-US" dirty="0"/>
              <a:t>Bulk-out/floor stack placement</a:t>
            </a:r>
          </a:p>
          <a:p>
            <a:pPr>
              <a:lnSpc>
                <a:spcPct val="150000"/>
              </a:lnSpc>
            </a:pPr>
            <a:r>
              <a:rPr lang="en-US" dirty="0"/>
              <a:t>Stores </a:t>
            </a:r>
          </a:p>
          <a:p>
            <a:pPr>
              <a:lnSpc>
                <a:spcPct val="150000"/>
              </a:lnSpc>
            </a:pPr>
            <a:r>
              <a:rPr lang="en-US" dirty="0"/>
              <a:t>Promotional signs/wayfinding </a:t>
            </a:r>
          </a:p>
          <a:p>
            <a:pPr>
              <a:lnSpc>
                <a:spcPct val="150000"/>
              </a:lnSpc>
            </a:pPr>
            <a:r>
              <a:rPr lang="en-US" dirty="0"/>
              <a:t>Cash wraps</a:t>
            </a:r>
          </a:p>
          <a:p>
            <a:endParaRPr lang="en-US" dirty="0"/>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4168947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2" end="2"/>
                                            </p:txEl>
                                          </p:spTgt>
                                        </p:tgtEl>
                                        <p:attrNameLst>
                                          <p:attrName>style.visibility</p:attrName>
                                        </p:attrNameLst>
                                      </p:cBhvr>
                                      <p:to>
                                        <p:strVal val="visible"/>
                                      </p:to>
                                    </p:set>
                                    <p:animEffect transition="in" filter="fade">
                                      <p:cBhvr>
                                        <p:cTn id="18" dur="500"/>
                                        <p:tgtEl>
                                          <p:spTgt spid="9">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fade">
                                      <p:cBhvr>
                                        <p:cTn id="23" dur="500"/>
                                        <p:tgtEl>
                                          <p:spTgt spid="9">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xEl>
                                              <p:pRg st="4" end="4"/>
                                            </p:txEl>
                                          </p:spTgt>
                                        </p:tgtEl>
                                        <p:attrNameLst>
                                          <p:attrName>style.visibility</p:attrName>
                                        </p:attrNameLst>
                                      </p:cBhvr>
                                      <p:to>
                                        <p:strVal val="visible"/>
                                      </p:to>
                                    </p:set>
                                    <p:animEffect transition="in" filter="fade">
                                      <p:cBhvr>
                                        <p:cTn id="26" dur="500"/>
                                        <p:tgtEl>
                                          <p:spTgt spid="9">
                                            <p:txEl>
                                              <p:pRg st="4" end="4"/>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xEl>
                                              <p:pRg st="5" end="5"/>
                                            </p:txEl>
                                          </p:spTgt>
                                        </p:tgtEl>
                                        <p:attrNameLst>
                                          <p:attrName>style.visibility</p:attrName>
                                        </p:attrNameLst>
                                      </p:cBhvr>
                                      <p:to>
                                        <p:strVal val="visible"/>
                                      </p:to>
                                    </p:set>
                                    <p:animEffect transition="in" filter="fade">
                                      <p:cBhvr>
                                        <p:cTn id="29" dur="500"/>
                                        <p:tgtEl>
                                          <p:spTgt spid="9">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2">
                                            <p:txEl>
                                              <p:pRg st="0" end="0"/>
                                            </p:txEl>
                                          </p:spTgt>
                                        </p:tgtEl>
                                        <p:attrNameLst>
                                          <p:attrName>style.visibility</p:attrName>
                                        </p:attrNameLst>
                                      </p:cBhvr>
                                      <p:to>
                                        <p:strVal val="visible"/>
                                      </p:to>
                                    </p:set>
                                    <p:animEffect transition="in" filter="fade">
                                      <p:cBhvr>
                                        <p:cTn id="34" dur="500"/>
                                        <p:tgtEl>
                                          <p:spTgt spid="12">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2">
                                            <p:txEl>
                                              <p:pRg st="1" end="1"/>
                                            </p:txEl>
                                          </p:spTgt>
                                        </p:tgtEl>
                                        <p:attrNameLst>
                                          <p:attrName>style.visibility</p:attrName>
                                        </p:attrNameLst>
                                      </p:cBhvr>
                                      <p:to>
                                        <p:strVal val="visible"/>
                                      </p:to>
                                    </p:set>
                                    <p:animEffect transition="in" filter="fade">
                                      <p:cBhvr>
                                        <p:cTn id="37" dur="500"/>
                                        <p:tgtEl>
                                          <p:spTgt spid="12">
                                            <p:txEl>
                                              <p:pRg st="1" end="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2">
                                            <p:txEl>
                                              <p:pRg st="2" end="2"/>
                                            </p:txEl>
                                          </p:spTgt>
                                        </p:tgtEl>
                                        <p:attrNameLst>
                                          <p:attrName>style.visibility</p:attrName>
                                        </p:attrNameLst>
                                      </p:cBhvr>
                                      <p:to>
                                        <p:strVal val="visible"/>
                                      </p:to>
                                    </p:set>
                                    <p:animEffect transition="in" filter="fade">
                                      <p:cBhvr>
                                        <p:cTn id="40" dur="500"/>
                                        <p:tgtEl>
                                          <p:spTgt spid="12">
                                            <p:txEl>
                                              <p:pRg st="2" end="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2">
                                            <p:txEl>
                                              <p:pRg st="3" end="3"/>
                                            </p:txEl>
                                          </p:spTgt>
                                        </p:tgtEl>
                                        <p:attrNameLst>
                                          <p:attrName>style.visibility</p:attrName>
                                        </p:attrNameLst>
                                      </p:cBhvr>
                                      <p:to>
                                        <p:strVal val="visible"/>
                                      </p:to>
                                    </p:set>
                                    <p:animEffect transition="in" filter="fade">
                                      <p:cBhvr>
                                        <p:cTn id="43" dur="500"/>
                                        <p:tgtEl>
                                          <p:spTgt spid="12">
                                            <p:txEl>
                                              <p:pRg st="3" end="3"/>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2">
                                            <p:txEl>
                                              <p:pRg st="4" end="4"/>
                                            </p:txEl>
                                          </p:spTgt>
                                        </p:tgtEl>
                                        <p:attrNameLst>
                                          <p:attrName>style.visibility</p:attrName>
                                        </p:attrNameLst>
                                      </p:cBhvr>
                                      <p:to>
                                        <p:strVal val="visible"/>
                                      </p:to>
                                    </p:set>
                                    <p:animEffect transition="in" filter="fade">
                                      <p:cBhvr>
                                        <p:cTn id="48" dur="500"/>
                                        <p:tgtEl>
                                          <p:spTgt spid="12">
                                            <p:txEl>
                                              <p:pRg st="4" end="4"/>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2">
                                            <p:txEl>
                                              <p:pRg st="5" end="5"/>
                                            </p:txEl>
                                          </p:spTgt>
                                        </p:tgtEl>
                                        <p:attrNameLst>
                                          <p:attrName>style.visibility</p:attrName>
                                        </p:attrNameLst>
                                      </p:cBhvr>
                                      <p:to>
                                        <p:strVal val="visible"/>
                                      </p:to>
                                    </p:set>
                                    <p:animEffect transition="in" filter="fade">
                                      <p:cBhvr>
                                        <p:cTn id="53" dur="500"/>
                                        <p:tgtEl>
                                          <p:spTgt spid="12">
                                            <p:txEl>
                                              <p:pRg st="5" end="5"/>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2">
                                            <p:txEl>
                                              <p:pRg st="6" end="6"/>
                                            </p:txEl>
                                          </p:spTgt>
                                        </p:tgtEl>
                                        <p:attrNameLst>
                                          <p:attrName>style.visibility</p:attrName>
                                        </p:attrNameLst>
                                      </p:cBhvr>
                                      <p:to>
                                        <p:strVal val="visible"/>
                                      </p:to>
                                    </p:set>
                                    <p:animEffect transition="in" filter="fade">
                                      <p:cBhvr>
                                        <p:cTn id="58"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9"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Example</a:t>
            </a:r>
          </a:p>
        </p:txBody>
      </p:sp>
      <p:sp>
        <p:nvSpPr>
          <p:cNvPr id="2" name="Text Placeholder 1"/>
          <p:cNvSpPr>
            <a:spLocks noGrp="1"/>
          </p:cNvSpPr>
          <p:nvPr>
            <p:ph type="body" idx="1"/>
          </p:nvPr>
        </p:nvSpPr>
        <p:spPr>
          <a:xfrm>
            <a:off x="887767" y="1691843"/>
            <a:ext cx="4040188" cy="447675"/>
          </a:xfrm>
        </p:spPr>
        <p:txBody>
          <a:bodyPr/>
          <a:lstStyle/>
          <a:p>
            <a:r>
              <a:rPr lang="en-US" dirty="0"/>
              <a:t>When merchandising pegged product</a:t>
            </a:r>
          </a:p>
        </p:txBody>
      </p:sp>
      <p:sp>
        <p:nvSpPr>
          <p:cNvPr id="9" name="Content Placeholder 8"/>
          <p:cNvSpPr>
            <a:spLocks noGrp="1"/>
          </p:cNvSpPr>
          <p:nvPr>
            <p:ph sz="half" idx="2"/>
          </p:nvPr>
        </p:nvSpPr>
        <p:spPr>
          <a:xfrm>
            <a:off x="887767" y="2139518"/>
            <a:ext cx="5133621" cy="3988158"/>
          </a:xfrm>
        </p:spPr>
        <p:txBody>
          <a:bodyPr/>
          <a:lstStyle/>
          <a:p>
            <a:pPr>
              <a:lnSpc>
                <a:spcPct val="150000"/>
              </a:lnSpc>
            </a:pPr>
            <a:r>
              <a:rPr lang="en-US" b="0" dirty="0"/>
              <a:t>Top Row: Peg heights are consistent across segment </a:t>
            </a:r>
          </a:p>
          <a:p>
            <a:pPr>
              <a:lnSpc>
                <a:spcPct val="150000"/>
              </a:lnSpc>
            </a:pPr>
            <a:r>
              <a:rPr lang="en-US" b="0" dirty="0"/>
              <a:t>Bottom Row: Bottom of product is consistent across segment </a:t>
            </a:r>
          </a:p>
          <a:p>
            <a:pPr>
              <a:lnSpc>
                <a:spcPct val="150000"/>
              </a:lnSpc>
            </a:pPr>
            <a:r>
              <a:rPr lang="en-US" b="0" dirty="0"/>
              <a:t>Items are spaced 1” or 1 peg hole apart </a:t>
            </a:r>
          </a:p>
          <a:p>
            <a:pPr>
              <a:lnSpc>
                <a:spcPct val="150000"/>
              </a:lnSpc>
            </a:pPr>
            <a:r>
              <a:rPr lang="en-US" b="0" dirty="0"/>
              <a:t>Pegged product does not collide with the top of the boxed shelf product below </a:t>
            </a:r>
          </a:p>
          <a:p>
            <a:pPr>
              <a:lnSpc>
                <a:spcPct val="150000"/>
              </a:lnSpc>
            </a:pPr>
            <a:endParaRPr lang="en-US" dirty="0"/>
          </a:p>
          <a:p>
            <a:pPr>
              <a:lnSpc>
                <a:spcPct val="150000"/>
              </a:lnSpc>
            </a:pPr>
            <a:endParaRPr lang="en-US" dirty="0"/>
          </a:p>
          <a:p>
            <a:pPr>
              <a:lnSpc>
                <a:spcPct val="150000"/>
              </a:lnSpc>
            </a:pPr>
            <a:endParaRPr lang="en-US" dirty="0"/>
          </a:p>
        </p:txBody>
      </p:sp>
      <p:sp>
        <p:nvSpPr>
          <p:cNvPr id="3" name="Text Placeholder 2"/>
          <p:cNvSpPr>
            <a:spLocks noGrp="1"/>
          </p:cNvSpPr>
          <p:nvPr>
            <p:ph type="body" sz="quarter" idx="3"/>
          </p:nvPr>
        </p:nvSpPr>
        <p:spPr>
          <a:xfrm>
            <a:off x="6169026" y="1585886"/>
            <a:ext cx="4041775" cy="447675"/>
          </a:xfrm>
        </p:spPr>
        <p:txBody>
          <a:bodyPr/>
          <a:lstStyle/>
          <a:p>
            <a:r>
              <a:rPr lang="en-US" dirty="0"/>
              <a:t>When flexing product</a:t>
            </a:r>
          </a:p>
        </p:txBody>
      </p:sp>
      <p:sp>
        <p:nvSpPr>
          <p:cNvPr id="4" name="Content Placeholder 3"/>
          <p:cNvSpPr>
            <a:spLocks noGrp="1"/>
          </p:cNvSpPr>
          <p:nvPr>
            <p:ph sz="quarter" idx="4"/>
          </p:nvPr>
        </p:nvSpPr>
        <p:spPr>
          <a:xfrm>
            <a:off x="6169025" y="2060790"/>
            <a:ext cx="5851340" cy="4066886"/>
          </a:xfrm>
        </p:spPr>
        <p:txBody>
          <a:bodyPr/>
          <a:lstStyle/>
          <a:p>
            <a:r>
              <a:rPr lang="en-US" dirty="0"/>
              <a:t>When a product sells out and there is an open spot on the shelf where it was:</a:t>
            </a:r>
          </a:p>
          <a:p>
            <a:pPr lvl="1"/>
            <a:r>
              <a:rPr lang="en-US" dirty="0"/>
              <a:t>Create an extra facing in its place of an adjacent product, if enough inventory is available</a:t>
            </a:r>
          </a:p>
          <a:p>
            <a:pPr lvl="1"/>
            <a:r>
              <a:rPr lang="en-US" dirty="0"/>
              <a:t>Products directly above and below may also be used</a:t>
            </a:r>
          </a:p>
          <a:p>
            <a:pPr lvl="1"/>
            <a:r>
              <a:rPr lang="en-US" dirty="0"/>
              <a:t>Align the new product properly</a:t>
            </a:r>
          </a:p>
          <a:p>
            <a:pPr lvl="1"/>
            <a:r>
              <a:rPr lang="en-US" dirty="0"/>
              <a:t>Tag the temporary product with the appropriate price tag</a:t>
            </a:r>
          </a:p>
          <a:p>
            <a:pPr lvl="1"/>
            <a:r>
              <a:rPr lang="en-US" dirty="0"/>
              <a:t>Highlight the barcode on the price tag so that others are aware that the product has been flexed </a:t>
            </a:r>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661041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xEl>
                                              <p:pRg st="2" end="2"/>
                                            </p:txEl>
                                          </p:spTgt>
                                        </p:tgtEl>
                                        <p:attrNameLst>
                                          <p:attrName>style.visibility</p:attrName>
                                        </p:attrNameLst>
                                      </p:cBhvr>
                                      <p:to>
                                        <p:strVal val="visible"/>
                                      </p:to>
                                    </p:set>
                                    <p:animEffect transition="in" filter="fade">
                                      <p:cBhvr>
                                        <p:cTn id="20" dur="500"/>
                                        <p:tgtEl>
                                          <p:spTgt spid="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animEffect transition="in" filter="fade">
                                      <p:cBhvr>
                                        <p:cTn id="25" dur="500"/>
                                        <p:tgtEl>
                                          <p:spTgt spid="9">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4">
                                            <p:txEl>
                                              <p:pRg st="0" end="0"/>
                                            </p:txEl>
                                          </p:spTgt>
                                        </p:tgtEl>
                                        <p:attrNameLst>
                                          <p:attrName>style.visibility</p:attrName>
                                        </p:attrNameLst>
                                      </p:cBhvr>
                                      <p:to>
                                        <p:strVal val="visible"/>
                                      </p:to>
                                    </p:set>
                                    <p:animEffect transition="in" filter="fade">
                                      <p:cBhvr>
                                        <p:cTn id="33" dur="500"/>
                                        <p:tgtEl>
                                          <p:spTgt spid="4">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xEl>
                                              <p:pRg st="1" end="1"/>
                                            </p:txEl>
                                          </p:spTgt>
                                        </p:tgtEl>
                                        <p:attrNameLst>
                                          <p:attrName>style.visibility</p:attrName>
                                        </p:attrNameLst>
                                      </p:cBhvr>
                                      <p:to>
                                        <p:strVal val="visible"/>
                                      </p:to>
                                    </p:set>
                                    <p:animEffect transition="in" filter="fade">
                                      <p:cBhvr>
                                        <p:cTn id="38" dur="500"/>
                                        <p:tgtEl>
                                          <p:spTgt spid="4">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animEffect transition="in" filter="fade">
                                      <p:cBhvr>
                                        <p:cTn id="43" dur="500"/>
                                        <p:tgtEl>
                                          <p:spTgt spid="4">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4">
                                            <p:txEl>
                                              <p:pRg st="3" end="3"/>
                                            </p:txEl>
                                          </p:spTgt>
                                        </p:tgtEl>
                                        <p:attrNameLst>
                                          <p:attrName>style.visibility</p:attrName>
                                        </p:attrNameLst>
                                      </p:cBhvr>
                                      <p:to>
                                        <p:strVal val="visible"/>
                                      </p:to>
                                    </p:set>
                                    <p:animEffect transition="in" filter="fade">
                                      <p:cBhvr>
                                        <p:cTn id="48" dur="500"/>
                                        <p:tgtEl>
                                          <p:spTgt spid="4">
                                            <p:txEl>
                                              <p:pRg st="3" end="3"/>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
                                            <p:txEl>
                                              <p:pRg st="4" end="4"/>
                                            </p:txEl>
                                          </p:spTgt>
                                        </p:tgtEl>
                                        <p:attrNameLst>
                                          <p:attrName>style.visibility</p:attrName>
                                        </p:attrNameLst>
                                      </p:cBhvr>
                                      <p:to>
                                        <p:strVal val="visible"/>
                                      </p:to>
                                    </p:set>
                                    <p:animEffect transition="in" filter="fade">
                                      <p:cBhvr>
                                        <p:cTn id="53" dur="500"/>
                                        <p:tgtEl>
                                          <p:spTgt spid="4">
                                            <p:txEl>
                                              <p:pRg st="4" end="4"/>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
                                            <p:txEl>
                                              <p:pRg st="5" end="5"/>
                                            </p:txEl>
                                          </p:spTgt>
                                        </p:tgtEl>
                                        <p:attrNameLst>
                                          <p:attrName>style.visibility</p:attrName>
                                        </p:attrNameLst>
                                      </p:cBhvr>
                                      <p:to>
                                        <p:strVal val="visible"/>
                                      </p:to>
                                    </p:set>
                                    <p:animEffect transition="in" filter="fade">
                                      <p:cBhvr>
                                        <p:cTn id="58"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9" grpId="0" uiExpand="1" build="p"/>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nvGraphicFramePr>
        <p:xfrm>
          <a:off x="6102513" y="2189426"/>
          <a:ext cx="4039003" cy="2936983"/>
        </p:xfrm>
        <a:graphic>
          <a:graphicData uri="http://schemas.openxmlformats.org/drawingml/2006/table">
            <a:tbl>
              <a:tblPr>
                <a:tableStyleId>{72833802-FEF1-4C79-8D5D-14CF1EAF98D9}</a:tableStyleId>
              </a:tblPr>
              <a:tblGrid>
                <a:gridCol w="4039003">
                  <a:extLst>
                    <a:ext uri="{9D8B030D-6E8A-4147-A177-3AD203B41FA5}">
                      <a16:colId xmlns:a16="http://schemas.microsoft.com/office/drawing/2014/main" val="20000"/>
                    </a:ext>
                  </a:extLst>
                </a:gridCol>
              </a:tblGrid>
              <a:tr h="159736">
                <a:tc>
                  <a:txBody>
                    <a:bodyPr/>
                    <a:lstStyle/>
                    <a:p>
                      <a:pPr algn="ctr" fontAlgn="b"/>
                      <a:r>
                        <a:rPr lang="en-US" sz="1050" u="none" strike="noStrike" dirty="0">
                          <a:effectLst/>
                        </a:rPr>
                        <a:t>Moving Planograms into the Database</a:t>
                      </a:r>
                      <a:endParaRPr lang="en-US" sz="1050" b="1"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0"/>
                  </a:ext>
                </a:extLst>
              </a:tr>
              <a:tr h="159736">
                <a:tc>
                  <a:txBody>
                    <a:bodyPr/>
                    <a:lstStyle/>
                    <a:p>
                      <a:pPr algn="l" fontAlgn="b"/>
                      <a:r>
                        <a:rPr lang="en-US" sz="900" u="none" strike="noStrike" dirty="0">
                          <a:effectLst/>
                        </a:rPr>
                        <a:t> </a:t>
                      </a:r>
                      <a:endParaRPr lang="en-US" sz="900" b="1"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1"/>
                  </a:ext>
                </a:extLst>
              </a:tr>
              <a:tr h="159736">
                <a:tc>
                  <a:txBody>
                    <a:bodyPr/>
                    <a:lstStyle/>
                    <a:p>
                      <a:pPr algn="l" fontAlgn="b"/>
                      <a:r>
                        <a:rPr lang="en-US" sz="900" u="none" strike="noStrike" dirty="0">
                          <a:solidFill>
                            <a:schemeClr val="bg1"/>
                          </a:solidFill>
                          <a:effectLst/>
                        </a:rPr>
                        <a:t>General</a:t>
                      </a:r>
                      <a:endParaRPr lang="en-US" sz="900" b="1" i="0" u="none" strike="noStrike" dirty="0">
                        <a:solidFill>
                          <a:schemeClr val="bg1"/>
                        </a:solidFill>
                        <a:effectLst/>
                        <a:latin typeface="Calibri"/>
                      </a:endParaRPr>
                    </a:p>
                  </a:txBody>
                  <a:tcPr marL="5767" marR="5767" marT="6375" marB="0" anchor="b">
                    <a:solidFill>
                      <a:srgbClr val="1A61A7"/>
                    </a:solidFill>
                  </a:tcPr>
                </a:tc>
                <a:extLst>
                  <a:ext uri="{0D108BD9-81ED-4DB2-BD59-A6C34878D82A}">
                    <a16:rowId xmlns:a16="http://schemas.microsoft.com/office/drawing/2014/main" val="10002"/>
                  </a:ext>
                </a:extLst>
              </a:tr>
              <a:tr h="159736">
                <a:tc>
                  <a:txBody>
                    <a:bodyPr/>
                    <a:lstStyle/>
                    <a:p>
                      <a:pPr algn="l" fontAlgn="b"/>
                      <a:r>
                        <a:rPr lang="en-US" sz="900" u="none" strike="noStrike" dirty="0">
                          <a:effectLst/>
                        </a:rPr>
                        <a:t>Unique key is set to ID or UPC (client choice) for planograms</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3"/>
                  </a:ext>
                </a:extLst>
              </a:tr>
              <a:tr h="159736">
                <a:tc>
                  <a:txBody>
                    <a:bodyPr/>
                    <a:lstStyle/>
                    <a:p>
                      <a:pPr algn="l" fontAlgn="b"/>
                      <a:r>
                        <a:rPr lang="en-US" sz="900" u="none" strike="noStrike" dirty="0">
                          <a:effectLst/>
                        </a:rPr>
                        <a:t>Manipulation is set to allow floating positions</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4"/>
                  </a:ext>
                </a:extLst>
              </a:tr>
              <a:tr h="159736">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5"/>
                  </a:ext>
                </a:extLst>
              </a:tr>
              <a:tr h="159736">
                <a:tc>
                  <a:txBody>
                    <a:bodyPr/>
                    <a:lstStyle/>
                    <a:p>
                      <a:pPr algn="l" fontAlgn="b"/>
                      <a:r>
                        <a:rPr lang="en-US" sz="900" u="none" strike="noStrike" dirty="0">
                          <a:solidFill>
                            <a:schemeClr val="bg1"/>
                          </a:solidFill>
                          <a:effectLst/>
                        </a:rPr>
                        <a:t>Planogram</a:t>
                      </a:r>
                      <a:endParaRPr lang="en-US" sz="900" b="1" i="0" u="none" strike="noStrike" dirty="0">
                        <a:solidFill>
                          <a:schemeClr val="bg1"/>
                        </a:solidFill>
                        <a:effectLst/>
                        <a:latin typeface="Calibri"/>
                      </a:endParaRPr>
                    </a:p>
                  </a:txBody>
                  <a:tcPr marL="5767" marR="5767" marT="6375" marB="0" anchor="b">
                    <a:solidFill>
                      <a:srgbClr val="1A61A7"/>
                    </a:solidFill>
                  </a:tcPr>
                </a:tc>
                <a:extLst>
                  <a:ext uri="{0D108BD9-81ED-4DB2-BD59-A6C34878D82A}">
                    <a16:rowId xmlns:a16="http://schemas.microsoft.com/office/drawing/2014/main" val="10006"/>
                  </a:ext>
                </a:extLst>
              </a:tr>
              <a:tr h="159736">
                <a:tc>
                  <a:txBody>
                    <a:bodyPr/>
                    <a:lstStyle/>
                    <a:p>
                      <a:pPr algn="l" fontAlgn="b"/>
                      <a:r>
                        <a:rPr lang="en-US" sz="900" u="none" strike="noStrike" dirty="0">
                          <a:effectLst/>
                        </a:rPr>
                        <a:t>Review planogram in 3D to verify no products are behind gondola</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7"/>
                  </a:ext>
                </a:extLst>
              </a:tr>
              <a:tr h="271879">
                <a:tc>
                  <a:txBody>
                    <a:bodyPr/>
                    <a:lstStyle/>
                    <a:p>
                      <a:pPr algn="l" fontAlgn="b"/>
                      <a:r>
                        <a:rPr lang="en-US" sz="900" u="none" strike="noStrike" dirty="0">
                          <a:effectLst/>
                        </a:rPr>
                        <a:t>Planogram  Properties - X, Y, and Z should be set how you need  the merchandising</a:t>
                      </a:r>
                      <a:br>
                        <a:rPr lang="en-US" sz="900" u="none" strike="noStrike" dirty="0">
                          <a:effectLst/>
                        </a:rPr>
                      </a:br>
                      <a:r>
                        <a:rPr lang="en-US" sz="900" u="none" strike="noStrike" dirty="0">
                          <a:effectLst/>
                        </a:rPr>
                        <a:t>rules and the shelves should be set to "default".</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8"/>
                  </a:ext>
                </a:extLst>
              </a:tr>
              <a:tr h="168515">
                <a:tc>
                  <a:txBody>
                    <a:bodyPr/>
                    <a:lstStyle/>
                    <a:p>
                      <a:pPr algn="l" fontAlgn="b"/>
                      <a:r>
                        <a:rPr lang="en-US" sz="900" u="none" strike="noStrike" dirty="0">
                          <a:effectLst/>
                        </a:rPr>
                        <a:t>Backboard color and bases of planograms should be gray</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09"/>
                  </a:ext>
                </a:extLst>
              </a:tr>
              <a:tr h="159736">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10"/>
                  </a:ext>
                </a:extLst>
              </a:tr>
              <a:tr h="159736">
                <a:tc>
                  <a:txBody>
                    <a:bodyPr/>
                    <a:lstStyle/>
                    <a:p>
                      <a:pPr algn="l" fontAlgn="b"/>
                      <a:r>
                        <a:rPr lang="en-US" sz="900" u="none" strike="noStrike" dirty="0">
                          <a:solidFill>
                            <a:schemeClr val="bg1"/>
                          </a:solidFill>
                          <a:effectLst/>
                        </a:rPr>
                        <a:t>Fixtures</a:t>
                      </a:r>
                      <a:endParaRPr lang="en-US" sz="900" b="1" i="0" u="none" strike="noStrike" dirty="0">
                        <a:solidFill>
                          <a:schemeClr val="bg1"/>
                        </a:solidFill>
                        <a:effectLst/>
                        <a:latin typeface="Calibri"/>
                      </a:endParaRPr>
                    </a:p>
                  </a:txBody>
                  <a:tcPr marL="5767" marR="5767" marT="6375" marB="0" anchor="b">
                    <a:solidFill>
                      <a:srgbClr val="1A61A7"/>
                    </a:solidFill>
                  </a:tcPr>
                </a:tc>
                <a:extLst>
                  <a:ext uri="{0D108BD9-81ED-4DB2-BD59-A6C34878D82A}">
                    <a16:rowId xmlns:a16="http://schemas.microsoft.com/office/drawing/2014/main" val="10011"/>
                  </a:ext>
                </a:extLst>
              </a:tr>
              <a:tr h="276545">
                <a:tc>
                  <a:txBody>
                    <a:bodyPr/>
                    <a:lstStyle/>
                    <a:p>
                      <a:pPr algn="l" fontAlgn="b"/>
                      <a:r>
                        <a:rPr lang="en-US" sz="900" u="none" strike="noStrike" dirty="0">
                          <a:effectLst/>
                        </a:rPr>
                        <a:t>Shelves should be set to "default" and Planogram should drive the merchandising</a:t>
                      </a:r>
                      <a:br>
                        <a:rPr lang="en-US" sz="900" u="none" strike="noStrike" dirty="0">
                          <a:effectLst/>
                        </a:rPr>
                      </a:br>
                      <a:r>
                        <a:rPr lang="en-US" sz="900" u="none" strike="noStrike" dirty="0">
                          <a:effectLst/>
                        </a:rPr>
                        <a:t>rules for X,Y, and Z.</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12"/>
                  </a:ext>
                </a:extLst>
              </a:tr>
              <a:tr h="161221">
                <a:tc>
                  <a:txBody>
                    <a:bodyPr/>
                    <a:lstStyle/>
                    <a:p>
                      <a:pPr algn="l" fontAlgn="b"/>
                      <a:r>
                        <a:rPr lang="en-US" sz="900" u="none" strike="noStrike" dirty="0">
                          <a:effectLst/>
                        </a:rPr>
                        <a:t>Merchandising space</a:t>
                      </a:r>
                      <a:r>
                        <a:rPr lang="en-US" sz="900" u="none" strike="noStrike" baseline="0" dirty="0">
                          <a:effectLst/>
                        </a:rPr>
                        <a:t> h</a:t>
                      </a:r>
                      <a:r>
                        <a:rPr lang="en-US" sz="900" u="none" strike="noStrike" dirty="0">
                          <a:effectLst/>
                        </a:rPr>
                        <a:t>eight should be set to 0</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13"/>
                  </a:ext>
                </a:extLst>
              </a:tr>
              <a:tr h="282102">
                <a:tc>
                  <a:txBody>
                    <a:bodyPr/>
                    <a:lstStyle/>
                    <a:p>
                      <a:pPr algn="l" fontAlgn="b"/>
                      <a:r>
                        <a:rPr lang="en-US" sz="900" u="none" strike="noStrike" dirty="0">
                          <a:effectLst/>
                        </a:rPr>
                        <a:t>Obstructions check box should include:  Detect other fixtures and Detect positions on other fixtures</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14"/>
                  </a:ext>
                </a:extLst>
              </a:tr>
              <a:tr h="159736">
                <a:tc>
                  <a:txBody>
                    <a:bodyPr/>
                    <a:lstStyle/>
                    <a:p>
                      <a:pPr algn="l" fontAlgn="b"/>
                      <a:r>
                        <a:rPr lang="en-US" sz="900" u="none" strike="noStrike" dirty="0">
                          <a:effectLst/>
                        </a:rPr>
                        <a:t>Shelf overhangs</a:t>
                      </a:r>
                      <a:r>
                        <a:rPr lang="en-US" sz="900" u="none" strike="noStrike" baseline="0" dirty="0">
                          <a:effectLst/>
                        </a:rPr>
                        <a:t> are no larger than 1”</a:t>
                      </a:r>
                      <a:endParaRPr lang="en-US" sz="900" b="0" i="0" u="none" strike="noStrike" dirty="0">
                        <a:solidFill>
                          <a:srgbClr val="000000"/>
                        </a:solidFill>
                        <a:effectLst/>
                        <a:latin typeface="Calibri"/>
                      </a:endParaRPr>
                    </a:p>
                  </a:txBody>
                  <a:tcPr marL="5767" marR="5767" marT="6375" marB="0" anchor="b"/>
                </a:tc>
                <a:extLst>
                  <a:ext uri="{0D108BD9-81ED-4DB2-BD59-A6C34878D82A}">
                    <a16:rowId xmlns:a16="http://schemas.microsoft.com/office/drawing/2014/main" val="10015"/>
                  </a:ext>
                </a:extLst>
              </a:tr>
            </a:tbl>
          </a:graphicData>
        </a:graphic>
      </p:graphicFrame>
      <p:sp>
        <p:nvSpPr>
          <p:cNvPr id="2" name="Title 1"/>
          <p:cNvSpPr>
            <a:spLocks noGrp="1"/>
          </p:cNvSpPr>
          <p:nvPr>
            <p:ph type="title"/>
          </p:nvPr>
        </p:nvSpPr>
        <p:spPr/>
        <p:txBody>
          <a:bodyPr/>
          <a:lstStyle/>
          <a:p>
            <a:r>
              <a:rPr lang="en-US" dirty="0"/>
              <a:t>Example</a:t>
            </a:r>
          </a:p>
        </p:txBody>
      </p:sp>
      <p:sp>
        <p:nvSpPr>
          <p:cNvPr id="8" name="Text Placeholder 7"/>
          <p:cNvSpPr>
            <a:spLocks noGrp="1"/>
          </p:cNvSpPr>
          <p:nvPr>
            <p:ph type="body" idx="1"/>
          </p:nvPr>
        </p:nvSpPr>
        <p:spPr/>
        <p:txBody>
          <a:bodyPr/>
          <a:lstStyle/>
          <a:p>
            <a:r>
              <a:rPr lang="en-US" dirty="0"/>
              <a:t>Planogram Cleanup Checklist</a:t>
            </a:r>
          </a:p>
        </p:txBody>
      </p:sp>
      <p:sp>
        <p:nvSpPr>
          <p:cNvPr id="9" name="Content Placeholder 8"/>
          <p:cNvSpPr>
            <a:spLocks noGrp="1"/>
          </p:cNvSpPr>
          <p:nvPr>
            <p:ph sz="half" idx="2"/>
          </p:nvPr>
        </p:nvSpPr>
        <p:spPr/>
        <p:txBody>
          <a:bodyPr/>
          <a:lstStyle/>
          <a:p>
            <a:r>
              <a:rPr lang="en-US" dirty="0"/>
              <a:t>Ensures consistency</a:t>
            </a:r>
          </a:p>
          <a:p>
            <a:r>
              <a:rPr lang="en-US" dirty="0"/>
              <a:t>Prevents re-work</a:t>
            </a:r>
          </a:p>
          <a:p>
            <a:r>
              <a:rPr lang="en-US" dirty="0"/>
              <a:t>Reduces the need to clean data in the database</a:t>
            </a:r>
          </a:p>
          <a:p>
            <a:r>
              <a:rPr lang="en-US" dirty="0"/>
              <a:t>Helps users productivity by defining the rules for successful creation</a:t>
            </a:r>
          </a:p>
          <a:p>
            <a:r>
              <a:rPr lang="en-US" dirty="0"/>
              <a:t>Establishes a standard for future planograms</a:t>
            </a:r>
          </a:p>
        </p:txBody>
      </p:sp>
      <p:sp>
        <p:nvSpPr>
          <p:cNvPr id="15"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1805852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fade">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4" end="4"/>
                                            </p:txEl>
                                          </p:spTgt>
                                        </p:tgtEl>
                                        <p:attrNameLst>
                                          <p:attrName>style.visibility</p:attrName>
                                        </p:attrNameLst>
                                      </p:cBhvr>
                                      <p:to>
                                        <p:strVal val="visible"/>
                                      </p:to>
                                    </p:set>
                                    <p:animEffect transition="in" filter="fade">
                                      <p:cBhvr>
                                        <p:cTn id="32" dur="500"/>
                                        <p:tgtEl>
                                          <p:spTgt spid="9">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omework</a:t>
            </a:r>
          </a:p>
        </p:txBody>
      </p:sp>
      <p:sp>
        <p:nvSpPr>
          <p:cNvPr id="9" name="Content Placeholder 8"/>
          <p:cNvSpPr>
            <a:spLocks noGrp="1"/>
          </p:cNvSpPr>
          <p:nvPr>
            <p:ph idx="1"/>
          </p:nvPr>
        </p:nvSpPr>
        <p:spPr/>
        <p:txBody>
          <a:bodyPr/>
          <a:lstStyle/>
          <a:p>
            <a:pPr>
              <a:lnSpc>
                <a:spcPct val="150000"/>
              </a:lnSpc>
            </a:pPr>
            <a:r>
              <a:rPr lang="en-US" b="0" dirty="0"/>
              <a:t>Review or create merchandising standards, guidelines, and/or procedures for both internal and external partners creating planograms and floorplans</a:t>
            </a:r>
          </a:p>
          <a:p>
            <a:pPr>
              <a:lnSpc>
                <a:spcPct val="150000"/>
              </a:lnSpc>
            </a:pPr>
            <a:r>
              <a:rPr lang="en-US" b="0" dirty="0"/>
              <a:t>This should be a living document that is updated with corporate, store, and vendor feedback as business needs change</a:t>
            </a:r>
          </a:p>
          <a:p>
            <a:pPr>
              <a:lnSpc>
                <a:spcPct val="150000"/>
              </a:lnSpc>
            </a:pPr>
            <a:r>
              <a:rPr lang="en-US" b="0" dirty="0"/>
              <a:t>Including the vendor feedback helps move them from contributors to collaborators</a:t>
            </a:r>
          </a:p>
          <a:p>
            <a:pPr>
              <a:lnSpc>
                <a:spcPct val="150000"/>
              </a:lnSpc>
            </a:pPr>
            <a:endParaRPr lang="en-US" dirty="0"/>
          </a:p>
          <a:p>
            <a:pPr>
              <a:lnSpc>
                <a:spcPct val="150000"/>
              </a:lnSpc>
            </a:pPr>
            <a:endParaRPr lang="en-US" dirty="0"/>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spTree>
    <p:extLst>
      <p:ext uri="{BB962C8B-B14F-4D97-AF65-F5344CB8AC3E}">
        <p14:creationId xmlns:p14="http://schemas.microsoft.com/office/powerpoint/2010/main" val="23701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genda</a:t>
            </a:r>
            <a:br>
              <a:rPr lang="en-US" dirty="0"/>
            </a:br>
            <a:endParaRPr lang="en-US" dirty="0"/>
          </a:p>
        </p:txBody>
      </p:sp>
      <p:sp>
        <p:nvSpPr>
          <p:cNvPr id="9" name="Content Placeholder 8"/>
          <p:cNvSpPr>
            <a:spLocks noGrp="1"/>
          </p:cNvSpPr>
          <p:nvPr>
            <p:ph idx="1"/>
          </p:nvPr>
        </p:nvSpPr>
        <p:spPr>
          <a:xfrm>
            <a:off x="1770744" y="1139902"/>
            <a:ext cx="5588922" cy="5718099"/>
          </a:xfrm>
        </p:spPr>
        <p:txBody>
          <a:bodyPr/>
          <a:lstStyle/>
          <a:p>
            <a:pPr marL="688975" lvl="1" indent="0">
              <a:lnSpc>
                <a:spcPct val="90000"/>
              </a:lnSpc>
              <a:buSzPct val="50000"/>
              <a:buNone/>
              <a:tabLst>
                <a:tab pos="914400" algn="l"/>
              </a:tabLst>
            </a:pPr>
            <a:r>
              <a:rPr lang="en-US" sz="2400" dirty="0">
                <a:solidFill>
                  <a:schemeClr val="tx2"/>
                </a:solidFill>
              </a:rPr>
              <a:t> </a:t>
            </a:r>
          </a:p>
          <a:p>
            <a:pPr>
              <a:lnSpc>
                <a:spcPct val="150000"/>
              </a:lnSpc>
              <a:buFont typeface="Wingdings" panose="05000000000000000000" pitchFamily="2" charset="2"/>
              <a:buChar char="ü"/>
            </a:pPr>
            <a:r>
              <a:rPr lang="en-US" dirty="0"/>
              <a:t>Establish Ground Rules for Session</a:t>
            </a:r>
          </a:p>
          <a:p>
            <a:pPr>
              <a:lnSpc>
                <a:spcPct val="150000"/>
              </a:lnSpc>
              <a:buFont typeface="Wingdings" panose="05000000000000000000" pitchFamily="2" charset="2"/>
              <a:buChar char="ü"/>
            </a:pPr>
            <a:r>
              <a:rPr lang="en-US" dirty="0"/>
              <a:t>Company Profile</a:t>
            </a:r>
          </a:p>
          <a:p>
            <a:pPr lvl="1">
              <a:lnSpc>
                <a:spcPct val="150000"/>
              </a:lnSpc>
              <a:buFont typeface="Wingdings" panose="05000000000000000000" pitchFamily="2" charset="2"/>
              <a:buChar char="§"/>
            </a:pPr>
            <a:r>
              <a:rPr lang="en-US" dirty="0"/>
              <a:t>Current State</a:t>
            </a:r>
          </a:p>
          <a:p>
            <a:pPr lvl="1">
              <a:lnSpc>
                <a:spcPct val="150000"/>
              </a:lnSpc>
              <a:buFont typeface="Wingdings" panose="05000000000000000000" pitchFamily="2" charset="2"/>
              <a:buChar char="§"/>
            </a:pPr>
            <a:r>
              <a:rPr lang="en-US" dirty="0"/>
              <a:t>Organization</a:t>
            </a:r>
          </a:p>
          <a:p>
            <a:pPr lvl="1">
              <a:lnSpc>
                <a:spcPct val="150000"/>
              </a:lnSpc>
              <a:buFont typeface="Wingdings" panose="05000000000000000000" pitchFamily="2" charset="2"/>
              <a:buChar char="§"/>
            </a:pPr>
            <a:r>
              <a:rPr lang="en-US" dirty="0"/>
              <a:t>Goals and objectives</a:t>
            </a:r>
          </a:p>
          <a:p>
            <a:pPr>
              <a:lnSpc>
                <a:spcPct val="150000"/>
              </a:lnSpc>
              <a:buFont typeface="Wingdings" panose="05000000000000000000" pitchFamily="2" charset="2"/>
              <a:buChar char="ü"/>
            </a:pPr>
            <a:r>
              <a:rPr lang="en-US" dirty="0"/>
              <a:t>Merchandising Standards &amp; Guidelines</a:t>
            </a:r>
          </a:p>
          <a:p>
            <a:pPr>
              <a:lnSpc>
                <a:spcPct val="150000"/>
              </a:lnSpc>
              <a:buFont typeface="Wingdings" panose="05000000000000000000" pitchFamily="2" charset="2"/>
              <a:buChar char="ü"/>
            </a:pPr>
            <a:r>
              <a:rPr lang="en-US" dirty="0"/>
              <a:t>BY Space Planning (SP)</a:t>
            </a:r>
          </a:p>
          <a:p>
            <a:pPr>
              <a:lnSpc>
                <a:spcPct val="150000"/>
              </a:lnSpc>
              <a:buFont typeface="Wingdings" panose="05000000000000000000" pitchFamily="2" charset="2"/>
              <a:buChar char="ü"/>
            </a:pPr>
            <a:r>
              <a:rPr lang="en-US" dirty="0"/>
              <a:t>BY Planogram Converter (PC)</a:t>
            </a:r>
          </a:p>
        </p:txBody>
      </p:sp>
      <p:sp>
        <p:nvSpPr>
          <p:cNvPr id="6"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rPr>
              <a:t>Copyright © 2016 BY Software Group, Inc. Confidential</a:t>
            </a:r>
          </a:p>
        </p:txBody>
      </p:sp>
      <p:grpSp>
        <p:nvGrpSpPr>
          <p:cNvPr id="5" name="Group 4"/>
          <p:cNvGrpSpPr>
            <a:grpSpLocks noChangeAspect="1"/>
          </p:cNvGrpSpPr>
          <p:nvPr/>
        </p:nvGrpSpPr>
        <p:grpSpPr>
          <a:xfrm>
            <a:off x="7359665" y="1875791"/>
            <a:ext cx="2125664" cy="2080276"/>
            <a:chOff x="8385176" y="4341813"/>
            <a:chExt cx="446088" cy="436563"/>
          </a:xfrm>
          <a:solidFill>
            <a:srgbClr val="8F1A95"/>
          </a:solidFill>
        </p:grpSpPr>
        <p:sp>
          <p:nvSpPr>
            <p:cNvPr id="8" name="Freeform 604"/>
            <p:cNvSpPr>
              <a:spLocks/>
            </p:cNvSpPr>
            <p:nvPr/>
          </p:nvSpPr>
          <p:spPr bwMode="auto">
            <a:xfrm>
              <a:off x="8437563" y="4394200"/>
              <a:ext cx="127000" cy="38100"/>
            </a:xfrm>
            <a:custGeom>
              <a:avLst/>
              <a:gdLst>
                <a:gd name="T0" fmla="*/ 80 w 80"/>
                <a:gd name="T1" fmla="*/ 24 h 24"/>
                <a:gd name="T2" fmla="*/ 80 w 80"/>
                <a:gd name="T3" fmla="*/ 10 h 24"/>
                <a:gd name="T4" fmla="*/ 80 w 80"/>
                <a:gd name="T5" fmla="*/ 10 h 24"/>
                <a:gd name="T6" fmla="*/ 68 w 80"/>
                <a:gd name="T7" fmla="*/ 4 h 24"/>
                <a:gd name="T8" fmla="*/ 57 w 80"/>
                <a:gd name="T9" fmla="*/ 2 h 24"/>
                <a:gd name="T10" fmla="*/ 45 w 80"/>
                <a:gd name="T11" fmla="*/ 0 h 24"/>
                <a:gd name="T12" fmla="*/ 35 w 80"/>
                <a:gd name="T13" fmla="*/ 0 h 24"/>
                <a:gd name="T14" fmla="*/ 14 w 80"/>
                <a:gd name="T15" fmla="*/ 4 h 24"/>
                <a:gd name="T16" fmla="*/ 0 w 80"/>
                <a:gd name="T17" fmla="*/ 8 h 24"/>
                <a:gd name="T18" fmla="*/ 0 w 80"/>
                <a:gd name="T19" fmla="*/ 24 h 24"/>
                <a:gd name="T20" fmla="*/ 0 w 80"/>
                <a:gd name="T21" fmla="*/ 24 h 24"/>
                <a:gd name="T22" fmla="*/ 12 w 80"/>
                <a:gd name="T23" fmla="*/ 20 h 24"/>
                <a:gd name="T24" fmla="*/ 31 w 80"/>
                <a:gd name="T25" fmla="*/ 14 h 24"/>
                <a:gd name="T26" fmla="*/ 43 w 80"/>
                <a:gd name="T27" fmla="*/ 14 h 24"/>
                <a:gd name="T28" fmla="*/ 55 w 80"/>
                <a:gd name="T29" fmla="*/ 16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10"/>
                  </a:ln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6"/>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0" name="Freeform 605"/>
            <p:cNvSpPr>
              <a:spLocks/>
            </p:cNvSpPr>
            <p:nvPr/>
          </p:nvSpPr>
          <p:spPr bwMode="auto">
            <a:xfrm>
              <a:off x="8437563" y="4462463"/>
              <a:ext cx="127000" cy="38100"/>
            </a:xfrm>
            <a:custGeom>
              <a:avLst/>
              <a:gdLst>
                <a:gd name="T0" fmla="*/ 80 w 80"/>
                <a:gd name="T1" fmla="*/ 24 h 24"/>
                <a:gd name="T2" fmla="*/ 80 w 80"/>
                <a:gd name="T3" fmla="*/ 8 h 24"/>
                <a:gd name="T4" fmla="*/ 80 w 80"/>
                <a:gd name="T5" fmla="*/ 8 h 24"/>
                <a:gd name="T6" fmla="*/ 68 w 80"/>
                <a:gd name="T7" fmla="*/ 4 h 24"/>
                <a:gd name="T8" fmla="*/ 57 w 80"/>
                <a:gd name="T9" fmla="*/ 0 h 24"/>
                <a:gd name="T10" fmla="*/ 45 w 80"/>
                <a:gd name="T11" fmla="*/ 0 h 24"/>
                <a:gd name="T12" fmla="*/ 35 w 80"/>
                <a:gd name="T13" fmla="*/ 0 h 24"/>
                <a:gd name="T14" fmla="*/ 14 w 80"/>
                <a:gd name="T15" fmla="*/ 4 h 24"/>
                <a:gd name="T16" fmla="*/ 0 w 80"/>
                <a:gd name="T17" fmla="*/ 8 h 24"/>
                <a:gd name="T18" fmla="*/ 0 w 80"/>
                <a:gd name="T19" fmla="*/ 22 h 24"/>
                <a:gd name="T20" fmla="*/ 0 w 80"/>
                <a:gd name="T21" fmla="*/ 22 h 24"/>
                <a:gd name="T22" fmla="*/ 12 w 80"/>
                <a:gd name="T23" fmla="*/ 18 h 24"/>
                <a:gd name="T24" fmla="*/ 31 w 80"/>
                <a:gd name="T25" fmla="*/ 14 h 24"/>
                <a:gd name="T26" fmla="*/ 43 w 80"/>
                <a:gd name="T27" fmla="*/ 14 h 24"/>
                <a:gd name="T28" fmla="*/ 55 w 80"/>
                <a:gd name="T29" fmla="*/ 14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8" y="4"/>
                  </a:lnTo>
                  <a:lnTo>
                    <a:pt x="57" y="0"/>
                  </a:lnTo>
                  <a:lnTo>
                    <a:pt x="45" y="0"/>
                  </a:lnTo>
                  <a:lnTo>
                    <a:pt x="35" y="0"/>
                  </a:lnTo>
                  <a:lnTo>
                    <a:pt x="14" y="4"/>
                  </a:lnTo>
                  <a:lnTo>
                    <a:pt x="0" y="8"/>
                  </a:lnTo>
                  <a:lnTo>
                    <a:pt x="0" y="22"/>
                  </a:lnTo>
                  <a:lnTo>
                    <a:pt x="0" y="22"/>
                  </a:lnTo>
                  <a:lnTo>
                    <a:pt x="12" y="18"/>
                  </a:lnTo>
                  <a:lnTo>
                    <a:pt x="31" y="14"/>
                  </a:lnTo>
                  <a:lnTo>
                    <a:pt x="43" y="14"/>
                  </a:lnTo>
                  <a:lnTo>
                    <a:pt x="55" y="14"/>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Freeform 606"/>
            <p:cNvSpPr>
              <a:spLocks/>
            </p:cNvSpPr>
            <p:nvPr/>
          </p:nvSpPr>
          <p:spPr bwMode="auto">
            <a:xfrm>
              <a:off x="8437563" y="4527550"/>
              <a:ext cx="127000" cy="41275"/>
            </a:xfrm>
            <a:custGeom>
              <a:avLst/>
              <a:gdLst>
                <a:gd name="T0" fmla="*/ 80 w 80"/>
                <a:gd name="T1" fmla="*/ 26 h 26"/>
                <a:gd name="T2" fmla="*/ 80 w 80"/>
                <a:gd name="T3" fmla="*/ 10 h 26"/>
                <a:gd name="T4" fmla="*/ 80 w 80"/>
                <a:gd name="T5" fmla="*/ 10 h 26"/>
                <a:gd name="T6" fmla="*/ 68 w 80"/>
                <a:gd name="T7" fmla="*/ 4 h 26"/>
                <a:gd name="T8" fmla="*/ 57 w 80"/>
                <a:gd name="T9" fmla="*/ 2 h 26"/>
                <a:gd name="T10" fmla="*/ 45 w 80"/>
                <a:gd name="T11" fmla="*/ 0 h 26"/>
                <a:gd name="T12" fmla="*/ 35 w 80"/>
                <a:gd name="T13" fmla="*/ 2 h 26"/>
                <a:gd name="T14" fmla="*/ 14 w 80"/>
                <a:gd name="T15" fmla="*/ 4 h 26"/>
                <a:gd name="T16" fmla="*/ 0 w 80"/>
                <a:gd name="T17" fmla="*/ 10 h 26"/>
                <a:gd name="T18" fmla="*/ 0 w 80"/>
                <a:gd name="T19" fmla="*/ 24 h 26"/>
                <a:gd name="T20" fmla="*/ 0 w 80"/>
                <a:gd name="T21" fmla="*/ 24 h 26"/>
                <a:gd name="T22" fmla="*/ 12 w 80"/>
                <a:gd name="T23" fmla="*/ 20 h 26"/>
                <a:gd name="T24" fmla="*/ 31 w 80"/>
                <a:gd name="T25" fmla="*/ 16 h 26"/>
                <a:gd name="T26" fmla="*/ 43 w 80"/>
                <a:gd name="T27" fmla="*/ 14 h 26"/>
                <a:gd name="T28" fmla="*/ 55 w 80"/>
                <a:gd name="T29" fmla="*/ 16 h 26"/>
                <a:gd name="T30" fmla="*/ 68 w 80"/>
                <a:gd name="T31" fmla="*/ 20 h 26"/>
                <a:gd name="T32" fmla="*/ 80 w 80"/>
                <a:gd name="T33" fmla="*/ 26 h 26"/>
                <a:gd name="T34" fmla="*/ 80 w 80"/>
                <a:gd name="T3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6"/>
                  </a:moveTo>
                  <a:lnTo>
                    <a:pt x="80" y="10"/>
                  </a:lnTo>
                  <a:lnTo>
                    <a:pt x="80" y="10"/>
                  </a:lnTo>
                  <a:lnTo>
                    <a:pt x="68" y="4"/>
                  </a:lnTo>
                  <a:lnTo>
                    <a:pt x="57" y="2"/>
                  </a:lnTo>
                  <a:lnTo>
                    <a:pt x="45" y="0"/>
                  </a:lnTo>
                  <a:lnTo>
                    <a:pt x="35" y="2"/>
                  </a:lnTo>
                  <a:lnTo>
                    <a:pt x="14" y="4"/>
                  </a:lnTo>
                  <a:lnTo>
                    <a:pt x="0" y="10"/>
                  </a:lnTo>
                  <a:lnTo>
                    <a:pt x="0" y="24"/>
                  </a:lnTo>
                  <a:lnTo>
                    <a:pt x="0" y="24"/>
                  </a:lnTo>
                  <a:lnTo>
                    <a:pt x="12" y="20"/>
                  </a:lnTo>
                  <a:lnTo>
                    <a:pt x="31" y="16"/>
                  </a:lnTo>
                  <a:lnTo>
                    <a:pt x="43" y="14"/>
                  </a:lnTo>
                  <a:lnTo>
                    <a:pt x="55" y="16"/>
                  </a:lnTo>
                  <a:lnTo>
                    <a:pt x="68" y="20"/>
                  </a:lnTo>
                  <a:lnTo>
                    <a:pt x="80" y="26"/>
                  </a:lnTo>
                  <a:lnTo>
                    <a:pt x="8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607"/>
            <p:cNvSpPr>
              <a:spLocks/>
            </p:cNvSpPr>
            <p:nvPr/>
          </p:nvSpPr>
          <p:spPr bwMode="auto">
            <a:xfrm>
              <a:off x="8437563" y="4595813"/>
              <a:ext cx="127000" cy="38100"/>
            </a:xfrm>
            <a:custGeom>
              <a:avLst/>
              <a:gdLst>
                <a:gd name="T0" fmla="*/ 80 w 80"/>
                <a:gd name="T1" fmla="*/ 10 h 24"/>
                <a:gd name="T2" fmla="*/ 80 w 80"/>
                <a:gd name="T3" fmla="*/ 10 h 24"/>
                <a:gd name="T4" fmla="*/ 68 w 80"/>
                <a:gd name="T5" fmla="*/ 4 h 24"/>
                <a:gd name="T6" fmla="*/ 57 w 80"/>
                <a:gd name="T7" fmla="*/ 2 h 24"/>
                <a:gd name="T8" fmla="*/ 45 w 80"/>
                <a:gd name="T9" fmla="*/ 0 h 24"/>
                <a:gd name="T10" fmla="*/ 35 w 80"/>
                <a:gd name="T11" fmla="*/ 0 h 24"/>
                <a:gd name="T12" fmla="*/ 14 w 80"/>
                <a:gd name="T13" fmla="*/ 4 h 24"/>
                <a:gd name="T14" fmla="*/ 0 w 80"/>
                <a:gd name="T15" fmla="*/ 8 h 24"/>
                <a:gd name="T16" fmla="*/ 0 w 80"/>
                <a:gd name="T17" fmla="*/ 24 h 24"/>
                <a:gd name="T18" fmla="*/ 0 w 80"/>
                <a:gd name="T19" fmla="*/ 24 h 24"/>
                <a:gd name="T20" fmla="*/ 12 w 80"/>
                <a:gd name="T21" fmla="*/ 20 h 24"/>
                <a:gd name="T22" fmla="*/ 31 w 80"/>
                <a:gd name="T23" fmla="*/ 14 h 24"/>
                <a:gd name="T24" fmla="*/ 43 w 80"/>
                <a:gd name="T25" fmla="*/ 14 h 24"/>
                <a:gd name="T26" fmla="*/ 55 w 80"/>
                <a:gd name="T27" fmla="*/ 14 h 24"/>
                <a:gd name="T28" fmla="*/ 68 w 80"/>
                <a:gd name="T29" fmla="*/ 18 h 24"/>
                <a:gd name="T30" fmla="*/ 80 w 80"/>
                <a:gd name="T31" fmla="*/ 24 h 24"/>
                <a:gd name="T32" fmla="*/ 80 w 80"/>
                <a:gd name="T3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4">
                  <a:moveTo>
                    <a:pt x="80" y="10"/>
                  </a:move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4"/>
                  </a:lnTo>
                  <a:lnTo>
                    <a:pt x="68" y="18"/>
                  </a:lnTo>
                  <a:lnTo>
                    <a:pt x="80" y="24"/>
                  </a:lnTo>
                  <a:lnTo>
                    <a:pt x="8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608"/>
            <p:cNvSpPr>
              <a:spLocks/>
            </p:cNvSpPr>
            <p:nvPr/>
          </p:nvSpPr>
          <p:spPr bwMode="auto">
            <a:xfrm>
              <a:off x="8648701" y="4394200"/>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6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6"/>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609"/>
            <p:cNvSpPr>
              <a:spLocks/>
            </p:cNvSpPr>
            <p:nvPr/>
          </p:nvSpPr>
          <p:spPr bwMode="auto">
            <a:xfrm>
              <a:off x="8648701" y="4462463"/>
              <a:ext cx="127000" cy="38100"/>
            </a:xfrm>
            <a:custGeom>
              <a:avLst/>
              <a:gdLst>
                <a:gd name="T0" fmla="*/ 80 w 80"/>
                <a:gd name="T1" fmla="*/ 22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0 h 24"/>
                <a:gd name="T14" fmla="*/ 11 w 80"/>
                <a:gd name="T15" fmla="*/ 4 h 24"/>
                <a:gd name="T16" fmla="*/ 0 w 80"/>
                <a:gd name="T17" fmla="*/ 8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18 h 24"/>
                <a:gd name="T32" fmla="*/ 80 w 80"/>
                <a:gd name="T33" fmla="*/ 22 h 24"/>
                <a:gd name="T34" fmla="*/ 80 w 80"/>
                <a:gd name="T3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2"/>
                  </a:moveTo>
                  <a:lnTo>
                    <a:pt x="80" y="8"/>
                  </a:lnTo>
                  <a:lnTo>
                    <a:pt x="80" y="8"/>
                  </a:lnTo>
                  <a:lnTo>
                    <a:pt x="66" y="4"/>
                  </a:lnTo>
                  <a:lnTo>
                    <a:pt x="47" y="0"/>
                  </a:lnTo>
                  <a:lnTo>
                    <a:pt x="35" y="0"/>
                  </a:lnTo>
                  <a:lnTo>
                    <a:pt x="23" y="0"/>
                  </a:lnTo>
                  <a:lnTo>
                    <a:pt x="11" y="4"/>
                  </a:lnTo>
                  <a:lnTo>
                    <a:pt x="0" y="8"/>
                  </a:lnTo>
                  <a:lnTo>
                    <a:pt x="0" y="24"/>
                  </a:lnTo>
                  <a:lnTo>
                    <a:pt x="0" y="24"/>
                  </a:lnTo>
                  <a:lnTo>
                    <a:pt x="13" y="18"/>
                  </a:lnTo>
                  <a:lnTo>
                    <a:pt x="25" y="14"/>
                  </a:lnTo>
                  <a:lnTo>
                    <a:pt x="39" y="14"/>
                  </a:lnTo>
                  <a:lnTo>
                    <a:pt x="50" y="14"/>
                  </a:lnTo>
                  <a:lnTo>
                    <a:pt x="70" y="18"/>
                  </a:lnTo>
                  <a:lnTo>
                    <a:pt x="80" y="22"/>
                  </a:lnTo>
                  <a:lnTo>
                    <a:pt x="8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610"/>
            <p:cNvSpPr>
              <a:spLocks/>
            </p:cNvSpPr>
            <p:nvPr/>
          </p:nvSpPr>
          <p:spPr bwMode="auto">
            <a:xfrm>
              <a:off x="8648701" y="4527550"/>
              <a:ext cx="127000" cy="41275"/>
            </a:xfrm>
            <a:custGeom>
              <a:avLst/>
              <a:gdLst>
                <a:gd name="T0" fmla="*/ 80 w 80"/>
                <a:gd name="T1" fmla="*/ 24 h 26"/>
                <a:gd name="T2" fmla="*/ 80 w 80"/>
                <a:gd name="T3" fmla="*/ 10 h 26"/>
                <a:gd name="T4" fmla="*/ 80 w 80"/>
                <a:gd name="T5" fmla="*/ 10 h 26"/>
                <a:gd name="T6" fmla="*/ 66 w 80"/>
                <a:gd name="T7" fmla="*/ 4 h 26"/>
                <a:gd name="T8" fmla="*/ 47 w 80"/>
                <a:gd name="T9" fmla="*/ 2 h 26"/>
                <a:gd name="T10" fmla="*/ 35 w 80"/>
                <a:gd name="T11" fmla="*/ 0 h 26"/>
                <a:gd name="T12" fmla="*/ 23 w 80"/>
                <a:gd name="T13" fmla="*/ 2 h 26"/>
                <a:gd name="T14" fmla="*/ 11 w 80"/>
                <a:gd name="T15" fmla="*/ 4 h 26"/>
                <a:gd name="T16" fmla="*/ 0 w 80"/>
                <a:gd name="T17" fmla="*/ 10 h 26"/>
                <a:gd name="T18" fmla="*/ 0 w 80"/>
                <a:gd name="T19" fmla="*/ 26 h 26"/>
                <a:gd name="T20" fmla="*/ 0 w 80"/>
                <a:gd name="T21" fmla="*/ 26 h 26"/>
                <a:gd name="T22" fmla="*/ 13 w 80"/>
                <a:gd name="T23" fmla="*/ 20 h 26"/>
                <a:gd name="T24" fmla="*/ 25 w 80"/>
                <a:gd name="T25" fmla="*/ 16 h 26"/>
                <a:gd name="T26" fmla="*/ 39 w 80"/>
                <a:gd name="T27" fmla="*/ 14 h 26"/>
                <a:gd name="T28" fmla="*/ 50 w 80"/>
                <a:gd name="T29" fmla="*/ 16 h 26"/>
                <a:gd name="T30" fmla="*/ 70 w 80"/>
                <a:gd name="T31" fmla="*/ 20 h 26"/>
                <a:gd name="T32" fmla="*/ 80 w 80"/>
                <a:gd name="T33" fmla="*/ 24 h 26"/>
                <a:gd name="T34" fmla="*/ 80 w 80"/>
                <a:gd name="T3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4"/>
                  </a:moveTo>
                  <a:lnTo>
                    <a:pt x="80" y="10"/>
                  </a:lnTo>
                  <a:lnTo>
                    <a:pt x="80" y="10"/>
                  </a:lnTo>
                  <a:lnTo>
                    <a:pt x="66" y="4"/>
                  </a:lnTo>
                  <a:lnTo>
                    <a:pt x="47" y="2"/>
                  </a:lnTo>
                  <a:lnTo>
                    <a:pt x="35" y="0"/>
                  </a:lnTo>
                  <a:lnTo>
                    <a:pt x="23" y="2"/>
                  </a:lnTo>
                  <a:lnTo>
                    <a:pt x="11" y="4"/>
                  </a:lnTo>
                  <a:lnTo>
                    <a:pt x="0" y="10"/>
                  </a:lnTo>
                  <a:lnTo>
                    <a:pt x="0" y="26"/>
                  </a:lnTo>
                  <a:lnTo>
                    <a:pt x="0" y="26"/>
                  </a:lnTo>
                  <a:lnTo>
                    <a:pt x="13" y="20"/>
                  </a:lnTo>
                  <a:lnTo>
                    <a:pt x="25" y="16"/>
                  </a:lnTo>
                  <a:lnTo>
                    <a:pt x="39" y="14"/>
                  </a:lnTo>
                  <a:lnTo>
                    <a:pt x="50" y="16"/>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6" name="Freeform 611"/>
            <p:cNvSpPr>
              <a:spLocks/>
            </p:cNvSpPr>
            <p:nvPr/>
          </p:nvSpPr>
          <p:spPr bwMode="auto">
            <a:xfrm>
              <a:off x="8648701" y="4595813"/>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4"/>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12"/>
            <p:cNvSpPr>
              <a:spLocks/>
            </p:cNvSpPr>
            <p:nvPr/>
          </p:nvSpPr>
          <p:spPr bwMode="auto">
            <a:xfrm>
              <a:off x="8385176" y="4757738"/>
              <a:ext cx="446088" cy="20638"/>
            </a:xfrm>
            <a:custGeom>
              <a:avLst/>
              <a:gdLst>
                <a:gd name="T0" fmla="*/ 0 w 281"/>
                <a:gd name="T1" fmla="*/ 0 h 13"/>
                <a:gd name="T2" fmla="*/ 0 w 281"/>
                <a:gd name="T3" fmla="*/ 0 h 13"/>
                <a:gd name="T4" fmla="*/ 14 w 281"/>
                <a:gd name="T5" fmla="*/ 13 h 13"/>
                <a:gd name="T6" fmla="*/ 265 w 281"/>
                <a:gd name="T7" fmla="*/ 13 h 13"/>
                <a:gd name="T8" fmla="*/ 281 w 281"/>
                <a:gd name="T9" fmla="*/ 0 h 13"/>
                <a:gd name="T10" fmla="*/ 0 w 281"/>
                <a:gd name="T11" fmla="*/ 0 h 13"/>
              </a:gdLst>
              <a:ahLst/>
              <a:cxnLst>
                <a:cxn ang="0">
                  <a:pos x="T0" y="T1"/>
                </a:cxn>
                <a:cxn ang="0">
                  <a:pos x="T2" y="T3"/>
                </a:cxn>
                <a:cxn ang="0">
                  <a:pos x="T4" y="T5"/>
                </a:cxn>
                <a:cxn ang="0">
                  <a:pos x="T6" y="T7"/>
                </a:cxn>
                <a:cxn ang="0">
                  <a:pos x="T8" y="T9"/>
                </a:cxn>
                <a:cxn ang="0">
                  <a:pos x="T10" y="T11"/>
                </a:cxn>
              </a:cxnLst>
              <a:rect l="0" t="0" r="r" b="b"/>
              <a:pathLst>
                <a:path w="281" h="13">
                  <a:moveTo>
                    <a:pt x="0" y="0"/>
                  </a:moveTo>
                  <a:lnTo>
                    <a:pt x="0" y="0"/>
                  </a:lnTo>
                  <a:lnTo>
                    <a:pt x="14" y="13"/>
                  </a:lnTo>
                  <a:lnTo>
                    <a:pt x="265" y="13"/>
                  </a:lnTo>
                  <a:lnTo>
                    <a:pt x="28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13"/>
            <p:cNvSpPr>
              <a:spLocks noEditPoints="1"/>
            </p:cNvSpPr>
            <p:nvPr/>
          </p:nvSpPr>
          <p:spPr bwMode="auto">
            <a:xfrm>
              <a:off x="8385176" y="4341813"/>
              <a:ext cx="442913" cy="393700"/>
            </a:xfrm>
            <a:custGeom>
              <a:avLst/>
              <a:gdLst>
                <a:gd name="T0" fmla="*/ 12 w 279"/>
                <a:gd name="T1" fmla="*/ 242 h 248"/>
                <a:gd name="T2" fmla="*/ 31 w 279"/>
                <a:gd name="T3" fmla="*/ 232 h 248"/>
                <a:gd name="T4" fmla="*/ 62 w 279"/>
                <a:gd name="T5" fmla="*/ 225 h 248"/>
                <a:gd name="T6" fmla="*/ 76 w 279"/>
                <a:gd name="T7" fmla="*/ 225 h 248"/>
                <a:gd name="T8" fmla="*/ 105 w 279"/>
                <a:gd name="T9" fmla="*/ 229 h 248"/>
                <a:gd name="T10" fmla="*/ 133 w 279"/>
                <a:gd name="T11" fmla="*/ 240 h 248"/>
                <a:gd name="T12" fmla="*/ 136 w 279"/>
                <a:gd name="T13" fmla="*/ 242 h 248"/>
                <a:gd name="T14" fmla="*/ 144 w 279"/>
                <a:gd name="T15" fmla="*/ 242 h 248"/>
                <a:gd name="T16" fmla="*/ 148 w 279"/>
                <a:gd name="T17" fmla="*/ 240 h 248"/>
                <a:gd name="T18" fmla="*/ 150 w 279"/>
                <a:gd name="T19" fmla="*/ 238 h 248"/>
                <a:gd name="T20" fmla="*/ 152 w 279"/>
                <a:gd name="T21" fmla="*/ 236 h 248"/>
                <a:gd name="T22" fmla="*/ 156 w 279"/>
                <a:gd name="T23" fmla="*/ 234 h 248"/>
                <a:gd name="T24" fmla="*/ 160 w 279"/>
                <a:gd name="T25" fmla="*/ 234 h 248"/>
                <a:gd name="T26" fmla="*/ 162 w 279"/>
                <a:gd name="T27" fmla="*/ 232 h 248"/>
                <a:gd name="T28" fmla="*/ 166 w 279"/>
                <a:gd name="T29" fmla="*/ 230 h 248"/>
                <a:gd name="T30" fmla="*/ 168 w 279"/>
                <a:gd name="T31" fmla="*/ 230 h 248"/>
                <a:gd name="T32" fmla="*/ 185 w 279"/>
                <a:gd name="T33" fmla="*/ 227 h 248"/>
                <a:gd name="T34" fmla="*/ 205 w 279"/>
                <a:gd name="T35" fmla="*/ 225 h 248"/>
                <a:gd name="T36" fmla="*/ 246 w 279"/>
                <a:gd name="T37" fmla="*/ 232 h 248"/>
                <a:gd name="T38" fmla="*/ 267 w 279"/>
                <a:gd name="T39" fmla="*/ 240 h 248"/>
                <a:gd name="T40" fmla="*/ 267 w 279"/>
                <a:gd name="T41" fmla="*/ 240 h 248"/>
                <a:gd name="T42" fmla="*/ 269 w 279"/>
                <a:gd name="T43" fmla="*/ 240 h 248"/>
                <a:gd name="T44" fmla="*/ 269 w 279"/>
                <a:gd name="T45" fmla="*/ 242 h 248"/>
                <a:gd name="T46" fmla="*/ 279 w 279"/>
                <a:gd name="T47" fmla="*/ 248 h 248"/>
                <a:gd name="T48" fmla="*/ 275 w 279"/>
                <a:gd name="T49" fmla="*/ 16 h 248"/>
                <a:gd name="T50" fmla="*/ 257 w 279"/>
                <a:gd name="T51" fmla="*/ 10 h 248"/>
                <a:gd name="T52" fmla="*/ 222 w 279"/>
                <a:gd name="T53" fmla="*/ 2 h 248"/>
                <a:gd name="T54" fmla="*/ 207 w 279"/>
                <a:gd name="T55" fmla="*/ 0 h 248"/>
                <a:gd name="T56" fmla="*/ 164 w 279"/>
                <a:gd name="T57" fmla="*/ 8 h 248"/>
                <a:gd name="T58" fmla="*/ 140 w 279"/>
                <a:gd name="T59" fmla="*/ 20 h 248"/>
                <a:gd name="T60" fmla="*/ 131 w 279"/>
                <a:gd name="T61" fmla="*/ 14 h 248"/>
                <a:gd name="T62" fmla="*/ 97 w 279"/>
                <a:gd name="T63" fmla="*/ 2 h 248"/>
                <a:gd name="T64" fmla="*/ 74 w 279"/>
                <a:gd name="T65" fmla="*/ 0 h 248"/>
                <a:gd name="T66" fmla="*/ 41 w 279"/>
                <a:gd name="T67" fmla="*/ 4 h 248"/>
                <a:gd name="T68" fmla="*/ 6 w 279"/>
                <a:gd name="T69" fmla="*/ 16 h 248"/>
                <a:gd name="T70" fmla="*/ 0 w 279"/>
                <a:gd name="T71" fmla="*/ 248 h 248"/>
                <a:gd name="T72" fmla="*/ 148 w 279"/>
                <a:gd name="T73" fmla="*/ 225 h 248"/>
                <a:gd name="T74" fmla="*/ 148 w 279"/>
                <a:gd name="T75" fmla="*/ 33 h 248"/>
                <a:gd name="T76" fmla="*/ 168 w 279"/>
                <a:gd name="T77" fmla="*/ 22 h 248"/>
                <a:gd name="T78" fmla="*/ 207 w 279"/>
                <a:gd name="T79" fmla="*/ 14 h 248"/>
                <a:gd name="T80" fmla="*/ 220 w 279"/>
                <a:gd name="T81" fmla="*/ 16 h 248"/>
                <a:gd name="T82" fmla="*/ 250 w 279"/>
                <a:gd name="T83" fmla="*/ 22 h 248"/>
                <a:gd name="T84" fmla="*/ 265 w 279"/>
                <a:gd name="T85" fmla="*/ 223 h 248"/>
                <a:gd name="T86" fmla="*/ 265 w 279"/>
                <a:gd name="T87" fmla="*/ 223 h 248"/>
                <a:gd name="T88" fmla="*/ 240 w 279"/>
                <a:gd name="T89" fmla="*/ 215 h 248"/>
                <a:gd name="T90" fmla="*/ 205 w 279"/>
                <a:gd name="T91" fmla="*/ 211 h 248"/>
                <a:gd name="T92" fmla="*/ 181 w 279"/>
                <a:gd name="T93" fmla="*/ 213 h 248"/>
                <a:gd name="T94" fmla="*/ 160 w 279"/>
                <a:gd name="T95" fmla="*/ 219 h 248"/>
                <a:gd name="T96" fmla="*/ 160 w 279"/>
                <a:gd name="T97" fmla="*/ 219 h 248"/>
                <a:gd name="T98" fmla="*/ 154 w 279"/>
                <a:gd name="T99" fmla="*/ 221 h 248"/>
                <a:gd name="T100" fmla="*/ 154 w 279"/>
                <a:gd name="T101" fmla="*/ 221 h 248"/>
                <a:gd name="T102" fmla="*/ 148 w 279"/>
                <a:gd name="T103" fmla="*/ 225 h 248"/>
                <a:gd name="T104" fmla="*/ 15 w 279"/>
                <a:gd name="T105" fmla="*/ 28 h 248"/>
                <a:gd name="T106" fmla="*/ 45 w 279"/>
                <a:gd name="T107" fmla="*/ 18 h 248"/>
                <a:gd name="T108" fmla="*/ 74 w 279"/>
                <a:gd name="T109" fmla="*/ 14 h 248"/>
                <a:gd name="T110" fmla="*/ 95 w 279"/>
                <a:gd name="T111" fmla="*/ 16 h 248"/>
                <a:gd name="T112" fmla="*/ 125 w 279"/>
                <a:gd name="T113" fmla="*/ 28 h 248"/>
                <a:gd name="T114" fmla="*/ 133 w 279"/>
                <a:gd name="T115" fmla="*/ 225 h 248"/>
                <a:gd name="T116" fmla="*/ 119 w 279"/>
                <a:gd name="T117" fmla="*/ 219 h 248"/>
                <a:gd name="T118" fmla="*/ 92 w 279"/>
                <a:gd name="T119" fmla="*/ 211 h 248"/>
                <a:gd name="T120" fmla="*/ 76 w 279"/>
                <a:gd name="T121" fmla="*/ 211 h 248"/>
                <a:gd name="T122" fmla="*/ 41 w 279"/>
                <a:gd name="T123" fmla="*/ 215 h 248"/>
                <a:gd name="T124" fmla="*/ 15 w 279"/>
                <a:gd name="T125"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248">
                  <a:moveTo>
                    <a:pt x="12" y="242"/>
                  </a:moveTo>
                  <a:lnTo>
                    <a:pt x="12" y="242"/>
                  </a:lnTo>
                  <a:lnTo>
                    <a:pt x="17" y="238"/>
                  </a:lnTo>
                  <a:lnTo>
                    <a:pt x="31" y="232"/>
                  </a:lnTo>
                  <a:lnTo>
                    <a:pt x="51" y="227"/>
                  </a:lnTo>
                  <a:lnTo>
                    <a:pt x="62" y="225"/>
                  </a:lnTo>
                  <a:lnTo>
                    <a:pt x="76" y="225"/>
                  </a:lnTo>
                  <a:lnTo>
                    <a:pt x="76" y="225"/>
                  </a:lnTo>
                  <a:lnTo>
                    <a:pt x="92" y="225"/>
                  </a:lnTo>
                  <a:lnTo>
                    <a:pt x="105" y="229"/>
                  </a:lnTo>
                  <a:lnTo>
                    <a:pt x="119" y="232"/>
                  </a:lnTo>
                  <a:lnTo>
                    <a:pt x="133" y="240"/>
                  </a:lnTo>
                  <a:lnTo>
                    <a:pt x="133" y="240"/>
                  </a:lnTo>
                  <a:lnTo>
                    <a:pt x="136" y="242"/>
                  </a:lnTo>
                  <a:lnTo>
                    <a:pt x="140" y="244"/>
                  </a:lnTo>
                  <a:lnTo>
                    <a:pt x="144" y="242"/>
                  </a:lnTo>
                  <a:lnTo>
                    <a:pt x="144" y="242"/>
                  </a:lnTo>
                  <a:lnTo>
                    <a:pt x="148" y="240"/>
                  </a:lnTo>
                  <a:lnTo>
                    <a:pt x="148" y="240"/>
                  </a:lnTo>
                  <a:lnTo>
                    <a:pt x="150" y="238"/>
                  </a:lnTo>
                  <a:lnTo>
                    <a:pt x="150" y="238"/>
                  </a:lnTo>
                  <a:lnTo>
                    <a:pt x="152" y="236"/>
                  </a:lnTo>
                  <a:lnTo>
                    <a:pt x="152" y="236"/>
                  </a:lnTo>
                  <a:lnTo>
                    <a:pt x="156" y="234"/>
                  </a:lnTo>
                  <a:lnTo>
                    <a:pt x="156" y="234"/>
                  </a:lnTo>
                  <a:lnTo>
                    <a:pt x="160" y="234"/>
                  </a:lnTo>
                  <a:lnTo>
                    <a:pt x="160" y="234"/>
                  </a:lnTo>
                  <a:lnTo>
                    <a:pt x="162" y="232"/>
                  </a:lnTo>
                  <a:lnTo>
                    <a:pt x="162" y="232"/>
                  </a:lnTo>
                  <a:lnTo>
                    <a:pt x="166" y="230"/>
                  </a:lnTo>
                  <a:lnTo>
                    <a:pt x="166" y="230"/>
                  </a:lnTo>
                  <a:lnTo>
                    <a:pt x="168" y="230"/>
                  </a:lnTo>
                  <a:lnTo>
                    <a:pt x="168" y="230"/>
                  </a:lnTo>
                  <a:lnTo>
                    <a:pt x="185" y="227"/>
                  </a:lnTo>
                  <a:lnTo>
                    <a:pt x="205" y="225"/>
                  </a:lnTo>
                  <a:lnTo>
                    <a:pt x="205" y="225"/>
                  </a:lnTo>
                  <a:lnTo>
                    <a:pt x="226" y="227"/>
                  </a:lnTo>
                  <a:lnTo>
                    <a:pt x="246" y="232"/>
                  </a:lnTo>
                  <a:lnTo>
                    <a:pt x="259" y="236"/>
                  </a:lnTo>
                  <a:lnTo>
                    <a:pt x="267" y="240"/>
                  </a:lnTo>
                  <a:lnTo>
                    <a:pt x="267" y="240"/>
                  </a:lnTo>
                  <a:lnTo>
                    <a:pt x="267" y="240"/>
                  </a:lnTo>
                  <a:lnTo>
                    <a:pt x="267" y="240"/>
                  </a:lnTo>
                  <a:lnTo>
                    <a:pt x="269" y="240"/>
                  </a:lnTo>
                  <a:lnTo>
                    <a:pt x="269" y="240"/>
                  </a:lnTo>
                  <a:lnTo>
                    <a:pt x="269" y="242"/>
                  </a:lnTo>
                  <a:lnTo>
                    <a:pt x="269" y="242"/>
                  </a:lnTo>
                  <a:lnTo>
                    <a:pt x="279" y="248"/>
                  </a:lnTo>
                  <a:lnTo>
                    <a:pt x="279" y="18"/>
                  </a:lnTo>
                  <a:lnTo>
                    <a:pt x="275" y="16"/>
                  </a:lnTo>
                  <a:lnTo>
                    <a:pt x="275" y="16"/>
                  </a:lnTo>
                  <a:lnTo>
                    <a:pt x="257" y="10"/>
                  </a:lnTo>
                  <a:lnTo>
                    <a:pt x="240" y="4"/>
                  </a:lnTo>
                  <a:lnTo>
                    <a:pt x="222" y="2"/>
                  </a:lnTo>
                  <a:lnTo>
                    <a:pt x="207" y="0"/>
                  </a:lnTo>
                  <a:lnTo>
                    <a:pt x="207" y="0"/>
                  </a:lnTo>
                  <a:lnTo>
                    <a:pt x="183" y="2"/>
                  </a:lnTo>
                  <a:lnTo>
                    <a:pt x="164" y="8"/>
                  </a:lnTo>
                  <a:lnTo>
                    <a:pt x="150" y="14"/>
                  </a:lnTo>
                  <a:lnTo>
                    <a:pt x="140" y="20"/>
                  </a:lnTo>
                  <a:lnTo>
                    <a:pt x="140" y="20"/>
                  </a:lnTo>
                  <a:lnTo>
                    <a:pt x="131" y="14"/>
                  </a:lnTo>
                  <a:lnTo>
                    <a:pt x="117" y="8"/>
                  </a:lnTo>
                  <a:lnTo>
                    <a:pt x="97" y="2"/>
                  </a:lnTo>
                  <a:lnTo>
                    <a:pt x="74" y="0"/>
                  </a:lnTo>
                  <a:lnTo>
                    <a:pt x="74" y="0"/>
                  </a:lnTo>
                  <a:lnTo>
                    <a:pt x="58" y="2"/>
                  </a:lnTo>
                  <a:lnTo>
                    <a:pt x="41" y="4"/>
                  </a:lnTo>
                  <a:lnTo>
                    <a:pt x="23" y="10"/>
                  </a:lnTo>
                  <a:lnTo>
                    <a:pt x="6" y="16"/>
                  </a:lnTo>
                  <a:lnTo>
                    <a:pt x="0" y="18"/>
                  </a:lnTo>
                  <a:lnTo>
                    <a:pt x="0" y="248"/>
                  </a:lnTo>
                  <a:lnTo>
                    <a:pt x="12" y="242"/>
                  </a:lnTo>
                  <a:close/>
                  <a:moveTo>
                    <a:pt x="148" y="225"/>
                  </a:moveTo>
                  <a:lnTo>
                    <a:pt x="148" y="33"/>
                  </a:lnTo>
                  <a:lnTo>
                    <a:pt x="148" y="33"/>
                  </a:lnTo>
                  <a:lnTo>
                    <a:pt x="154" y="28"/>
                  </a:lnTo>
                  <a:lnTo>
                    <a:pt x="168" y="22"/>
                  </a:lnTo>
                  <a:lnTo>
                    <a:pt x="183" y="16"/>
                  </a:lnTo>
                  <a:lnTo>
                    <a:pt x="207" y="14"/>
                  </a:lnTo>
                  <a:lnTo>
                    <a:pt x="207" y="14"/>
                  </a:lnTo>
                  <a:lnTo>
                    <a:pt x="220" y="16"/>
                  </a:lnTo>
                  <a:lnTo>
                    <a:pt x="234" y="18"/>
                  </a:lnTo>
                  <a:lnTo>
                    <a:pt x="250" y="22"/>
                  </a:lnTo>
                  <a:lnTo>
                    <a:pt x="265" y="28"/>
                  </a:lnTo>
                  <a:lnTo>
                    <a:pt x="265" y="223"/>
                  </a:lnTo>
                  <a:lnTo>
                    <a:pt x="265" y="223"/>
                  </a:lnTo>
                  <a:lnTo>
                    <a:pt x="265" y="223"/>
                  </a:lnTo>
                  <a:lnTo>
                    <a:pt x="254" y="219"/>
                  </a:lnTo>
                  <a:lnTo>
                    <a:pt x="240" y="215"/>
                  </a:lnTo>
                  <a:lnTo>
                    <a:pt x="222" y="211"/>
                  </a:lnTo>
                  <a:lnTo>
                    <a:pt x="205" y="211"/>
                  </a:lnTo>
                  <a:lnTo>
                    <a:pt x="205" y="211"/>
                  </a:lnTo>
                  <a:lnTo>
                    <a:pt x="181" y="213"/>
                  </a:lnTo>
                  <a:lnTo>
                    <a:pt x="160" y="219"/>
                  </a:lnTo>
                  <a:lnTo>
                    <a:pt x="160" y="219"/>
                  </a:lnTo>
                  <a:lnTo>
                    <a:pt x="160" y="219"/>
                  </a:lnTo>
                  <a:lnTo>
                    <a:pt x="160" y="219"/>
                  </a:lnTo>
                  <a:lnTo>
                    <a:pt x="154" y="221"/>
                  </a:lnTo>
                  <a:lnTo>
                    <a:pt x="154" y="221"/>
                  </a:lnTo>
                  <a:lnTo>
                    <a:pt x="154" y="221"/>
                  </a:lnTo>
                  <a:lnTo>
                    <a:pt x="154" y="221"/>
                  </a:lnTo>
                  <a:lnTo>
                    <a:pt x="148" y="225"/>
                  </a:lnTo>
                  <a:lnTo>
                    <a:pt x="148" y="225"/>
                  </a:lnTo>
                  <a:close/>
                  <a:moveTo>
                    <a:pt x="15" y="28"/>
                  </a:moveTo>
                  <a:lnTo>
                    <a:pt x="15" y="28"/>
                  </a:lnTo>
                  <a:lnTo>
                    <a:pt x="31" y="22"/>
                  </a:lnTo>
                  <a:lnTo>
                    <a:pt x="45" y="18"/>
                  </a:lnTo>
                  <a:lnTo>
                    <a:pt x="60" y="16"/>
                  </a:lnTo>
                  <a:lnTo>
                    <a:pt x="74" y="14"/>
                  </a:lnTo>
                  <a:lnTo>
                    <a:pt x="74" y="14"/>
                  </a:lnTo>
                  <a:lnTo>
                    <a:pt x="95" y="16"/>
                  </a:lnTo>
                  <a:lnTo>
                    <a:pt x="113" y="22"/>
                  </a:lnTo>
                  <a:lnTo>
                    <a:pt x="125" y="28"/>
                  </a:lnTo>
                  <a:lnTo>
                    <a:pt x="133" y="33"/>
                  </a:lnTo>
                  <a:lnTo>
                    <a:pt x="133" y="225"/>
                  </a:lnTo>
                  <a:lnTo>
                    <a:pt x="133" y="225"/>
                  </a:lnTo>
                  <a:lnTo>
                    <a:pt x="119" y="219"/>
                  </a:lnTo>
                  <a:lnTo>
                    <a:pt x="105" y="213"/>
                  </a:lnTo>
                  <a:lnTo>
                    <a:pt x="92" y="211"/>
                  </a:lnTo>
                  <a:lnTo>
                    <a:pt x="76" y="211"/>
                  </a:lnTo>
                  <a:lnTo>
                    <a:pt x="76" y="211"/>
                  </a:lnTo>
                  <a:lnTo>
                    <a:pt x="56" y="211"/>
                  </a:lnTo>
                  <a:lnTo>
                    <a:pt x="41" y="215"/>
                  </a:lnTo>
                  <a:lnTo>
                    <a:pt x="25" y="219"/>
                  </a:lnTo>
                  <a:lnTo>
                    <a:pt x="15" y="223"/>
                  </a:lnTo>
                  <a:lnTo>
                    <a:pt x="1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93617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xEl>
                                              <p:pRg st="3" end="3"/>
                                            </p:txEl>
                                          </p:spTgt>
                                        </p:tgtEl>
                                        <p:attrNameLst>
                                          <p:attrName>style.visibility</p:attrName>
                                        </p:attrNameLst>
                                      </p:cBhvr>
                                      <p:to>
                                        <p:strVal val="visible"/>
                                      </p:to>
                                    </p:set>
                                    <p:animEffect transition="in" filter="fade">
                                      <p:cBhvr>
                                        <p:cTn id="20" dur="500"/>
                                        <p:tgtEl>
                                          <p:spTgt spid="9">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Effect transition="in" filter="fade">
                                      <p:cBhvr>
                                        <p:cTn id="23" dur="500"/>
                                        <p:tgtEl>
                                          <p:spTgt spid="9">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xEl>
                                              <p:pRg st="5" end="5"/>
                                            </p:txEl>
                                          </p:spTgt>
                                        </p:tgtEl>
                                        <p:attrNameLst>
                                          <p:attrName>style.visibility</p:attrName>
                                        </p:attrNameLst>
                                      </p:cBhvr>
                                      <p:to>
                                        <p:strVal val="visible"/>
                                      </p:to>
                                    </p:set>
                                    <p:animEffect transition="in" filter="fade">
                                      <p:cBhvr>
                                        <p:cTn id="26" dur="500"/>
                                        <p:tgtEl>
                                          <p:spTgt spid="9">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animEffect transition="in" filter="fade">
                                      <p:cBhvr>
                                        <p:cTn id="31" dur="500"/>
                                        <p:tgtEl>
                                          <p:spTgt spid="9">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9">
                                            <p:txEl>
                                              <p:pRg st="7" end="7"/>
                                            </p:txEl>
                                          </p:spTgt>
                                        </p:tgtEl>
                                        <p:attrNameLst>
                                          <p:attrName>style.visibility</p:attrName>
                                        </p:attrNameLst>
                                      </p:cBhvr>
                                      <p:to>
                                        <p:strVal val="visible"/>
                                      </p:to>
                                    </p:set>
                                    <p:animEffect transition="in" filter="fade">
                                      <p:cBhvr>
                                        <p:cTn id="36" dur="500"/>
                                        <p:tgtEl>
                                          <p:spTgt spid="9">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9">
                                            <p:txEl>
                                              <p:pRg st="8" end="8"/>
                                            </p:txEl>
                                          </p:spTgt>
                                        </p:tgtEl>
                                        <p:attrNameLst>
                                          <p:attrName>style.visibility</p:attrName>
                                        </p:attrNameLst>
                                      </p:cBhvr>
                                      <p:to>
                                        <p:strVal val="visible"/>
                                      </p:to>
                                    </p:set>
                                    <p:animEffect transition="in" filter="fade">
                                      <p:cBhvr>
                                        <p:cTn id="41"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Y Space Planning</a:t>
            </a:r>
          </a:p>
        </p:txBody>
      </p:sp>
      <p:sp>
        <p:nvSpPr>
          <p:cNvPr id="8"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pyright © 2016 BY Software Group, Inc. Confidential</a:t>
            </a:r>
          </a:p>
        </p:txBody>
      </p:sp>
    </p:spTree>
    <p:extLst>
      <p:ext uri="{BB962C8B-B14F-4D97-AF65-F5344CB8AC3E}">
        <p14:creationId xmlns:p14="http://schemas.microsoft.com/office/powerpoint/2010/main" val="401185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BY Space Planning</a:t>
            </a:r>
          </a:p>
        </p:txBody>
      </p:sp>
      <p:sp>
        <p:nvSpPr>
          <p:cNvPr id="9" name="Content Placeholder 8"/>
          <p:cNvSpPr>
            <a:spLocks noGrp="1"/>
          </p:cNvSpPr>
          <p:nvPr>
            <p:ph idx="1"/>
          </p:nvPr>
        </p:nvSpPr>
        <p:spPr/>
        <p:txBody>
          <a:bodyPr/>
          <a:lstStyle/>
          <a:p>
            <a:pPr>
              <a:lnSpc>
                <a:spcPct val="150000"/>
              </a:lnSpc>
            </a:pPr>
            <a:r>
              <a:rPr lang="en-US" sz="2400" dirty="0"/>
              <a:t>Space Planning Overview</a:t>
            </a:r>
          </a:p>
          <a:p>
            <a:pPr>
              <a:lnSpc>
                <a:spcPct val="150000"/>
              </a:lnSpc>
            </a:pPr>
            <a:r>
              <a:rPr lang="en-US" dirty="0"/>
              <a:t>Space Planning Demo</a:t>
            </a:r>
            <a:endParaRPr lang="en-US" sz="2400" dirty="0"/>
          </a:p>
          <a:p>
            <a:pPr>
              <a:lnSpc>
                <a:spcPct val="150000"/>
              </a:lnSpc>
            </a:pPr>
            <a:r>
              <a:rPr lang="en-US" sz="2400" dirty="0"/>
              <a:t>Space Planning Process Triggers</a:t>
            </a:r>
          </a:p>
          <a:p>
            <a:pPr>
              <a:lnSpc>
                <a:spcPct val="150000"/>
              </a:lnSpc>
            </a:pPr>
            <a:r>
              <a:rPr lang="en-US" sz="2400" dirty="0"/>
              <a:t>Space Planning Processes</a:t>
            </a:r>
          </a:p>
          <a:p>
            <a:pPr>
              <a:lnSpc>
                <a:spcPct val="150000"/>
              </a:lnSpc>
            </a:pPr>
            <a:r>
              <a:rPr lang="en-US" dirty="0"/>
              <a:t>Space Planning Configuration</a:t>
            </a:r>
          </a:p>
          <a:p>
            <a:pPr>
              <a:lnSpc>
                <a:spcPct val="150000"/>
              </a:lnSpc>
            </a:pPr>
            <a:r>
              <a:rPr lang="en-US" dirty="0"/>
              <a:t>Space Planning Roadblocks</a:t>
            </a:r>
          </a:p>
        </p:txBody>
      </p:sp>
      <p:grpSp>
        <p:nvGrpSpPr>
          <p:cNvPr id="5" name="Group 4"/>
          <p:cNvGrpSpPr>
            <a:grpSpLocks noChangeAspect="1"/>
          </p:cNvGrpSpPr>
          <p:nvPr/>
        </p:nvGrpSpPr>
        <p:grpSpPr>
          <a:xfrm>
            <a:off x="7359665" y="1875791"/>
            <a:ext cx="2125664" cy="2080276"/>
            <a:chOff x="8385176" y="4341813"/>
            <a:chExt cx="446088" cy="436563"/>
          </a:xfrm>
          <a:solidFill>
            <a:schemeClr val="accent4"/>
          </a:solidFill>
        </p:grpSpPr>
        <p:sp>
          <p:nvSpPr>
            <p:cNvPr id="8" name="Freeform 604"/>
            <p:cNvSpPr>
              <a:spLocks/>
            </p:cNvSpPr>
            <p:nvPr/>
          </p:nvSpPr>
          <p:spPr bwMode="auto">
            <a:xfrm>
              <a:off x="8437563" y="4394200"/>
              <a:ext cx="127000" cy="38100"/>
            </a:xfrm>
            <a:custGeom>
              <a:avLst/>
              <a:gdLst>
                <a:gd name="T0" fmla="*/ 80 w 80"/>
                <a:gd name="T1" fmla="*/ 24 h 24"/>
                <a:gd name="T2" fmla="*/ 80 w 80"/>
                <a:gd name="T3" fmla="*/ 10 h 24"/>
                <a:gd name="T4" fmla="*/ 80 w 80"/>
                <a:gd name="T5" fmla="*/ 10 h 24"/>
                <a:gd name="T6" fmla="*/ 68 w 80"/>
                <a:gd name="T7" fmla="*/ 4 h 24"/>
                <a:gd name="T8" fmla="*/ 57 w 80"/>
                <a:gd name="T9" fmla="*/ 2 h 24"/>
                <a:gd name="T10" fmla="*/ 45 w 80"/>
                <a:gd name="T11" fmla="*/ 0 h 24"/>
                <a:gd name="T12" fmla="*/ 35 w 80"/>
                <a:gd name="T13" fmla="*/ 0 h 24"/>
                <a:gd name="T14" fmla="*/ 14 w 80"/>
                <a:gd name="T15" fmla="*/ 4 h 24"/>
                <a:gd name="T16" fmla="*/ 0 w 80"/>
                <a:gd name="T17" fmla="*/ 8 h 24"/>
                <a:gd name="T18" fmla="*/ 0 w 80"/>
                <a:gd name="T19" fmla="*/ 24 h 24"/>
                <a:gd name="T20" fmla="*/ 0 w 80"/>
                <a:gd name="T21" fmla="*/ 24 h 24"/>
                <a:gd name="T22" fmla="*/ 12 w 80"/>
                <a:gd name="T23" fmla="*/ 20 h 24"/>
                <a:gd name="T24" fmla="*/ 31 w 80"/>
                <a:gd name="T25" fmla="*/ 14 h 24"/>
                <a:gd name="T26" fmla="*/ 43 w 80"/>
                <a:gd name="T27" fmla="*/ 14 h 24"/>
                <a:gd name="T28" fmla="*/ 55 w 80"/>
                <a:gd name="T29" fmla="*/ 16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10"/>
                  </a:ln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6"/>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0" name="Freeform 605"/>
            <p:cNvSpPr>
              <a:spLocks/>
            </p:cNvSpPr>
            <p:nvPr/>
          </p:nvSpPr>
          <p:spPr bwMode="auto">
            <a:xfrm>
              <a:off x="8437563" y="4462463"/>
              <a:ext cx="127000" cy="38100"/>
            </a:xfrm>
            <a:custGeom>
              <a:avLst/>
              <a:gdLst>
                <a:gd name="T0" fmla="*/ 80 w 80"/>
                <a:gd name="T1" fmla="*/ 24 h 24"/>
                <a:gd name="T2" fmla="*/ 80 w 80"/>
                <a:gd name="T3" fmla="*/ 8 h 24"/>
                <a:gd name="T4" fmla="*/ 80 w 80"/>
                <a:gd name="T5" fmla="*/ 8 h 24"/>
                <a:gd name="T6" fmla="*/ 68 w 80"/>
                <a:gd name="T7" fmla="*/ 4 h 24"/>
                <a:gd name="T8" fmla="*/ 57 w 80"/>
                <a:gd name="T9" fmla="*/ 0 h 24"/>
                <a:gd name="T10" fmla="*/ 45 w 80"/>
                <a:gd name="T11" fmla="*/ 0 h 24"/>
                <a:gd name="T12" fmla="*/ 35 w 80"/>
                <a:gd name="T13" fmla="*/ 0 h 24"/>
                <a:gd name="T14" fmla="*/ 14 w 80"/>
                <a:gd name="T15" fmla="*/ 4 h 24"/>
                <a:gd name="T16" fmla="*/ 0 w 80"/>
                <a:gd name="T17" fmla="*/ 8 h 24"/>
                <a:gd name="T18" fmla="*/ 0 w 80"/>
                <a:gd name="T19" fmla="*/ 22 h 24"/>
                <a:gd name="T20" fmla="*/ 0 w 80"/>
                <a:gd name="T21" fmla="*/ 22 h 24"/>
                <a:gd name="T22" fmla="*/ 12 w 80"/>
                <a:gd name="T23" fmla="*/ 18 h 24"/>
                <a:gd name="T24" fmla="*/ 31 w 80"/>
                <a:gd name="T25" fmla="*/ 14 h 24"/>
                <a:gd name="T26" fmla="*/ 43 w 80"/>
                <a:gd name="T27" fmla="*/ 14 h 24"/>
                <a:gd name="T28" fmla="*/ 55 w 80"/>
                <a:gd name="T29" fmla="*/ 14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8" y="4"/>
                  </a:lnTo>
                  <a:lnTo>
                    <a:pt x="57" y="0"/>
                  </a:lnTo>
                  <a:lnTo>
                    <a:pt x="45" y="0"/>
                  </a:lnTo>
                  <a:lnTo>
                    <a:pt x="35" y="0"/>
                  </a:lnTo>
                  <a:lnTo>
                    <a:pt x="14" y="4"/>
                  </a:lnTo>
                  <a:lnTo>
                    <a:pt x="0" y="8"/>
                  </a:lnTo>
                  <a:lnTo>
                    <a:pt x="0" y="22"/>
                  </a:lnTo>
                  <a:lnTo>
                    <a:pt x="0" y="22"/>
                  </a:lnTo>
                  <a:lnTo>
                    <a:pt x="12" y="18"/>
                  </a:lnTo>
                  <a:lnTo>
                    <a:pt x="31" y="14"/>
                  </a:lnTo>
                  <a:lnTo>
                    <a:pt x="43" y="14"/>
                  </a:lnTo>
                  <a:lnTo>
                    <a:pt x="55" y="14"/>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Freeform 606"/>
            <p:cNvSpPr>
              <a:spLocks/>
            </p:cNvSpPr>
            <p:nvPr/>
          </p:nvSpPr>
          <p:spPr bwMode="auto">
            <a:xfrm>
              <a:off x="8437563" y="4527550"/>
              <a:ext cx="127000" cy="41275"/>
            </a:xfrm>
            <a:custGeom>
              <a:avLst/>
              <a:gdLst>
                <a:gd name="T0" fmla="*/ 80 w 80"/>
                <a:gd name="T1" fmla="*/ 26 h 26"/>
                <a:gd name="T2" fmla="*/ 80 w 80"/>
                <a:gd name="T3" fmla="*/ 10 h 26"/>
                <a:gd name="T4" fmla="*/ 80 w 80"/>
                <a:gd name="T5" fmla="*/ 10 h 26"/>
                <a:gd name="T6" fmla="*/ 68 w 80"/>
                <a:gd name="T7" fmla="*/ 4 h 26"/>
                <a:gd name="T8" fmla="*/ 57 w 80"/>
                <a:gd name="T9" fmla="*/ 2 h 26"/>
                <a:gd name="T10" fmla="*/ 45 w 80"/>
                <a:gd name="T11" fmla="*/ 0 h 26"/>
                <a:gd name="T12" fmla="*/ 35 w 80"/>
                <a:gd name="T13" fmla="*/ 2 h 26"/>
                <a:gd name="T14" fmla="*/ 14 w 80"/>
                <a:gd name="T15" fmla="*/ 4 h 26"/>
                <a:gd name="T16" fmla="*/ 0 w 80"/>
                <a:gd name="T17" fmla="*/ 10 h 26"/>
                <a:gd name="T18" fmla="*/ 0 w 80"/>
                <a:gd name="T19" fmla="*/ 24 h 26"/>
                <a:gd name="T20" fmla="*/ 0 w 80"/>
                <a:gd name="T21" fmla="*/ 24 h 26"/>
                <a:gd name="T22" fmla="*/ 12 w 80"/>
                <a:gd name="T23" fmla="*/ 20 h 26"/>
                <a:gd name="T24" fmla="*/ 31 w 80"/>
                <a:gd name="T25" fmla="*/ 16 h 26"/>
                <a:gd name="T26" fmla="*/ 43 w 80"/>
                <a:gd name="T27" fmla="*/ 14 h 26"/>
                <a:gd name="T28" fmla="*/ 55 w 80"/>
                <a:gd name="T29" fmla="*/ 16 h 26"/>
                <a:gd name="T30" fmla="*/ 68 w 80"/>
                <a:gd name="T31" fmla="*/ 20 h 26"/>
                <a:gd name="T32" fmla="*/ 80 w 80"/>
                <a:gd name="T33" fmla="*/ 26 h 26"/>
                <a:gd name="T34" fmla="*/ 80 w 80"/>
                <a:gd name="T3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6"/>
                  </a:moveTo>
                  <a:lnTo>
                    <a:pt x="80" y="10"/>
                  </a:lnTo>
                  <a:lnTo>
                    <a:pt x="80" y="10"/>
                  </a:lnTo>
                  <a:lnTo>
                    <a:pt x="68" y="4"/>
                  </a:lnTo>
                  <a:lnTo>
                    <a:pt x="57" y="2"/>
                  </a:lnTo>
                  <a:lnTo>
                    <a:pt x="45" y="0"/>
                  </a:lnTo>
                  <a:lnTo>
                    <a:pt x="35" y="2"/>
                  </a:lnTo>
                  <a:lnTo>
                    <a:pt x="14" y="4"/>
                  </a:lnTo>
                  <a:lnTo>
                    <a:pt x="0" y="10"/>
                  </a:lnTo>
                  <a:lnTo>
                    <a:pt x="0" y="24"/>
                  </a:lnTo>
                  <a:lnTo>
                    <a:pt x="0" y="24"/>
                  </a:lnTo>
                  <a:lnTo>
                    <a:pt x="12" y="20"/>
                  </a:lnTo>
                  <a:lnTo>
                    <a:pt x="31" y="16"/>
                  </a:lnTo>
                  <a:lnTo>
                    <a:pt x="43" y="14"/>
                  </a:lnTo>
                  <a:lnTo>
                    <a:pt x="55" y="16"/>
                  </a:lnTo>
                  <a:lnTo>
                    <a:pt x="68" y="20"/>
                  </a:lnTo>
                  <a:lnTo>
                    <a:pt x="80" y="26"/>
                  </a:lnTo>
                  <a:lnTo>
                    <a:pt x="8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607"/>
            <p:cNvSpPr>
              <a:spLocks/>
            </p:cNvSpPr>
            <p:nvPr/>
          </p:nvSpPr>
          <p:spPr bwMode="auto">
            <a:xfrm>
              <a:off x="8437563" y="4595813"/>
              <a:ext cx="127000" cy="38100"/>
            </a:xfrm>
            <a:custGeom>
              <a:avLst/>
              <a:gdLst>
                <a:gd name="T0" fmla="*/ 80 w 80"/>
                <a:gd name="T1" fmla="*/ 10 h 24"/>
                <a:gd name="T2" fmla="*/ 80 w 80"/>
                <a:gd name="T3" fmla="*/ 10 h 24"/>
                <a:gd name="T4" fmla="*/ 68 w 80"/>
                <a:gd name="T5" fmla="*/ 4 h 24"/>
                <a:gd name="T6" fmla="*/ 57 w 80"/>
                <a:gd name="T7" fmla="*/ 2 h 24"/>
                <a:gd name="T8" fmla="*/ 45 w 80"/>
                <a:gd name="T9" fmla="*/ 0 h 24"/>
                <a:gd name="T10" fmla="*/ 35 w 80"/>
                <a:gd name="T11" fmla="*/ 0 h 24"/>
                <a:gd name="T12" fmla="*/ 14 w 80"/>
                <a:gd name="T13" fmla="*/ 4 h 24"/>
                <a:gd name="T14" fmla="*/ 0 w 80"/>
                <a:gd name="T15" fmla="*/ 8 h 24"/>
                <a:gd name="T16" fmla="*/ 0 w 80"/>
                <a:gd name="T17" fmla="*/ 24 h 24"/>
                <a:gd name="T18" fmla="*/ 0 w 80"/>
                <a:gd name="T19" fmla="*/ 24 h 24"/>
                <a:gd name="T20" fmla="*/ 12 w 80"/>
                <a:gd name="T21" fmla="*/ 20 h 24"/>
                <a:gd name="T22" fmla="*/ 31 w 80"/>
                <a:gd name="T23" fmla="*/ 14 h 24"/>
                <a:gd name="T24" fmla="*/ 43 w 80"/>
                <a:gd name="T25" fmla="*/ 14 h 24"/>
                <a:gd name="T26" fmla="*/ 55 w 80"/>
                <a:gd name="T27" fmla="*/ 14 h 24"/>
                <a:gd name="T28" fmla="*/ 68 w 80"/>
                <a:gd name="T29" fmla="*/ 18 h 24"/>
                <a:gd name="T30" fmla="*/ 80 w 80"/>
                <a:gd name="T31" fmla="*/ 24 h 24"/>
                <a:gd name="T32" fmla="*/ 80 w 80"/>
                <a:gd name="T3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4">
                  <a:moveTo>
                    <a:pt x="80" y="10"/>
                  </a:move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4"/>
                  </a:lnTo>
                  <a:lnTo>
                    <a:pt x="68" y="18"/>
                  </a:lnTo>
                  <a:lnTo>
                    <a:pt x="80" y="24"/>
                  </a:lnTo>
                  <a:lnTo>
                    <a:pt x="8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608"/>
            <p:cNvSpPr>
              <a:spLocks/>
            </p:cNvSpPr>
            <p:nvPr/>
          </p:nvSpPr>
          <p:spPr bwMode="auto">
            <a:xfrm>
              <a:off x="8648701" y="4394200"/>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6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6"/>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609"/>
            <p:cNvSpPr>
              <a:spLocks/>
            </p:cNvSpPr>
            <p:nvPr/>
          </p:nvSpPr>
          <p:spPr bwMode="auto">
            <a:xfrm>
              <a:off x="8648701" y="4462463"/>
              <a:ext cx="127000" cy="38100"/>
            </a:xfrm>
            <a:custGeom>
              <a:avLst/>
              <a:gdLst>
                <a:gd name="T0" fmla="*/ 80 w 80"/>
                <a:gd name="T1" fmla="*/ 22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0 h 24"/>
                <a:gd name="T14" fmla="*/ 11 w 80"/>
                <a:gd name="T15" fmla="*/ 4 h 24"/>
                <a:gd name="T16" fmla="*/ 0 w 80"/>
                <a:gd name="T17" fmla="*/ 8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18 h 24"/>
                <a:gd name="T32" fmla="*/ 80 w 80"/>
                <a:gd name="T33" fmla="*/ 22 h 24"/>
                <a:gd name="T34" fmla="*/ 80 w 80"/>
                <a:gd name="T3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2"/>
                  </a:moveTo>
                  <a:lnTo>
                    <a:pt x="80" y="8"/>
                  </a:lnTo>
                  <a:lnTo>
                    <a:pt x="80" y="8"/>
                  </a:lnTo>
                  <a:lnTo>
                    <a:pt x="66" y="4"/>
                  </a:lnTo>
                  <a:lnTo>
                    <a:pt x="47" y="0"/>
                  </a:lnTo>
                  <a:lnTo>
                    <a:pt x="35" y="0"/>
                  </a:lnTo>
                  <a:lnTo>
                    <a:pt x="23" y="0"/>
                  </a:lnTo>
                  <a:lnTo>
                    <a:pt x="11" y="4"/>
                  </a:lnTo>
                  <a:lnTo>
                    <a:pt x="0" y="8"/>
                  </a:lnTo>
                  <a:lnTo>
                    <a:pt x="0" y="24"/>
                  </a:lnTo>
                  <a:lnTo>
                    <a:pt x="0" y="24"/>
                  </a:lnTo>
                  <a:lnTo>
                    <a:pt x="13" y="18"/>
                  </a:lnTo>
                  <a:lnTo>
                    <a:pt x="25" y="14"/>
                  </a:lnTo>
                  <a:lnTo>
                    <a:pt x="39" y="14"/>
                  </a:lnTo>
                  <a:lnTo>
                    <a:pt x="50" y="14"/>
                  </a:lnTo>
                  <a:lnTo>
                    <a:pt x="70" y="18"/>
                  </a:lnTo>
                  <a:lnTo>
                    <a:pt x="80" y="22"/>
                  </a:lnTo>
                  <a:lnTo>
                    <a:pt x="8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610"/>
            <p:cNvSpPr>
              <a:spLocks/>
            </p:cNvSpPr>
            <p:nvPr/>
          </p:nvSpPr>
          <p:spPr bwMode="auto">
            <a:xfrm>
              <a:off x="8648701" y="4527550"/>
              <a:ext cx="127000" cy="41275"/>
            </a:xfrm>
            <a:custGeom>
              <a:avLst/>
              <a:gdLst>
                <a:gd name="T0" fmla="*/ 80 w 80"/>
                <a:gd name="T1" fmla="*/ 24 h 26"/>
                <a:gd name="T2" fmla="*/ 80 w 80"/>
                <a:gd name="T3" fmla="*/ 10 h 26"/>
                <a:gd name="T4" fmla="*/ 80 w 80"/>
                <a:gd name="T5" fmla="*/ 10 h 26"/>
                <a:gd name="T6" fmla="*/ 66 w 80"/>
                <a:gd name="T7" fmla="*/ 4 h 26"/>
                <a:gd name="T8" fmla="*/ 47 w 80"/>
                <a:gd name="T9" fmla="*/ 2 h 26"/>
                <a:gd name="T10" fmla="*/ 35 w 80"/>
                <a:gd name="T11" fmla="*/ 0 h 26"/>
                <a:gd name="T12" fmla="*/ 23 w 80"/>
                <a:gd name="T13" fmla="*/ 2 h 26"/>
                <a:gd name="T14" fmla="*/ 11 w 80"/>
                <a:gd name="T15" fmla="*/ 4 h 26"/>
                <a:gd name="T16" fmla="*/ 0 w 80"/>
                <a:gd name="T17" fmla="*/ 10 h 26"/>
                <a:gd name="T18" fmla="*/ 0 w 80"/>
                <a:gd name="T19" fmla="*/ 26 h 26"/>
                <a:gd name="T20" fmla="*/ 0 w 80"/>
                <a:gd name="T21" fmla="*/ 26 h 26"/>
                <a:gd name="T22" fmla="*/ 13 w 80"/>
                <a:gd name="T23" fmla="*/ 20 h 26"/>
                <a:gd name="T24" fmla="*/ 25 w 80"/>
                <a:gd name="T25" fmla="*/ 16 h 26"/>
                <a:gd name="T26" fmla="*/ 39 w 80"/>
                <a:gd name="T27" fmla="*/ 14 h 26"/>
                <a:gd name="T28" fmla="*/ 50 w 80"/>
                <a:gd name="T29" fmla="*/ 16 h 26"/>
                <a:gd name="T30" fmla="*/ 70 w 80"/>
                <a:gd name="T31" fmla="*/ 20 h 26"/>
                <a:gd name="T32" fmla="*/ 80 w 80"/>
                <a:gd name="T33" fmla="*/ 24 h 26"/>
                <a:gd name="T34" fmla="*/ 80 w 80"/>
                <a:gd name="T3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4"/>
                  </a:moveTo>
                  <a:lnTo>
                    <a:pt x="80" y="10"/>
                  </a:lnTo>
                  <a:lnTo>
                    <a:pt x="80" y="10"/>
                  </a:lnTo>
                  <a:lnTo>
                    <a:pt x="66" y="4"/>
                  </a:lnTo>
                  <a:lnTo>
                    <a:pt x="47" y="2"/>
                  </a:lnTo>
                  <a:lnTo>
                    <a:pt x="35" y="0"/>
                  </a:lnTo>
                  <a:lnTo>
                    <a:pt x="23" y="2"/>
                  </a:lnTo>
                  <a:lnTo>
                    <a:pt x="11" y="4"/>
                  </a:lnTo>
                  <a:lnTo>
                    <a:pt x="0" y="10"/>
                  </a:lnTo>
                  <a:lnTo>
                    <a:pt x="0" y="26"/>
                  </a:lnTo>
                  <a:lnTo>
                    <a:pt x="0" y="26"/>
                  </a:lnTo>
                  <a:lnTo>
                    <a:pt x="13" y="20"/>
                  </a:lnTo>
                  <a:lnTo>
                    <a:pt x="25" y="16"/>
                  </a:lnTo>
                  <a:lnTo>
                    <a:pt x="39" y="14"/>
                  </a:lnTo>
                  <a:lnTo>
                    <a:pt x="50" y="16"/>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6" name="Freeform 611"/>
            <p:cNvSpPr>
              <a:spLocks/>
            </p:cNvSpPr>
            <p:nvPr/>
          </p:nvSpPr>
          <p:spPr bwMode="auto">
            <a:xfrm>
              <a:off x="8648701" y="4595813"/>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4"/>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12"/>
            <p:cNvSpPr>
              <a:spLocks/>
            </p:cNvSpPr>
            <p:nvPr/>
          </p:nvSpPr>
          <p:spPr bwMode="auto">
            <a:xfrm>
              <a:off x="8385176" y="4757738"/>
              <a:ext cx="446088" cy="20638"/>
            </a:xfrm>
            <a:custGeom>
              <a:avLst/>
              <a:gdLst>
                <a:gd name="T0" fmla="*/ 0 w 281"/>
                <a:gd name="T1" fmla="*/ 0 h 13"/>
                <a:gd name="T2" fmla="*/ 0 w 281"/>
                <a:gd name="T3" fmla="*/ 0 h 13"/>
                <a:gd name="T4" fmla="*/ 14 w 281"/>
                <a:gd name="T5" fmla="*/ 13 h 13"/>
                <a:gd name="T6" fmla="*/ 265 w 281"/>
                <a:gd name="T7" fmla="*/ 13 h 13"/>
                <a:gd name="T8" fmla="*/ 281 w 281"/>
                <a:gd name="T9" fmla="*/ 0 h 13"/>
                <a:gd name="T10" fmla="*/ 0 w 281"/>
                <a:gd name="T11" fmla="*/ 0 h 13"/>
              </a:gdLst>
              <a:ahLst/>
              <a:cxnLst>
                <a:cxn ang="0">
                  <a:pos x="T0" y="T1"/>
                </a:cxn>
                <a:cxn ang="0">
                  <a:pos x="T2" y="T3"/>
                </a:cxn>
                <a:cxn ang="0">
                  <a:pos x="T4" y="T5"/>
                </a:cxn>
                <a:cxn ang="0">
                  <a:pos x="T6" y="T7"/>
                </a:cxn>
                <a:cxn ang="0">
                  <a:pos x="T8" y="T9"/>
                </a:cxn>
                <a:cxn ang="0">
                  <a:pos x="T10" y="T11"/>
                </a:cxn>
              </a:cxnLst>
              <a:rect l="0" t="0" r="r" b="b"/>
              <a:pathLst>
                <a:path w="281" h="13">
                  <a:moveTo>
                    <a:pt x="0" y="0"/>
                  </a:moveTo>
                  <a:lnTo>
                    <a:pt x="0" y="0"/>
                  </a:lnTo>
                  <a:lnTo>
                    <a:pt x="14" y="13"/>
                  </a:lnTo>
                  <a:lnTo>
                    <a:pt x="265" y="13"/>
                  </a:lnTo>
                  <a:lnTo>
                    <a:pt x="28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13"/>
            <p:cNvSpPr>
              <a:spLocks noEditPoints="1"/>
            </p:cNvSpPr>
            <p:nvPr/>
          </p:nvSpPr>
          <p:spPr bwMode="auto">
            <a:xfrm>
              <a:off x="8385176" y="4341813"/>
              <a:ext cx="442913" cy="393700"/>
            </a:xfrm>
            <a:custGeom>
              <a:avLst/>
              <a:gdLst>
                <a:gd name="T0" fmla="*/ 12 w 279"/>
                <a:gd name="T1" fmla="*/ 242 h 248"/>
                <a:gd name="T2" fmla="*/ 31 w 279"/>
                <a:gd name="T3" fmla="*/ 232 h 248"/>
                <a:gd name="T4" fmla="*/ 62 w 279"/>
                <a:gd name="T5" fmla="*/ 225 h 248"/>
                <a:gd name="T6" fmla="*/ 76 w 279"/>
                <a:gd name="T7" fmla="*/ 225 h 248"/>
                <a:gd name="T8" fmla="*/ 105 w 279"/>
                <a:gd name="T9" fmla="*/ 229 h 248"/>
                <a:gd name="T10" fmla="*/ 133 w 279"/>
                <a:gd name="T11" fmla="*/ 240 h 248"/>
                <a:gd name="T12" fmla="*/ 136 w 279"/>
                <a:gd name="T13" fmla="*/ 242 h 248"/>
                <a:gd name="T14" fmla="*/ 144 w 279"/>
                <a:gd name="T15" fmla="*/ 242 h 248"/>
                <a:gd name="T16" fmla="*/ 148 w 279"/>
                <a:gd name="T17" fmla="*/ 240 h 248"/>
                <a:gd name="T18" fmla="*/ 150 w 279"/>
                <a:gd name="T19" fmla="*/ 238 h 248"/>
                <a:gd name="T20" fmla="*/ 152 w 279"/>
                <a:gd name="T21" fmla="*/ 236 h 248"/>
                <a:gd name="T22" fmla="*/ 156 w 279"/>
                <a:gd name="T23" fmla="*/ 234 h 248"/>
                <a:gd name="T24" fmla="*/ 160 w 279"/>
                <a:gd name="T25" fmla="*/ 234 h 248"/>
                <a:gd name="T26" fmla="*/ 162 w 279"/>
                <a:gd name="T27" fmla="*/ 232 h 248"/>
                <a:gd name="T28" fmla="*/ 166 w 279"/>
                <a:gd name="T29" fmla="*/ 230 h 248"/>
                <a:gd name="T30" fmla="*/ 168 w 279"/>
                <a:gd name="T31" fmla="*/ 230 h 248"/>
                <a:gd name="T32" fmla="*/ 185 w 279"/>
                <a:gd name="T33" fmla="*/ 227 h 248"/>
                <a:gd name="T34" fmla="*/ 205 w 279"/>
                <a:gd name="T35" fmla="*/ 225 h 248"/>
                <a:gd name="T36" fmla="*/ 246 w 279"/>
                <a:gd name="T37" fmla="*/ 232 h 248"/>
                <a:gd name="T38" fmla="*/ 267 w 279"/>
                <a:gd name="T39" fmla="*/ 240 h 248"/>
                <a:gd name="T40" fmla="*/ 267 w 279"/>
                <a:gd name="T41" fmla="*/ 240 h 248"/>
                <a:gd name="T42" fmla="*/ 269 w 279"/>
                <a:gd name="T43" fmla="*/ 240 h 248"/>
                <a:gd name="T44" fmla="*/ 269 w 279"/>
                <a:gd name="T45" fmla="*/ 242 h 248"/>
                <a:gd name="T46" fmla="*/ 279 w 279"/>
                <a:gd name="T47" fmla="*/ 248 h 248"/>
                <a:gd name="T48" fmla="*/ 275 w 279"/>
                <a:gd name="T49" fmla="*/ 16 h 248"/>
                <a:gd name="T50" fmla="*/ 257 w 279"/>
                <a:gd name="T51" fmla="*/ 10 h 248"/>
                <a:gd name="T52" fmla="*/ 222 w 279"/>
                <a:gd name="T53" fmla="*/ 2 h 248"/>
                <a:gd name="T54" fmla="*/ 207 w 279"/>
                <a:gd name="T55" fmla="*/ 0 h 248"/>
                <a:gd name="T56" fmla="*/ 164 w 279"/>
                <a:gd name="T57" fmla="*/ 8 h 248"/>
                <a:gd name="T58" fmla="*/ 140 w 279"/>
                <a:gd name="T59" fmla="*/ 20 h 248"/>
                <a:gd name="T60" fmla="*/ 131 w 279"/>
                <a:gd name="T61" fmla="*/ 14 h 248"/>
                <a:gd name="T62" fmla="*/ 97 w 279"/>
                <a:gd name="T63" fmla="*/ 2 h 248"/>
                <a:gd name="T64" fmla="*/ 74 w 279"/>
                <a:gd name="T65" fmla="*/ 0 h 248"/>
                <a:gd name="T66" fmla="*/ 41 w 279"/>
                <a:gd name="T67" fmla="*/ 4 h 248"/>
                <a:gd name="T68" fmla="*/ 6 w 279"/>
                <a:gd name="T69" fmla="*/ 16 h 248"/>
                <a:gd name="T70" fmla="*/ 0 w 279"/>
                <a:gd name="T71" fmla="*/ 248 h 248"/>
                <a:gd name="T72" fmla="*/ 148 w 279"/>
                <a:gd name="T73" fmla="*/ 225 h 248"/>
                <a:gd name="T74" fmla="*/ 148 w 279"/>
                <a:gd name="T75" fmla="*/ 33 h 248"/>
                <a:gd name="T76" fmla="*/ 168 w 279"/>
                <a:gd name="T77" fmla="*/ 22 h 248"/>
                <a:gd name="T78" fmla="*/ 207 w 279"/>
                <a:gd name="T79" fmla="*/ 14 h 248"/>
                <a:gd name="T80" fmla="*/ 220 w 279"/>
                <a:gd name="T81" fmla="*/ 16 h 248"/>
                <a:gd name="T82" fmla="*/ 250 w 279"/>
                <a:gd name="T83" fmla="*/ 22 h 248"/>
                <a:gd name="T84" fmla="*/ 265 w 279"/>
                <a:gd name="T85" fmla="*/ 223 h 248"/>
                <a:gd name="T86" fmla="*/ 265 w 279"/>
                <a:gd name="T87" fmla="*/ 223 h 248"/>
                <a:gd name="T88" fmla="*/ 240 w 279"/>
                <a:gd name="T89" fmla="*/ 215 h 248"/>
                <a:gd name="T90" fmla="*/ 205 w 279"/>
                <a:gd name="T91" fmla="*/ 211 h 248"/>
                <a:gd name="T92" fmla="*/ 181 w 279"/>
                <a:gd name="T93" fmla="*/ 213 h 248"/>
                <a:gd name="T94" fmla="*/ 160 w 279"/>
                <a:gd name="T95" fmla="*/ 219 h 248"/>
                <a:gd name="T96" fmla="*/ 160 w 279"/>
                <a:gd name="T97" fmla="*/ 219 h 248"/>
                <a:gd name="T98" fmla="*/ 154 w 279"/>
                <a:gd name="T99" fmla="*/ 221 h 248"/>
                <a:gd name="T100" fmla="*/ 154 w 279"/>
                <a:gd name="T101" fmla="*/ 221 h 248"/>
                <a:gd name="T102" fmla="*/ 148 w 279"/>
                <a:gd name="T103" fmla="*/ 225 h 248"/>
                <a:gd name="T104" fmla="*/ 15 w 279"/>
                <a:gd name="T105" fmla="*/ 28 h 248"/>
                <a:gd name="T106" fmla="*/ 45 w 279"/>
                <a:gd name="T107" fmla="*/ 18 h 248"/>
                <a:gd name="T108" fmla="*/ 74 w 279"/>
                <a:gd name="T109" fmla="*/ 14 h 248"/>
                <a:gd name="T110" fmla="*/ 95 w 279"/>
                <a:gd name="T111" fmla="*/ 16 h 248"/>
                <a:gd name="T112" fmla="*/ 125 w 279"/>
                <a:gd name="T113" fmla="*/ 28 h 248"/>
                <a:gd name="T114" fmla="*/ 133 w 279"/>
                <a:gd name="T115" fmla="*/ 225 h 248"/>
                <a:gd name="T116" fmla="*/ 119 w 279"/>
                <a:gd name="T117" fmla="*/ 219 h 248"/>
                <a:gd name="T118" fmla="*/ 92 w 279"/>
                <a:gd name="T119" fmla="*/ 211 h 248"/>
                <a:gd name="T120" fmla="*/ 76 w 279"/>
                <a:gd name="T121" fmla="*/ 211 h 248"/>
                <a:gd name="T122" fmla="*/ 41 w 279"/>
                <a:gd name="T123" fmla="*/ 215 h 248"/>
                <a:gd name="T124" fmla="*/ 15 w 279"/>
                <a:gd name="T125"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248">
                  <a:moveTo>
                    <a:pt x="12" y="242"/>
                  </a:moveTo>
                  <a:lnTo>
                    <a:pt x="12" y="242"/>
                  </a:lnTo>
                  <a:lnTo>
                    <a:pt x="17" y="238"/>
                  </a:lnTo>
                  <a:lnTo>
                    <a:pt x="31" y="232"/>
                  </a:lnTo>
                  <a:lnTo>
                    <a:pt x="51" y="227"/>
                  </a:lnTo>
                  <a:lnTo>
                    <a:pt x="62" y="225"/>
                  </a:lnTo>
                  <a:lnTo>
                    <a:pt x="76" y="225"/>
                  </a:lnTo>
                  <a:lnTo>
                    <a:pt x="76" y="225"/>
                  </a:lnTo>
                  <a:lnTo>
                    <a:pt x="92" y="225"/>
                  </a:lnTo>
                  <a:lnTo>
                    <a:pt x="105" y="229"/>
                  </a:lnTo>
                  <a:lnTo>
                    <a:pt x="119" y="232"/>
                  </a:lnTo>
                  <a:lnTo>
                    <a:pt x="133" y="240"/>
                  </a:lnTo>
                  <a:lnTo>
                    <a:pt x="133" y="240"/>
                  </a:lnTo>
                  <a:lnTo>
                    <a:pt x="136" y="242"/>
                  </a:lnTo>
                  <a:lnTo>
                    <a:pt x="140" y="244"/>
                  </a:lnTo>
                  <a:lnTo>
                    <a:pt x="144" y="242"/>
                  </a:lnTo>
                  <a:lnTo>
                    <a:pt x="144" y="242"/>
                  </a:lnTo>
                  <a:lnTo>
                    <a:pt x="148" y="240"/>
                  </a:lnTo>
                  <a:lnTo>
                    <a:pt x="148" y="240"/>
                  </a:lnTo>
                  <a:lnTo>
                    <a:pt x="150" y="238"/>
                  </a:lnTo>
                  <a:lnTo>
                    <a:pt x="150" y="238"/>
                  </a:lnTo>
                  <a:lnTo>
                    <a:pt x="152" y="236"/>
                  </a:lnTo>
                  <a:lnTo>
                    <a:pt x="152" y="236"/>
                  </a:lnTo>
                  <a:lnTo>
                    <a:pt x="156" y="234"/>
                  </a:lnTo>
                  <a:lnTo>
                    <a:pt x="156" y="234"/>
                  </a:lnTo>
                  <a:lnTo>
                    <a:pt x="160" y="234"/>
                  </a:lnTo>
                  <a:lnTo>
                    <a:pt x="160" y="234"/>
                  </a:lnTo>
                  <a:lnTo>
                    <a:pt x="162" y="232"/>
                  </a:lnTo>
                  <a:lnTo>
                    <a:pt x="162" y="232"/>
                  </a:lnTo>
                  <a:lnTo>
                    <a:pt x="166" y="230"/>
                  </a:lnTo>
                  <a:lnTo>
                    <a:pt x="166" y="230"/>
                  </a:lnTo>
                  <a:lnTo>
                    <a:pt x="168" y="230"/>
                  </a:lnTo>
                  <a:lnTo>
                    <a:pt x="168" y="230"/>
                  </a:lnTo>
                  <a:lnTo>
                    <a:pt x="185" y="227"/>
                  </a:lnTo>
                  <a:lnTo>
                    <a:pt x="205" y="225"/>
                  </a:lnTo>
                  <a:lnTo>
                    <a:pt x="205" y="225"/>
                  </a:lnTo>
                  <a:lnTo>
                    <a:pt x="226" y="227"/>
                  </a:lnTo>
                  <a:lnTo>
                    <a:pt x="246" y="232"/>
                  </a:lnTo>
                  <a:lnTo>
                    <a:pt x="259" y="236"/>
                  </a:lnTo>
                  <a:lnTo>
                    <a:pt x="267" y="240"/>
                  </a:lnTo>
                  <a:lnTo>
                    <a:pt x="267" y="240"/>
                  </a:lnTo>
                  <a:lnTo>
                    <a:pt x="267" y="240"/>
                  </a:lnTo>
                  <a:lnTo>
                    <a:pt x="267" y="240"/>
                  </a:lnTo>
                  <a:lnTo>
                    <a:pt x="269" y="240"/>
                  </a:lnTo>
                  <a:lnTo>
                    <a:pt x="269" y="240"/>
                  </a:lnTo>
                  <a:lnTo>
                    <a:pt x="269" y="242"/>
                  </a:lnTo>
                  <a:lnTo>
                    <a:pt x="269" y="242"/>
                  </a:lnTo>
                  <a:lnTo>
                    <a:pt x="279" y="248"/>
                  </a:lnTo>
                  <a:lnTo>
                    <a:pt x="279" y="18"/>
                  </a:lnTo>
                  <a:lnTo>
                    <a:pt x="275" y="16"/>
                  </a:lnTo>
                  <a:lnTo>
                    <a:pt x="275" y="16"/>
                  </a:lnTo>
                  <a:lnTo>
                    <a:pt x="257" y="10"/>
                  </a:lnTo>
                  <a:lnTo>
                    <a:pt x="240" y="4"/>
                  </a:lnTo>
                  <a:lnTo>
                    <a:pt x="222" y="2"/>
                  </a:lnTo>
                  <a:lnTo>
                    <a:pt x="207" y="0"/>
                  </a:lnTo>
                  <a:lnTo>
                    <a:pt x="207" y="0"/>
                  </a:lnTo>
                  <a:lnTo>
                    <a:pt x="183" y="2"/>
                  </a:lnTo>
                  <a:lnTo>
                    <a:pt x="164" y="8"/>
                  </a:lnTo>
                  <a:lnTo>
                    <a:pt x="150" y="14"/>
                  </a:lnTo>
                  <a:lnTo>
                    <a:pt x="140" y="20"/>
                  </a:lnTo>
                  <a:lnTo>
                    <a:pt x="140" y="20"/>
                  </a:lnTo>
                  <a:lnTo>
                    <a:pt x="131" y="14"/>
                  </a:lnTo>
                  <a:lnTo>
                    <a:pt x="117" y="8"/>
                  </a:lnTo>
                  <a:lnTo>
                    <a:pt x="97" y="2"/>
                  </a:lnTo>
                  <a:lnTo>
                    <a:pt x="74" y="0"/>
                  </a:lnTo>
                  <a:lnTo>
                    <a:pt x="74" y="0"/>
                  </a:lnTo>
                  <a:lnTo>
                    <a:pt x="58" y="2"/>
                  </a:lnTo>
                  <a:lnTo>
                    <a:pt x="41" y="4"/>
                  </a:lnTo>
                  <a:lnTo>
                    <a:pt x="23" y="10"/>
                  </a:lnTo>
                  <a:lnTo>
                    <a:pt x="6" y="16"/>
                  </a:lnTo>
                  <a:lnTo>
                    <a:pt x="0" y="18"/>
                  </a:lnTo>
                  <a:lnTo>
                    <a:pt x="0" y="248"/>
                  </a:lnTo>
                  <a:lnTo>
                    <a:pt x="12" y="242"/>
                  </a:lnTo>
                  <a:close/>
                  <a:moveTo>
                    <a:pt x="148" y="225"/>
                  </a:moveTo>
                  <a:lnTo>
                    <a:pt x="148" y="33"/>
                  </a:lnTo>
                  <a:lnTo>
                    <a:pt x="148" y="33"/>
                  </a:lnTo>
                  <a:lnTo>
                    <a:pt x="154" y="28"/>
                  </a:lnTo>
                  <a:lnTo>
                    <a:pt x="168" y="22"/>
                  </a:lnTo>
                  <a:lnTo>
                    <a:pt x="183" y="16"/>
                  </a:lnTo>
                  <a:lnTo>
                    <a:pt x="207" y="14"/>
                  </a:lnTo>
                  <a:lnTo>
                    <a:pt x="207" y="14"/>
                  </a:lnTo>
                  <a:lnTo>
                    <a:pt x="220" y="16"/>
                  </a:lnTo>
                  <a:lnTo>
                    <a:pt x="234" y="18"/>
                  </a:lnTo>
                  <a:lnTo>
                    <a:pt x="250" y="22"/>
                  </a:lnTo>
                  <a:lnTo>
                    <a:pt x="265" y="28"/>
                  </a:lnTo>
                  <a:lnTo>
                    <a:pt x="265" y="223"/>
                  </a:lnTo>
                  <a:lnTo>
                    <a:pt x="265" y="223"/>
                  </a:lnTo>
                  <a:lnTo>
                    <a:pt x="265" y="223"/>
                  </a:lnTo>
                  <a:lnTo>
                    <a:pt x="254" y="219"/>
                  </a:lnTo>
                  <a:lnTo>
                    <a:pt x="240" y="215"/>
                  </a:lnTo>
                  <a:lnTo>
                    <a:pt x="222" y="211"/>
                  </a:lnTo>
                  <a:lnTo>
                    <a:pt x="205" y="211"/>
                  </a:lnTo>
                  <a:lnTo>
                    <a:pt x="205" y="211"/>
                  </a:lnTo>
                  <a:lnTo>
                    <a:pt x="181" y="213"/>
                  </a:lnTo>
                  <a:lnTo>
                    <a:pt x="160" y="219"/>
                  </a:lnTo>
                  <a:lnTo>
                    <a:pt x="160" y="219"/>
                  </a:lnTo>
                  <a:lnTo>
                    <a:pt x="160" y="219"/>
                  </a:lnTo>
                  <a:lnTo>
                    <a:pt x="160" y="219"/>
                  </a:lnTo>
                  <a:lnTo>
                    <a:pt x="154" y="221"/>
                  </a:lnTo>
                  <a:lnTo>
                    <a:pt x="154" y="221"/>
                  </a:lnTo>
                  <a:lnTo>
                    <a:pt x="154" y="221"/>
                  </a:lnTo>
                  <a:lnTo>
                    <a:pt x="154" y="221"/>
                  </a:lnTo>
                  <a:lnTo>
                    <a:pt x="148" y="225"/>
                  </a:lnTo>
                  <a:lnTo>
                    <a:pt x="148" y="225"/>
                  </a:lnTo>
                  <a:close/>
                  <a:moveTo>
                    <a:pt x="15" y="28"/>
                  </a:moveTo>
                  <a:lnTo>
                    <a:pt x="15" y="28"/>
                  </a:lnTo>
                  <a:lnTo>
                    <a:pt x="31" y="22"/>
                  </a:lnTo>
                  <a:lnTo>
                    <a:pt x="45" y="18"/>
                  </a:lnTo>
                  <a:lnTo>
                    <a:pt x="60" y="16"/>
                  </a:lnTo>
                  <a:lnTo>
                    <a:pt x="74" y="14"/>
                  </a:lnTo>
                  <a:lnTo>
                    <a:pt x="74" y="14"/>
                  </a:lnTo>
                  <a:lnTo>
                    <a:pt x="95" y="16"/>
                  </a:lnTo>
                  <a:lnTo>
                    <a:pt x="113" y="22"/>
                  </a:lnTo>
                  <a:lnTo>
                    <a:pt x="125" y="28"/>
                  </a:lnTo>
                  <a:lnTo>
                    <a:pt x="133" y="33"/>
                  </a:lnTo>
                  <a:lnTo>
                    <a:pt x="133" y="225"/>
                  </a:lnTo>
                  <a:lnTo>
                    <a:pt x="133" y="225"/>
                  </a:lnTo>
                  <a:lnTo>
                    <a:pt x="119" y="219"/>
                  </a:lnTo>
                  <a:lnTo>
                    <a:pt x="105" y="213"/>
                  </a:lnTo>
                  <a:lnTo>
                    <a:pt x="92" y="211"/>
                  </a:lnTo>
                  <a:lnTo>
                    <a:pt x="76" y="211"/>
                  </a:lnTo>
                  <a:lnTo>
                    <a:pt x="76" y="211"/>
                  </a:lnTo>
                  <a:lnTo>
                    <a:pt x="56" y="211"/>
                  </a:lnTo>
                  <a:lnTo>
                    <a:pt x="41" y="215"/>
                  </a:lnTo>
                  <a:lnTo>
                    <a:pt x="25" y="219"/>
                  </a:lnTo>
                  <a:lnTo>
                    <a:pt x="15" y="223"/>
                  </a:lnTo>
                  <a:lnTo>
                    <a:pt x="1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249405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Planning Overview</a:t>
            </a:r>
          </a:p>
        </p:txBody>
      </p:sp>
      <p:sp>
        <p:nvSpPr>
          <p:cNvPr id="3" name="Content Placeholder 2"/>
          <p:cNvSpPr>
            <a:spLocks noGrp="1"/>
          </p:cNvSpPr>
          <p:nvPr>
            <p:ph idx="1"/>
          </p:nvPr>
        </p:nvSpPr>
        <p:spPr>
          <a:xfrm>
            <a:off x="1981200" y="1790883"/>
            <a:ext cx="8562109" cy="4568869"/>
          </a:xfrm>
        </p:spPr>
        <p:txBody>
          <a:bodyPr/>
          <a:lstStyle/>
          <a:p>
            <a:r>
              <a:rPr lang="en-US" dirty="0"/>
              <a:t>Primary tool for building planograms</a:t>
            </a:r>
          </a:p>
          <a:p>
            <a:r>
              <a:rPr lang="en-US" dirty="0"/>
              <a:t>Used to present or merchandise products in an appealing, logical, and profitable way</a:t>
            </a:r>
          </a:p>
          <a:p>
            <a:r>
              <a:rPr lang="en-US" dirty="0"/>
              <a:t>Enables users to manage planograms that can include custom fixtures and curved shelves, as well as slat walls complete with signs and textures</a:t>
            </a:r>
          </a:p>
          <a:p>
            <a:r>
              <a:rPr lang="en-US" dirty="0"/>
              <a:t>Beyond merchandising aesthetics, Space Planning helps users match merchandise strategy with the way that consumers shop (Merchandising Drivers – Category Management)</a:t>
            </a:r>
          </a:p>
          <a:p>
            <a:r>
              <a:rPr lang="en-US" dirty="0"/>
              <a:t>Enables space orientated analytics</a:t>
            </a:r>
          </a:p>
        </p:txBody>
      </p:sp>
    </p:spTree>
    <p:extLst>
      <p:ext uri="{BB962C8B-B14F-4D97-AF65-F5344CB8AC3E}">
        <p14:creationId xmlns:p14="http://schemas.microsoft.com/office/powerpoint/2010/main" val="84802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lanogram Standards</a:t>
            </a:r>
          </a:p>
        </p:txBody>
      </p:sp>
      <p:sp>
        <p:nvSpPr>
          <p:cNvPr id="8" name="Text Placeholder 7"/>
          <p:cNvSpPr>
            <a:spLocks noGrp="1"/>
          </p:cNvSpPr>
          <p:nvPr>
            <p:ph type="body" idx="1"/>
          </p:nvPr>
        </p:nvSpPr>
        <p:spPr/>
        <p:txBody>
          <a:bodyPr/>
          <a:lstStyle/>
          <a:p>
            <a:r>
              <a:rPr lang="en-US" dirty="0"/>
              <a:t>Space Planning allows you to:</a:t>
            </a:r>
          </a:p>
        </p:txBody>
      </p:sp>
      <p:sp>
        <p:nvSpPr>
          <p:cNvPr id="9" name="Content Placeholder 8"/>
          <p:cNvSpPr>
            <a:spLocks noGrp="1"/>
          </p:cNvSpPr>
          <p:nvPr>
            <p:ph sz="half" idx="2"/>
          </p:nvPr>
        </p:nvSpPr>
        <p:spPr>
          <a:xfrm>
            <a:off x="1038687" y="2180114"/>
            <a:ext cx="4845965" cy="4066886"/>
          </a:xfrm>
        </p:spPr>
        <p:txBody>
          <a:bodyPr/>
          <a:lstStyle/>
          <a:p>
            <a:pPr lvl="1" indent="-228600">
              <a:buSzPct val="100000"/>
              <a:buFont typeface="Lucida Grande"/>
              <a:buChar char="&gt;"/>
            </a:pPr>
            <a:r>
              <a:rPr lang="en-US" dirty="0"/>
              <a:t>Quickly analyze inventory data to keep the right amount of product on hand and reduce inventory cost.</a:t>
            </a:r>
          </a:p>
          <a:p>
            <a:pPr lvl="1" indent="-228600">
              <a:buSzPct val="100000"/>
              <a:buFont typeface="Lucida Grande"/>
              <a:buChar char="&gt;"/>
            </a:pPr>
            <a:r>
              <a:rPr lang="en-US" dirty="0"/>
              <a:t>Ensure fewer out-of-stocks by </a:t>
            </a:r>
          </a:p>
          <a:p>
            <a:pPr marL="0" lvl="1" indent="0">
              <a:buSzPct val="100000"/>
              <a:buNone/>
            </a:pPr>
            <a:r>
              <a:rPr lang="en-US" dirty="0"/>
              <a:t>    having the right quantities at the</a:t>
            </a:r>
          </a:p>
          <a:p>
            <a:pPr marL="0" lvl="1" indent="0">
              <a:buSzPct val="100000"/>
              <a:buNone/>
            </a:pPr>
            <a:r>
              <a:rPr lang="en-US" dirty="0"/>
              <a:t>    right times.</a:t>
            </a:r>
          </a:p>
          <a:p>
            <a:pPr lvl="1" indent="-228600">
              <a:buSzPct val="100000"/>
              <a:buFont typeface="Lucida Grande"/>
              <a:buChar char="&gt;"/>
            </a:pPr>
            <a:r>
              <a:rPr lang="en-US" dirty="0"/>
              <a:t>Ensure that the customer’s preferred items get on the shelves.</a:t>
            </a:r>
            <a:endParaRPr lang="en-US" sz="1200" dirty="0">
              <a:latin typeface="Arial Unicode MS" pitchFamily="34" charset="-128"/>
            </a:endParaRPr>
          </a:p>
          <a:p>
            <a:pPr lvl="1" indent="-228600">
              <a:buSzPct val="100000"/>
              <a:buFont typeface="Lucida Grande"/>
              <a:buChar char="&gt;"/>
            </a:pPr>
            <a:r>
              <a:rPr lang="en-US" sz="1800" dirty="0"/>
              <a:t>Web version has limited features with this release.</a:t>
            </a:r>
          </a:p>
          <a:p>
            <a:endParaRPr lang="en-US" dirty="0"/>
          </a:p>
        </p:txBody>
      </p:sp>
      <p:pic>
        <p:nvPicPr>
          <p:cNvPr id="3" name="Picture 2"/>
          <p:cNvPicPr>
            <a:picLocks noChangeAspect="1"/>
          </p:cNvPicPr>
          <p:nvPr/>
        </p:nvPicPr>
        <p:blipFill>
          <a:blip r:embed="rId2"/>
          <a:stretch>
            <a:fillRect/>
          </a:stretch>
        </p:blipFill>
        <p:spPr>
          <a:xfrm>
            <a:off x="5884652" y="1927305"/>
            <a:ext cx="2339430" cy="1680463"/>
          </a:xfrm>
          <a:prstGeom prst="rect">
            <a:avLst/>
          </a:prstGeom>
        </p:spPr>
      </p:pic>
      <p:pic>
        <p:nvPicPr>
          <p:cNvPr id="4" name="Picture 3"/>
          <p:cNvPicPr>
            <a:picLocks noChangeAspect="1"/>
          </p:cNvPicPr>
          <p:nvPr/>
        </p:nvPicPr>
        <p:blipFill>
          <a:blip r:embed="rId3"/>
          <a:stretch>
            <a:fillRect/>
          </a:stretch>
        </p:blipFill>
        <p:spPr>
          <a:xfrm>
            <a:off x="8328570" y="3622775"/>
            <a:ext cx="2339430" cy="1900415"/>
          </a:xfrm>
          <a:prstGeom prst="rect">
            <a:avLst/>
          </a:prstGeom>
        </p:spPr>
      </p:pic>
      <p:pic>
        <p:nvPicPr>
          <p:cNvPr id="5" name="Picture 4"/>
          <p:cNvPicPr>
            <a:picLocks noChangeAspect="1"/>
          </p:cNvPicPr>
          <p:nvPr/>
        </p:nvPicPr>
        <p:blipFill>
          <a:blip r:embed="rId4"/>
          <a:stretch>
            <a:fillRect/>
          </a:stretch>
        </p:blipFill>
        <p:spPr>
          <a:xfrm>
            <a:off x="5896262" y="3622774"/>
            <a:ext cx="2432308" cy="1900415"/>
          </a:xfrm>
          <a:prstGeom prst="rect">
            <a:avLst/>
          </a:prstGeom>
        </p:spPr>
      </p:pic>
      <p:pic>
        <p:nvPicPr>
          <p:cNvPr id="6" name="Picture 5"/>
          <p:cNvPicPr>
            <a:picLocks noChangeAspect="1"/>
          </p:cNvPicPr>
          <p:nvPr/>
        </p:nvPicPr>
        <p:blipFill>
          <a:blip r:embed="rId5"/>
          <a:stretch>
            <a:fillRect/>
          </a:stretch>
        </p:blipFill>
        <p:spPr>
          <a:xfrm>
            <a:off x="8201447" y="2691929"/>
            <a:ext cx="2432308" cy="883492"/>
          </a:xfrm>
          <a:prstGeom prst="rect">
            <a:avLst/>
          </a:prstGeom>
        </p:spPr>
      </p:pic>
      <p:pic>
        <p:nvPicPr>
          <p:cNvPr id="15" name="Picture 14"/>
          <p:cNvPicPr>
            <a:picLocks noChangeAspect="1"/>
          </p:cNvPicPr>
          <p:nvPr/>
        </p:nvPicPr>
        <p:blipFill>
          <a:blip r:embed="rId6"/>
          <a:stretch>
            <a:fillRect/>
          </a:stretch>
        </p:blipFill>
        <p:spPr>
          <a:xfrm>
            <a:off x="8201447" y="1904526"/>
            <a:ext cx="2432308" cy="909932"/>
          </a:xfrm>
          <a:prstGeom prst="rect">
            <a:avLst/>
          </a:prstGeom>
        </p:spPr>
      </p:pic>
    </p:spTree>
    <p:extLst>
      <p:ext uri="{BB962C8B-B14F-4D97-AF65-F5344CB8AC3E}">
        <p14:creationId xmlns:p14="http://schemas.microsoft.com/office/powerpoint/2010/main" val="1590862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Overview</a:t>
            </a:r>
          </a:p>
        </p:txBody>
      </p:sp>
      <p:sp>
        <p:nvSpPr>
          <p:cNvPr id="9" name="Content Placeholder 8"/>
          <p:cNvSpPr>
            <a:spLocks noGrp="1"/>
          </p:cNvSpPr>
          <p:nvPr>
            <p:ph idx="1"/>
          </p:nvPr>
        </p:nvSpPr>
        <p:spPr>
          <a:xfrm>
            <a:off x="1491449" y="1847088"/>
            <a:ext cx="10108184" cy="4297680"/>
          </a:xfrm>
        </p:spPr>
        <p:txBody>
          <a:bodyPr/>
          <a:lstStyle/>
          <a:p>
            <a:pPr>
              <a:lnSpc>
                <a:spcPct val="150000"/>
              </a:lnSpc>
            </a:pPr>
            <a:r>
              <a:rPr lang="en-US" dirty="0"/>
              <a:t>Types of Planograms</a:t>
            </a:r>
          </a:p>
          <a:p>
            <a:pPr lvl="1">
              <a:lnSpc>
                <a:spcPct val="150000"/>
              </a:lnSpc>
            </a:pPr>
            <a:r>
              <a:rPr lang="en-US" dirty="0"/>
              <a:t>Item Specific</a:t>
            </a:r>
          </a:p>
          <a:p>
            <a:pPr lvl="1">
              <a:lnSpc>
                <a:spcPct val="150000"/>
              </a:lnSpc>
            </a:pPr>
            <a:r>
              <a:rPr lang="en-US" dirty="0"/>
              <a:t>Strategy</a:t>
            </a:r>
          </a:p>
          <a:p>
            <a:pPr>
              <a:lnSpc>
                <a:spcPct val="150000"/>
              </a:lnSpc>
            </a:pPr>
            <a:r>
              <a:rPr lang="en-US" dirty="0"/>
              <a:t>Promotional Planograms</a:t>
            </a:r>
          </a:p>
          <a:p>
            <a:pPr lvl="1">
              <a:lnSpc>
                <a:spcPct val="150000"/>
              </a:lnSpc>
            </a:pPr>
            <a:r>
              <a:rPr lang="en-US" dirty="0"/>
              <a:t>Endcaps</a:t>
            </a:r>
          </a:p>
          <a:p>
            <a:pPr lvl="1">
              <a:lnSpc>
                <a:spcPct val="150000"/>
              </a:lnSpc>
            </a:pPr>
            <a:r>
              <a:rPr lang="en-US" dirty="0"/>
              <a:t>Bulk-outs</a:t>
            </a:r>
          </a:p>
          <a:p>
            <a:pPr lvl="1">
              <a:lnSpc>
                <a:spcPct val="150000"/>
              </a:lnSpc>
            </a:pPr>
            <a:r>
              <a:rPr lang="en-US" dirty="0"/>
              <a:t>Signs </a:t>
            </a:r>
          </a:p>
          <a:p>
            <a:pPr>
              <a:lnSpc>
                <a:spcPct val="150000"/>
              </a:lnSpc>
            </a:pPr>
            <a:r>
              <a:rPr lang="en-US" dirty="0"/>
              <a:t>Vendor Support</a:t>
            </a:r>
          </a:p>
          <a:p>
            <a:pPr>
              <a:lnSpc>
                <a:spcPct val="150000"/>
              </a:lnSpc>
            </a:pPr>
            <a:endParaRPr lang="en-US" dirty="0"/>
          </a:p>
        </p:txBody>
      </p:sp>
      <p:sp>
        <p:nvSpPr>
          <p:cNvPr id="5" name="Rectangle 4"/>
          <p:cNvSpPr/>
          <p:nvPr/>
        </p:nvSpPr>
        <p:spPr>
          <a:xfrm rot="2700000">
            <a:off x="7430155" y="2537477"/>
            <a:ext cx="1783042" cy="17830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6"/>
          <p:cNvSpPr>
            <a:spLocks noEditPoints="1"/>
          </p:cNvSpPr>
          <p:nvPr/>
        </p:nvSpPr>
        <p:spPr bwMode="auto">
          <a:xfrm>
            <a:off x="7676143" y="2805377"/>
            <a:ext cx="1291066" cy="1149966"/>
          </a:xfrm>
          <a:custGeom>
            <a:avLst/>
            <a:gdLst>
              <a:gd name="T0" fmla="*/ 284 w 366"/>
              <a:gd name="T1" fmla="*/ 0 h 326"/>
              <a:gd name="T2" fmla="*/ 144 w 366"/>
              <a:gd name="T3" fmla="*/ 6 h 326"/>
              <a:gd name="T4" fmla="*/ 122 w 366"/>
              <a:gd name="T5" fmla="*/ 60 h 326"/>
              <a:gd name="T6" fmla="*/ 122 w 366"/>
              <a:gd name="T7" fmla="*/ 32 h 326"/>
              <a:gd name="T8" fmla="*/ 100 w 366"/>
              <a:gd name="T9" fmla="*/ 10 h 326"/>
              <a:gd name="T10" fmla="*/ 76 w 366"/>
              <a:gd name="T11" fmla="*/ 8 h 326"/>
              <a:gd name="T12" fmla="*/ 50 w 366"/>
              <a:gd name="T13" fmla="*/ 24 h 326"/>
              <a:gd name="T14" fmla="*/ 42 w 366"/>
              <a:gd name="T15" fmla="*/ 48 h 326"/>
              <a:gd name="T16" fmla="*/ 18 w 366"/>
              <a:gd name="T17" fmla="*/ 88 h 326"/>
              <a:gd name="T18" fmla="*/ 264 w 366"/>
              <a:gd name="T19" fmla="*/ 70 h 326"/>
              <a:gd name="T20" fmla="*/ 208 w 366"/>
              <a:gd name="T21" fmla="*/ 70 h 326"/>
              <a:gd name="T22" fmla="*/ 62 w 366"/>
              <a:gd name="T23" fmla="*/ 48 h 326"/>
              <a:gd name="T24" fmla="*/ 84 w 366"/>
              <a:gd name="T25" fmla="*/ 24 h 326"/>
              <a:gd name="T26" fmla="*/ 104 w 366"/>
              <a:gd name="T27" fmla="*/ 38 h 326"/>
              <a:gd name="T28" fmla="*/ 100 w 366"/>
              <a:gd name="T29" fmla="*/ 64 h 326"/>
              <a:gd name="T30" fmla="*/ 74 w 366"/>
              <a:gd name="T31" fmla="*/ 68 h 326"/>
              <a:gd name="T32" fmla="*/ 62 w 366"/>
              <a:gd name="T33" fmla="*/ 48 h 326"/>
              <a:gd name="T34" fmla="*/ 226 w 366"/>
              <a:gd name="T35" fmla="*/ 244 h 326"/>
              <a:gd name="T36" fmla="*/ 118 w 366"/>
              <a:gd name="T37" fmla="*/ 308 h 326"/>
              <a:gd name="T38" fmla="*/ 124 w 366"/>
              <a:gd name="T39" fmla="*/ 276 h 326"/>
              <a:gd name="T40" fmla="*/ 106 w 366"/>
              <a:gd name="T41" fmla="*/ 252 h 326"/>
              <a:gd name="T42" fmla="*/ 84 w 366"/>
              <a:gd name="T43" fmla="*/ 244 h 326"/>
              <a:gd name="T44" fmla="*/ 54 w 366"/>
              <a:gd name="T45" fmla="*/ 256 h 326"/>
              <a:gd name="T46" fmla="*/ 42 w 366"/>
              <a:gd name="T47" fmla="*/ 286 h 326"/>
              <a:gd name="T48" fmla="*/ 18 w 366"/>
              <a:gd name="T49" fmla="*/ 308 h 326"/>
              <a:gd name="T50" fmla="*/ 324 w 366"/>
              <a:gd name="T51" fmla="*/ 308 h 326"/>
              <a:gd name="T52" fmla="*/ 264 w 366"/>
              <a:gd name="T53" fmla="*/ 308 h 326"/>
              <a:gd name="T54" fmla="*/ 208 w 366"/>
              <a:gd name="T55" fmla="*/ 308 h 326"/>
              <a:gd name="T56" fmla="*/ 84 w 366"/>
              <a:gd name="T57" fmla="*/ 262 h 326"/>
              <a:gd name="T58" fmla="*/ 106 w 366"/>
              <a:gd name="T59" fmla="*/ 286 h 326"/>
              <a:gd name="T60" fmla="*/ 92 w 366"/>
              <a:gd name="T61" fmla="*/ 306 h 326"/>
              <a:gd name="T62" fmla="*/ 68 w 366"/>
              <a:gd name="T63" fmla="*/ 302 h 326"/>
              <a:gd name="T64" fmla="*/ 62 w 366"/>
              <a:gd name="T65" fmla="*/ 276 h 326"/>
              <a:gd name="T66" fmla="*/ 84 w 366"/>
              <a:gd name="T67" fmla="*/ 262 h 326"/>
              <a:gd name="T68" fmla="*/ 226 w 366"/>
              <a:gd name="T69" fmla="*/ 190 h 326"/>
              <a:gd name="T70" fmla="*/ 118 w 366"/>
              <a:gd name="T71" fmla="*/ 190 h 326"/>
              <a:gd name="T72" fmla="*/ 124 w 366"/>
              <a:gd name="T73" fmla="*/ 166 h 326"/>
              <a:gd name="T74" fmla="*/ 112 w 366"/>
              <a:gd name="T75" fmla="*/ 138 h 326"/>
              <a:gd name="T76" fmla="*/ 84 w 366"/>
              <a:gd name="T77" fmla="*/ 126 h 326"/>
              <a:gd name="T78" fmla="*/ 60 w 366"/>
              <a:gd name="T79" fmla="*/ 132 h 326"/>
              <a:gd name="T80" fmla="*/ 44 w 366"/>
              <a:gd name="T81" fmla="*/ 158 h 326"/>
              <a:gd name="T82" fmla="*/ 50 w 366"/>
              <a:gd name="T83" fmla="*/ 190 h 326"/>
              <a:gd name="T84" fmla="*/ 348 w 366"/>
              <a:gd name="T85" fmla="*/ 208 h 326"/>
              <a:gd name="T86" fmla="*/ 284 w 366"/>
              <a:gd name="T87" fmla="*/ 154 h 326"/>
              <a:gd name="T88" fmla="*/ 164 w 366"/>
              <a:gd name="T89" fmla="*/ 144 h 326"/>
              <a:gd name="T90" fmla="*/ 164 w 366"/>
              <a:gd name="T91" fmla="*/ 144 h 326"/>
              <a:gd name="T92" fmla="*/ 100 w 366"/>
              <a:gd name="T93" fmla="*/ 150 h 326"/>
              <a:gd name="T94" fmla="*/ 104 w 366"/>
              <a:gd name="T95" fmla="*/ 176 h 326"/>
              <a:gd name="T96" fmla="*/ 84 w 366"/>
              <a:gd name="T97" fmla="*/ 190 h 326"/>
              <a:gd name="T98" fmla="*/ 62 w 366"/>
              <a:gd name="T99" fmla="*/ 166 h 326"/>
              <a:gd name="T100" fmla="*/ 74 w 366"/>
              <a:gd name="T101" fmla="*/ 14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6" h="326">
                <a:moveTo>
                  <a:pt x="348" y="88"/>
                </a:moveTo>
                <a:lnTo>
                  <a:pt x="348" y="70"/>
                </a:lnTo>
                <a:lnTo>
                  <a:pt x="324" y="70"/>
                </a:lnTo>
                <a:lnTo>
                  <a:pt x="284" y="0"/>
                </a:lnTo>
                <a:lnTo>
                  <a:pt x="242" y="70"/>
                </a:lnTo>
                <a:lnTo>
                  <a:pt x="226" y="70"/>
                </a:lnTo>
                <a:lnTo>
                  <a:pt x="226" y="6"/>
                </a:lnTo>
                <a:lnTo>
                  <a:pt x="144" y="6"/>
                </a:lnTo>
                <a:lnTo>
                  <a:pt x="144" y="70"/>
                </a:lnTo>
                <a:lnTo>
                  <a:pt x="118" y="70"/>
                </a:lnTo>
                <a:lnTo>
                  <a:pt x="118" y="70"/>
                </a:lnTo>
                <a:lnTo>
                  <a:pt x="122" y="60"/>
                </a:lnTo>
                <a:lnTo>
                  <a:pt x="124" y="48"/>
                </a:lnTo>
                <a:lnTo>
                  <a:pt x="124" y="48"/>
                </a:lnTo>
                <a:lnTo>
                  <a:pt x="124" y="40"/>
                </a:lnTo>
                <a:lnTo>
                  <a:pt x="122" y="32"/>
                </a:lnTo>
                <a:lnTo>
                  <a:pt x="118" y="24"/>
                </a:lnTo>
                <a:lnTo>
                  <a:pt x="112" y="18"/>
                </a:lnTo>
                <a:lnTo>
                  <a:pt x="106" y="14"/>
                </a:lnTo>
                <a:lnTo>
                  <a:pt x="100" y="10"/>
                </a:lnTo>
                <a:lnTo>
                  <a:pt x="92" y="8"/>
                </a:lnTo>
                <a:lnTo>
                  <a:pt x="84" y="6"/>
                </a:lnTo>
                <a:lnTo>
                  <a:pt x="84" y="6"/>
                </a:lnTo>
                <a:lnTo>
                  <a:pt x="76" y="8"/>
                </a:lnTo>
                <a:lnTo>
                  <a:pt x="68" y="10"/>
                </a:lnTo>
                <a:lnTo>
                  <a:pt x="60" y="14"/>
                </a:lnTo>
                <a:lnTo>
                  <a:pt x="54" y="18"/>
                </a:lnTo>
                <a:lnTo>
                  <a:pt x="50" y="24"/>
                </a:lnTo>
                <a:lnTo>
                  <a:pt x="46" y="32"/>
                </a:lnTo>
                <a:lnTo>
                  <a:pt x="44" y="40"/>
                </a:lnTo>
                <a:lnTo>
                  <a:pt x="42" y="48"/>
                </a:lnTo>
                <a:lnTo>
                  <a:pt x="42" y="48"/>
                </a:lnTo>
                <a:lnTo>
                  <a:pt x="44" y="60"/>
                </a:lnTo>
                <a:lnTo>
                  <a:pt x="50" y="70"/>
                </a:lnTo>
                <a:lnTo>
                  <a:pt x="18" y="70"/>
                </a:lnTo>
                <a:lnTo>
                  <a:pt x="18" y="88"/>
                </a:lnTo>
                <a:lnTo>
                  <a:pt x="348" y="88"/>
                </a:lnTo>
                <a:close/>
                <a:moveTo>
                  <a:pt x="284" y="36"/>
                </a:moveTo>
                <a:lnTo>
                  <a:pt x="304" y="70"/>
                </a:lnTo>
                <a:lnTo>
                  <a:pt x="264" y="70"/>
                </a:lnTo>
                <a:lnTo>
                  <a:pt x="284" y="36"/>
                </a:lnTo>
                <a:close/>
                <a:moveTo>
                  <a:pt x="164" y="26"/>
                </a:moveTo>
                <a:lnTo>
                  <a:pt x="208" y="26"/>
                </a:lnTo>
                <a:lnTo>
                  <a:pt x="208" y="70"/>
                </a:lnTo>
                <a:lnTo>
                  <a:pt x="164" y="70"/>
                </a:lnTo>
                <a:lnTo>
                  <a:pt x="164" y="26"/>
                </a:lnTo>
                <a:close/>
                <a:moveTo>
                  <a:pt x="62" y="48"/>
                </a:moveTo>
                <a:lnTo>
                  <a:pt x="62" y="48"/>
                </a:lnTo>
                <a:lnTo>
                  <a:pt x="62" y="38"/>
                </a:lnTo>
                <a:lnTo>
                  <a:pt x="68" y="32"/>
                </a:lnTo>
                <a:lnTo>
                  <a:pt x="74" y="26"/>
                </a:lnTo>
                <a:lnTo>
                  <a:pt x="84" y="24"/>
                </a:lnTo>
                <a:lnTo>
                  <a:pt x="84" y="24"/>
                </a:lnTo>
                <a:lnTo>
                  <a:pt x="92" y="26"/>
                </a:lnTo>
                <a:lnTo>
                  <a:pt x="100" y="32"/>
                </a:lnTo>
                <a:lnTo>
                  <a:pt x="104" y="38"/>
                </a:lnTo>
                <a:lnTo>
                  <a:pt x="106" y="48"/>
                </a:lnTo>
                <a:lnTo>
                  <a:pt x="106" y="48"/>
                </a:lnTo>
                <a:lnTo>
                  <a:pt x="104" y="56"/>
                </a:lnTo>
                <a:lnTo>
                  <a:pt x="100" y="64"/>
                </a:lnTo>
                <a:lnTo>
                  <a:pt x="92" y="68"/>
                </a:lnTo>
                <a:lnTo>
                  <a:pt x="84" y="70"/>
                </a:lnTo>
                <a:lnTo>
                  <a:pt x="84" y="70"/>
                </a:lnTo>
                <a:lnTo>
                  <a:pt x="74" y="68"/>
                </a:lnTo>
                <a:lnTo>
                  <a:pt x="68" y="64"/>
                </a:lnTo>
                <a:lnTo>
                  <a:pt x="62" y="56"/>
                </a:lnTo>
                <a:lnTo>
                  <a:pt x="62" y="48"/>
                </a:lnTo>
                <a:lnTo>
                  <a:pt x="62" y="48"/>
                </a:lnTo>
                <a:close/>
                <a:moveTo>
                  <a:pt x="284" y="236"/>
                </a:moveTo>
                <a:lnTo>
                  <a:pt x="242" y="308"/>
                </a:lnTo>
                <a:lnTo>
                  <a:pt x="226" y="308"/>
                </a:lnTo>
                <a:lnTo>
                  <a:pt x="226" y="244"/>
                </a:lnTo>
                <a:lnTo>
                  <a:pt x="144" y="244"/>
                </a:lnTo>
                <a:lnTo>
                  <a:pt x="144" y="308"/>
                </a:lnTo>
                <a:lnTo>
                  <a:pt x="118" y="308"/>
                </a:lnTo>
                <a:lnTo>
                  <a:pt x="118" y="308"/>
                </a:lnTo>
                <a:lnTo>
                  <a:pt x="122" y="298"/>
                </a:lnTo>
                <a:lnTo>
                  <a:pt x="124" y="286"/>
                </a:lnTo>
                <a:lnTo>
                  <a:pt x="124" y="286"/>
                </a:lnTo>
                <a:lnTo>
                  <a:pt x="124" y="276"/>
                </a:lnTo>
                <a:lnTo>
                  <a:pt x="122" y="270"/>
                </a:lnTo>
                <a:lnTo>
                  <a:pt x="118" y="262"/>
                </a:lnTo>
                <a:lnTo>
                  <a:pt x="112" y="256"/>
                </a:lnTo>
                <a:lnTo>
                  <a:pt x="106" y="252"/>
                </a:lnTo>
                <a:lnTo>
                  <a:pt x="100" y="248"/>
                </a:lnTo>
                <a:lnTo>
                  <a:pt x="92" y="246"/>
                </a:lnTo>
                <a:lnTo>
                  <a:pt x="84" y="244"/>
                </a:lnTo>
                <a:lnTo>
                  <a:pt x="84" y="244"/>
                </a:lnTo>
                <a:lnTo>
                  <a:pt x="76" y="246"/>
                </a:lnTo>
                <a:lnTo>
                  <a:pt x="68" y="248"/>
                </a:lnTo>
                <a:lnTo>
                  <a:pt x="60" y="252"/>
                </a:lnTo>
                <a:lnTo>
                  <a:pt x="54" y="256"/>
                </a:lnTo>
                <a:lnTo>
                  <a:pt x="50" y="262"/>
                </a:lnTo>
                <a:lnTo>
                  <a:pt x="46" y="270"/>
                </a:lnTo>
                <a:lnTo>
                  <a:pt x="44" y="276"/>
                </a:lnTo>
                <a:lnTo>
                  <a:pt x="42" y="286"/>
                </a:lnTo>
                <a:lnTo>
                  <a:pt x="42" y="286"/>
                </a:lnTo>
                <a:lnTo>
                  <a:pt x="44" y="298"/>
                </a:lnTo>
                <a:lnTo>
                  <a:pt x="50" y="308"/>
                </a:lnTo>
                <a:lnTo>
                  <a:pt x="18" y="308"/>
                </a:lnTo>
                <a:lnTo>
                  <a:pt x="18" y="326"/>
                </a:lnTo>
                <a:lnTo>
                  <a:pt x="348" y="326"/>
                </a:lnTo>
                <a:lnTo>
                  <a:pt x="348" y="308"/>
                </a:lnTo>
                <a:lnTo>
                  <a:pt x="324" y="308"/>
                </a:lnTo>
                <a:lnTo>
                  <a:pt x="284" y="236"/>
                </a:lnTo>
                <a:close/>
                <a:moveTo>
                  <a:pt x="284" y="274"/>
                </a:moveTo>
                <a:lnTo>
                  <a:pt x="304" y="308"/>
                </a:lnTo>
                <a:lnTo>
                  <a:pt x="264" y="308"/>
                </a:lnTo>
                <a:lnTo>
                  <a:pt x="284" y="274"/>
                </a:lnTo>
                <a:close/>
                <a:moveTo>
                  <a:pt x="164" y="262"/>
                </a:moveTo>
                <a:lnTo>
                  <a:pt x="208" y="262"/>
                </a:lnTo>
                <a:lnTo>
                  <a:pt x="208" y="308"/>
                </a:lnTo>
                <a:lnTo>
                  <a:pt x="164" y="308"/>
                </a:lnTo>
                <a:lnTo>
                  <a:pt x="164" y="262"/>
                </a:lnTo>
                <a:close/>
                <a:moveTo>
                  <a:pt x="84" y="262"/>
                </a:moveTo>
                <a:lnTo>
                  <a:pt x="84" y="262"/>
                </a:lnTo>
                <a:lnTo>
                  <a:pt x="92" y="264"/>
                </a:lnTo>
                <a:lnTo>
                  <a:pt x="100" y="268"/>
                </a:lnTo>
                <a:lnTo>
                  <a:pt x="104" y="276"/>
                </a:lnTo>
                <a:lnTo>
                  <a:pt x="106" y="286"/>
                </a:lnTo>
                <a:lnTo>
                  <a:pt x="106" y="286"/>
                </a:lnTo>
                <a:lnTo>
                  <a:pt x="104" y="294"/>
                </a:lnTo>
                <a:lnTo>
                  <a:pt x="100" y="302"/>
                </a:lnTo>
                <a:lnTo>
                  <a:pt x="92" y="306"/>
                </a:lnTo>
                <a:lnTo>
                  <a:pt x="84" y="308"/>
                </a:lnTo>
                <a:lnTo>
                  <a:pt x="84" y="308"/>
                </a:lnTo>
                <a:lnTo>
                  <a:pt x="74" y="306"/>
                </a:lnTo>
                <a:lnTo>
                  <a:pt x="68" y="302"/>
                </a:lnTo>
                <a:lnTo>
                  <a:pt x="62" y="294"/>
                </a:lnTo>
                <a:lnTo>
                  <a:pt x="62" y="286"/>
                </a:lnTo>
                <a:lnTo>
                  <a:pt x="62" y="286"/>
                </a:lnTo>
                <a:lnTo>
                  <a:pt x="62" y="276"/>
                </a:lnTo>
                <a:lnTo>
                  <a:pt x="68" y="268"/>
                </a:lnTo>
                <a:lnTo>
                  <a:pt x="74" y="264"/>
                </a:lnTo>
                <a:lnTo>
                  <a:pt x="84" y="262"/>
                </a:lnTo>
                <a:lnTo>
                  <a:pt x="84" y="262"/>
                </a:lnTo>
                <a:close/>
                <a:moveTo>
                  <a:pt x="324" y="190"/>
                </a:moveTo>
                <a:lnTo>
                  <a:pt x="284" y="118"/>
                </a:lnTo>
                <a:lnTo>
                  <a:pt x="242" y="190"/>
                </a:lnTo>
                <a:lnTo>
                  <a:pt x="226" y="190"/>
                </a:lnTo>
                <a:lnTo>
                  <a:pt x="226" y="126"/>
                </a:lnTo>
                <a:lnTo>
                  <a:pt x="144" y="126"/>
                </a:lnTo>
                <a:lnTo>
                  <a:pt x="144" y="190"/>
                </a:lnTo>
                <a:lnTo>
                  <a:pt x="118" y="190"/>
                </a:lnTo>
                <a:lnTo>
                  <a:pt x="118" y="190"/>
                </a:lnTo>
                <a:lnTo>
                  <a:pt x="122" y="178"/>
                </a:lnTo>
                <a:lnTo>
                  <a:pt x="124" y="166"/>
                </a:lnTo>
                <a:lnTo>
                  <a:pt x="124" y="166"/>
                </a:lnTo>
                <a:lnTo>
                  <a:pt x="124" y="158"/>
                </a:lnTo>
                <a:lnTo>
                  <a:pt x="122" y="150"/>
                </a:lnTo>
                <a:lnTo>
                  <a:pt x="118" y="144"/>
                </a:lnTo>
                <a:lnTo>
                  <a:pt x="112" y="138"/>
                </a:lnTo>
                <a:lnTo>
                  <a:pt x="106" y="132"/>
                </a:lnTo>
                <a:lnTo>
                  <a:pt x="100" y="128"/>
                </a:lnTo>
                <a:lnTo>
                  <a:pt x="92" y="126"/>
                </a:lnTo>
                <a:lnTo>
                  <a:pt x="84" y="126"/>
                </a:lnTo>
                <a:lnTo>
                  <a:pt x="84" y="126"/>
                </a:lnTo>
                <a:lnTo>
                  <a:pt x="76" y="126"/>
                </a:lnTo>
                <a:lnTo>
                  <a:pt x="68" y="128"/>
                </a:lnTo>
                <a:lnTo>
                  <a:pt x="60" y="132"/>
                </a:lnTo>
                <a:lnTo>
                  <a:pt x="54" y="138"/>
                </a:lnTo>
                <a:lnTo>
                  <a:pt x="50" y="144"/>
                </a:lnTo>
                <a:lnTo>
                  <a:pt x="46" y="150"/>
                </a:lnTo>
                <a:lnTo>
                  <a:pt x="44" y="158"/>
                </a:lnTo>
                <a:lnTo>
                  <a:pt x="42" y="166"/>
                </a:lnTo>
                <a:lnTo>
                  <a:pt x="42" y="166"/>
                </a:lnTo>
                <a:lnTo>
                  <a:pt x="44" y="178"/>
                </a:lnTo>
                <a:lnTo>
                  <a:pt x="50" y="190"/>
                </a:lnTo>
                <a:lnTo>
                  <a:pt x="0" y="190"/>
                </a:lnTo>
                <a:lnTo>
                  <a:pt x="0" y="190"/>
                </a:lnTo>
                <a:lnTo>
                  <a:pt x="18" y="208"/>
                </a:lnTo>
                <a:lnTo>
                  <a:pt x="348" y="208"/>
                </a:lnTo>
                <a:lnTo>
                  <a:pt x="366" y="190"/>
                </a:lnTo>
                <a:lnTo>
                  <a:pt x="366" y="190"/>
                </a:lnTo>
                <a:lnTo>
                  <a:pt x="324" y="190"/>
                </a:lnTo>
                <a:close/>
                <a:moveTo>
                  <a:pt x="284" y="154"/>
                </a:moveTo>
                <a:lnTo>
                  <a:pt x="304" y="190"/>
                </a:lnTo>
                <a:lnTo>
                  <a:pt x="264" y="190"/>
                </a:lnTo>
                <a:lnTo>
                  <a:pt x="284" y="154"/>
                </a:lnTo>
                <a:close/>
                <a:moveTo>
                  <a:pt x="164" y="144"/>
                </a:moveTo>
                <a:lnTo>
                  <a:pt x="208" y="144"/>
                </a:lnTo>
                <a:lnTo>
                  <a:pt x="208" y="190"/>
                </a:lnTo>
                <a:lnTo>
                  <a:pt x="164" y="190"/>
                </a:lnTo>
                <a:lnTo>
                  <a:pt x="164" y="144"/>
                </a:lnTo>
                <a:close/>
                <a:moveTo>
                  <a:pt x="84" y="144"/>
                </a:moveTo>
                <a:lnTo>
                  <a:pt x="84" y="144"/>
                </a:lnTo>
                <a:lnTo>
                  <a:pt x="92" y="146"/>
                </a:lnTo>
                <a:lnTo>
                  <a:pt x="100" y="150"/>
                </a:lnTo>
                <a:lnTo>
                  <a:pt x="104" y="158"/>
                </a:lnTo>
                <a:lnTo>
                  <a:pt x="106" y="166"/>
                </a:lnTo>
                <a:lnTo>
                  <a:pt x="106" y="166"/>
                </a:lnTo>
                <a:lnTo>
                  <a:pt x="104" y="176"/>
                </a:lnTo>
                <a:lnTo>
                  <a:pt x="100" y="182"/>
                </a:lnTo>
                <a:lnTo>
                  <a:pt x="92" y="188"/>
                </a:lnTo>
                <a:lnTo>
                  <a:pt x="84" y="190"/>
                </a:lnTo>
                <a:lnTo>
                  <a:pt x="84" y="190"/>
                </a:lnTo>
                <a:lnTo>
                  <a:pt x="74" y="188"/>
                </a:lnTo>
                <a:lnTo>
                  <a:pt x="68" y="182"/>
                </a:lnTo>
                <a:lnTo>
                  <a:pt x="62" y="176"/>
                </a:lnTo>
                <a:lnTo>
                  <a:pt x="62" y="166"/>
                </a:lnTo>
                <a:lnTo>
                  <a:pt x="62" y="166"/>
                </a:lnTo>
                <a:lnTo>
                  <a:pt x="62" y="158"/>
                </a:lnTo>
                <a:lnTo>
                  <a:pt x="68" y="150"/>
                </a:lnTo>
                <a:lnTo>
                  <a:pt x="74" y="146"/>
                </a:lnTo>
                <a:lnTo>
                  <a:pt x="84" y="144"/>
                </a:lnTo>
                <a:lnTo>
                  <a:pt x="84" y="1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0754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5" end="5"/>
                                            </p:txEl>
                                          </p:spTgt>
                                        </p:tgtEl>
                                        <p:attrNameLst>
                                          <p:attrName>style.visibility</p:attrName>
                                        </p:attrNameLst>
                                      </p:cBhvr>
                                      <p:to>
                                        <p:strVal val="visible"/>
                                      </p:to>
                                    </p:set>
                                    <p:animEffect transition="in" filter="fade">
                                      <p:cBhvr>
                                        <p:cTn id="30" dur="500"/>
                                        <p:tgtEl>
                                          <p:spTgt spid="9">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6" end="6"/>
                                            </p:txEl>
                                          </p:spTgt>
                                        </p:tgtEl>
                                        <p:attrNameLst>
                                          <p:attrName>style.visibility</p:attrName>
                                        </p:attrNameLst>
                                      </p:cBhvr>
                                      <p:to>
                                        <p:strVal val="visible"/>
                                      </p:to>
                                    </p:set>
                                    <p:animEffect transition="in" filter="fade">
                                      <p:cBhvr>
                                        <p:cTn id="33" dur="500"/>
                                        <p:tgtEl>
                                          <p:spTgt spid="9">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
                                            <p:txEl>
                                              <p:pRg st="7" end="7"/>
                                            </p:txEl>
                                          </p:spTgt>
                                        </p:tgtEl>
                                        <p:attrNameLst>
                                          <p:attrName>style.visibility</p:attrName>
                                        </p:attrNameLst>
                                      </p:cBhvr>
                                      <p:to>
                                        <p:strVal val="visible"/>
                                      </p:to>
                                    </p:set>
                                    <p:animEffect transition="in" filter="fade">
                                      <p:cBhvr>
                                        <p:cTn id="38" dur="5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Demo</a:t>
            </a:r>
          </a:p>
        </p:txBody>
      </p:sp>
      <p:grpSp>
        <p:nvGrpSpPr>
          <p:cNvPr id="15" name="Group 14"/>
          <p:cNvGrpSpPr>
            <a:grpSpLocks noChangeAspect="1"/>
          </p:cNvGrpSpPr>
          <p:nvPr/>
        </p:nvGrpSpPr>
        <p:grpSpPr>
          <a:xfrm>
            <a:off x="4169303" y="2051807"/>
            <a:ext cx="3715275" cy="3036139"/>
            <a:chOff x="1109663" y="2622550"/>
            <a:chExt cx="590550" cy="482600"/>
          </a:xfrm>
          <a:solidFill>
            <a:schemeClr val="accent4"/>
          </a:solidFill>
        </p:grpSpPr>
        <p:sp>
          <p:nvSpPr>
            <p:cNvPr id="16" name="Freeform 66"/>
            <p:cNvSpPr>
              <a:spLocks noEditPoints="1"/>
            </p:cNvSpPr>
            <p:nvPr/>
          </p:nvSpPr>
          <p:spPr bwMode="auto">
            <a:xfrm>
              <a:off x="1385888" y="2727325"/>
              <a:ext cx="244475" cy="247650"/>
            </a:xfrm>
            <a:custGeom>
              <a:avLst/>
              <a:gdLst>
                <a:gd name="T0" fmla="*/ 0 w 154"/>
                <a:gd name="T1" fmla="*/ 78 h 156"/>
                <a:gd name="T2" fmla="*/ 6 w 154"/>
                <a:gd name="T3" fmla="*/ 108 h 156"/>
                <a:gd name="T4" fmla="*/ 22 w 154"/>
                <a:gd name="T5" fmla="*/ 132 h 156"/>
                <a:gd name="T6" fmla="*/ 46 w 154"/>
                <a:gd name="T7" fmla="*/ 148 h 156"/>
                <a:gd name="T8" fmla="*/ 76 w 154"/>
                <a:gd name="T9" fmla="*/ 156 h 156"/>
                <a:gd name="T10" fmla="*/ 92 w 154"/>
                <a:gd name="T11" fmla="*/ 154 h 156"/>
                <a:gd name="T12" fmla="*/ 120 w 154"/>
                <a:gd name="T13" fmla="*/ 142 h 156"/>
                <a:gd name="T14" fmla="*/ 140 w 154"/>
                <a:gd name="T15" fmla="*/ 120 h 156"/>
                <a:gd name="T16" fmla="*/ 152 w 154"/>
                <a:gd name="T17" fmla="*/ 94 h 156"/>
                <a:gd name="T18" fmla="*/ 154 w 154"/>
                <a:gd name="T19" fmla="*/ 78 h 156"/>
                <a:gd name="T20" fmla="*/ 148 w 154"/>
                <a:gd name="T21" fmla="*/ 48 h 156"/>
                <a:gd name="T22" fmla="*/ 132 w 154"/>
                <a:gd name="T23" fmla="*/ 24 h 156"/>
                <a:gd name="T24" fmla="*/ 106 w 154"/>
                <a:gd name="T25" fmla="*/ 6 h 156"/>
                <a:gd name="T26" fmla="*/ 76 w 154"/>
                <a:gd name="T27" fmla="*/ 0 h 156"/>
                <a:gd name="T28" fmla="*/ 62 w 154"/>
                <a:gd name="T29" fmla="*/ 2 h 156"/>
                <a:gd name="T30" fmla="*/ 34 w 154"/>
                <a:gd name="T31" fmla="*/ 14 h 156"/>
                <a:gd name="T32" fmla="*/ 12 w 154"/>
                <a:gd name="T33" fmla="*/ 34 h 156"/>
                <a:gd name="T34" fmla="*/ 0 w 154"/>
                <a:gd name="T35" fmla="*/ 62 h 156"/>
                <a:gd name="T36" fmla="*/ 0 w 154"/>
                <a:gd name="T37" fmla="*/ 78 h 156"/>
                <a:gd name="T38" fmla="*/ 136 w 154"/>
                <a:gd name="T39" fmla="*/ 78 h 156"/>
                <a:gd name="T40" fmla="*/ 130 w 154"/>
                <a:gd name="T41" fmla="*/ 100 h 156"/>
                <a:gd name="T42" fmla="*/ 118 w 154"/>
                <a:gd name="T43" fmla="*/ 120 h 156"/>
                <a:gd name="T44" fmla="*/ 100 w 154"/>
                <a:gd name="T45" fmla="*/ 132 h 156"/>
                <a:gd name="T46" fmla="*/ 76 w 154"/>
                <a:gd name="T47" fmla="*/ 136 h 156"/>
                <a:gd name="T48" fmla="*/ 64 w 154"/>
                <a:gd name="T49" fmla="*/ 136 h 156"/>
                <a:gd name="T50" fmla="*/ 44 w 154"/>
                <a:gd name="T51" fmla="*/ 126 h 156"/>
                <a:gd name="T52" fmla="*/ 28 w 154"/>
                <a:gd name="T53" fmla="*/ 110 h 156"/>
                <a:gd name="T54" fmla="*/ 20 w 154"/>
                <a:gd name="T55" fmla="*/ 90 h 156"/>
                <a:gd name="T56" fmla="*/ 18 w 154"/>
                <a:gd name="T57" fmla="*/ 78 h 156"/>
                <a:gd name="T58" fmla="*/ 22 w 154"/>
                <a:gd name="T59" fmla="*/ 54 h 156"/>
                <a:gd name="T60" fmla="*/ 36 w 154"/>
                <a:gd name="T61" fmla="*/ 36 h 156"/>
                <a:gd name="T62" fmla="*/ 54 w 154"/>
                <a:gd name="T63" fmla="*/ 24 h 156"/>
                <a:gd name="T64" fmla="*/ 76 w 154"/>
                <a:gd name="T65" fmla="*/ 20 h 156"/>
                <a:gd name="T66" fmla="*/ 88 w 154"/>
                <a:gd name="T67" fmla="*/ 20 h 156"/>
                <a:gd name="T68" fmla="*/ 110 w 154"/>
                <a:gd name="T69" fmla="*/ 30 h 156"/>
                <a:gd name="T70" fmla="*/ 126 w 154"/>
                <a:gd name="T71" fmla="*/ 46 h 156"/>
                <a:gd name="T72" fmla="*/ 134 w 154"/>
                <a:gd name="T73" fmla="*/ 66 h 156"/>
                <a:gd name="T74" fmla="*/ 136 w 154"/>
                <a:gd name="T7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56">
                  <a:moveTo>
                    <a:pt x="0" y="78"/>
                  </a:moveTo>
                  <a:lnTo>
                    <a:pt x="0" y="78"/>
                  </a:lnTo>
                  <a:lnTo>
                    <a:pt x="0" y="94"/>
                  </a:lnTo>
                  <a:lnTo>
                    <a:pt x="6" y="108"/>
                  </a:lnTo>
                  <a:lnTo>
                    <a:pt x="12" y="120"/>
                  </a:lnTo>
                  <a:lnTo>
                    <a:pt x="22" y="132"/>
                  </a:lnTo>
                  <a:lnTo>
                    <a:pt x="34" y="142"/>
                  </a:lnTo>
                  <a:lnTo>
                    <a:pt x="46" y="148"/>
                  </a:lnTo>
                  <a:lnTo>
                    <a:pt x="62" y="154"/>
                  </a:lnTo>
                  <a:lnTo>
                    <a:pt x="76" y="156"/>
                  </a:lnTo>
                  <a:lnTo>
                    <a:pt x="76" y="156"/>
                  </a:lnTo>
                  <a:lnTo>
                    <a:pt x="92" y="154"/>
                  </a:lnTo>
                  <a:lnTo>
                    <a:pt x="106" y="148"/>
                  </a:lnTo>
                  <a:lnTo>
                    <a:pt x="120" y="142"/>
                  </a:lnTo>
                  <a:lnTo>
                    <a:pt x="132" y="132"/>
                  </a:lnTo>
                  <a:lnTo>
                    <a:pt x="140" y="120"/>
                  </a:lnTo>
                  <a:lnTo>
                    <a:pt x="148" y="108"/>
                  </a:lnTo>
                  <a:lnTo>
                    <a:pt x="152" y="94"/>
                  </a:lnTo>
                  <a:lnTo>
                    <a:pt x="154" y="78"/>
                  </a:lnTo>
                  <a:lnTo>
                    <a:pt x="154" y="78"/>
                  </a:lnTo>
                  <a:lnTo>
                    <a:pt x="152" y="62"/>
                  </a:lnTo>
                  <a:lnTo>
                    <a:pt x="148" y="48"/>
                  </a:lnTo>
                  <a:lnTo>
                    <a:pt x="140" y="34"/>
                  </a:lnTo>
                  <a:lnTo>
                    <a:pt x="132" y="24"/>
                  </a:lnTo>
                  <a:lnTo>
                    <a:pt x="120" y="14"/>
                  </a:lnTo>
                  <a:lnTo>
                    <a:pt x="106" y="6"/>
                  </a:lnTo>
                  <a:lnTo>
                    <a:pt x="92" y="2"/>
                  </a:lnTo>
                  <a:lnTo>
                    <a:pt x="76" y="0"/>
                  </a:lnTo>
                  <a:lnTo>
                    <a:pt x="76" y="0"/>
                  </a:lnTo>
                  <a:lnTo>
                    <a:pt x="62" y="2"/>
                  </a:lnTo>
                  <a:lnTo>
                    <a:pt x="46" y="6"/>
                  </a:lnTo>
                  <a:lnTo>
                    <a:pt x="34" y="14"/>
                  </a:lnTo>
                  <a:lnTo>
                    <a:pt x="22" y="24"/>
                  </a:lnTo>
                  <a:lnTo>
                    <a:pt x="12" y="34"/>
                  </a:lnTo>
                  <a:lnTo>
                    <a:pt x="6" y="48"/>
                  </a:lnTo>
                  <a:lnTo>
                    <a:pt x="0" y="62"/>
                  </a:lnTo>
                  <a:lnTo>
                    <a:pt x="0" y="78"/>
                  </a:lnTo>
                  <a:lnTo>
                    <a:pt x="0" y="78"/>
                  </a:lnTo>
                  <a:close/>
                  <a:moveTo>
                    <a:pt x="136" y="78"/>
                  </a:moveTo>
                  <a:lnTo>
                    <a:pt x="136" y="78"/>
                  </a:lnTo>
                  <a:lnTo>
                    <a:pt x="134" y="90"/>
                  </a:lnTo>
                  <a:lnTo>
                    <a:pt x="130" y="100"/>
                  </a:lnTo>
                  <a:lnTo>
                    <a:pt x="126" y="110"/>
                  </a:lnTo>
                  <a:lnTo>
                    <a:pt x="118" y="120"/>
                  </a:lnTo>
                  <a:lnTo>
                    <a:pt x="110" y="126"/>
                  </a:lnTo>
                  <a:lnTo>
                    <a:pt x="100" y="132"/>
                  </a:lnTo>
                  <a:lnTo>
                    <a:pt x="88" y="136"/>
                  </a:lnTo>
                  <a:lnTo>
                    <a:pt x="76" y="136"/>
                  </a:lnTo>
                  <a:lnTo>
                    <a:pt x="76" y="136"/>
                  </a:lnTo>
                  <a:lnTo>
                    <a:pt x="64" y="136"/>
                  </a:lnTo>
                  <a:lnTo>
                    <a:pt x="54" y="132"/>
                  </a:lnTo>
                  <a:lnTo>
                    <a:pt x="44" y="126"/>
                  </a:lnTo>
                  <a:lnTo>
                    <a:pt x="36" y="120"/>
                  </a:lnTo>
                  <a:lnTo>
                    <a:pt x="28" y="110"/>
                  </a:lnTo>
                  <a:lnTo>
                    <a:pt x="22" y="100"/>
                  </a:lnTo>
                  <a:lnTo>
                    <a:pt x="20" y="90"/>
                  </a:lnTo>
                  <a:lnTo>
                    <a:pt x="18" y="78"/>
                  </a:lnTo>
                  <a:lnTo>
                    <a:pt x="18" y="78"/>
                  </a:lnTo>
                  <a:lnTo>
                    <a:pt x="20" y="66"/>
                  </a:lnTo>
                  <a:lnTo>
                    <a:pt x="22" y="54"/>
                  </a:lnTo>
                  <a:lnTo>
                    <a:pt x="28" y="46"/>
                  </a:lnTo>
                  <a:lnTo>
                    <a:pt x="36" y="36"/>
                  </a:lnTo>
                  <a:lnTo>
                    <a:pt x="44" y="30"/>
                  </a:lnTo>
                  <a:lnTo>
                    <a:pt x="54" y="24"/>
                  </a:lnTo>
                  <a:lnTo>
                    <a:pt x="64" y="20"/>
                  </a:lnTo>
                  <a:lnTo>
                    <a:pt x="76" y="20"/>
                  </a:lnTo>
                  <a:lnTo>
                    <a:pt x="76" y="20"/>
                  </a:lnTo>
                  <a:lnTo>
                    <a:pt x="88" y="20"/>
                  </a:lnTo>
                  <a:lnTo>
                    <a:pt x="100" y="24"/>
                  </a:lnTo>
                  <a:lnTo>
                    <a:pt x="110" y="30"/>
                  </a:lnTo>
                  <a:lnTo>
                    <a:pt x="118" y="36"/>
                  </a:lnTo>
                  <a:lnTo>
                    <a:pt x="126" y="46"/>
                  </a:lnTo>
                  <a:lnTo>
                    <a:pt x="130" y="54"/>
                  </a:lnTo>
                  <a:lnTo>
                    <a:pt x="134" y="66"/>
                  </a:lnTo>
                  <a:lnTo>
                    <a:pt x="136" y="78"/>
                  </a:lnTo>
                  <a:lnTo>
                    <a:pt x="1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7"/>
            <p:cNvSpPr>
              <a:spLocks/>
            </p:cNvSpPr>
            <p:nvPr/>
          </p:nvSpPr>
          <p:spPr bwMode="auto">
            <a:xfrm>
              <a:off x="1316038" y="2987675"/>
              <a:ext cx="384175" cy="117475"/>
            </a:xfrm>
            <a:custGeom>
              <a:avLst/>
              <a:gdLst>
                <a:gd name="T0" fmla="*/ 0 w 242"/>
                <a:gd name="T1" fmla="*/ 0 h 74"/>
                <a:gd name="T2" fmla="*/ 0 w 242"/>
                <a:gd name="T3" fmla="*/ 74 h 74"/>
                <a:gd name="T4" fmla="*/ 18 w 242"/>
                <a:gd name="T5" fmla="*/ 56 h 74"/>
                <a:gd name="T6" fmla="*/ 18 w 242"/>
                <a:gd name="T7" fmla="*/ 18 h 74"/>
                <a:gd name="T8" fmla="*/ 222 w 242"/>
                <a:gd name="T9" fmla="*/ 18 h 74"/>
                <a:gd name="T10" fmla="*/ 222 w 242"/>
                <a:gd name="T11" fmla="*/ 56 h 74"/>
                <a:gd name="T12" fmla="*/ 242 w 242"/>
                <a:gd name="T13" fmla="*/ 74 h 74"/>
                <a:gd name="T14" fmla="*/ 242 w 242"/>
                <a:gd name="T15" fmla="*/ 0 h 74"/>
                <a:gd name="T16" fmla="*/ 0 w 24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74">
                  <a:moveTo>
                    <a:pt x="0" y="0"/>
                  </a:moveTo>
                  <a:lnTo>
                    <a:pt x="0" y="74"/>
                  </a:lnTo>
                  <a:lnTo>
                    <a:pt x="18" y="56"/>
                  </a:lnTo>
                  <a:lnTo>
                    <a:pt x="18" y="18"/>
                  </a:lnTo>
                  <a:lnTo>
                    <a:pt x="222" y="18"/>
                  </a:lnTo>
                  <a:lnTo>
                    <a:pt x="222" y="56"/>
                  </a:lnTo>
                  <a:lnTo>
                    <a:pt x="242" y="74"/>
                  </a:lnTo>
                  <a:lnTo>
                    <a:pt x="24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8"/>
            <p:cNvSpPr>
              <a:spLocks/>
            </p:cNvSpPr>
            <p:nvPr/>
          </p:nvSpPr>
          <p:spPr bwMode="auto">
            <a:xfrm>
              <a:off x="1131888" y="2917825"/>
              <a:ext cx="257175" cy="28575"/>
            </a:xfrm>
            <a:custGeom>
              <a:avLst/>
              <a:gdLst>
                <a:gd name="T0" fmla="*/ 142 w 162"/>
                <a:gd name="T1" fmla="*/ 0 h 18"/>
                <a:gd name="T2" fmla="*/ 0 w 162"/>
                <a:gd name="T3" fmla="*/ 0 h 18"/>
                <a:gd name="T4" fmla="*/ 0 w 162"/>
                <a:gd name="T5" fmla="*/ 18 h 18"/>
                <a:gd name="T6" fmla="*/ 162 w 162"/>
                <a:gd name="T7" fmla="*/ 18 h 18"/>
                <a:gd name="T8" fmla="*/ 142 w 162"/>
                <a:gd name="T9" fmla="*/ 0 h 18"/>
              </a:gdLst>
              <a:ahLst/>
              <a:cxnLst>
                <a:cxn ang="0">
                  <a:pos x="T0" y="T1"/>
                </a:cxn>
                <a:cxn ang="0">
                  <a:pos x="T2" y="T3"/>
                </a:cxn>
                <a:cxn ang="0">
                  <a:pos x="T4" y="T5"/>
                </a:cxn>
                <a:cxn ang="0">
                  <a:pos x="T6" y="T7"/>
                </a:cxn>
                <a:cxn ang="0">
                  <a:pos x="T8" y="T9"/>
                </a:cxn>
              </a:cxnLst>
              <a:rect l="0" t="0" r="r" b="b"/>
              <a:pathLst>
                <a:path w="162" h="18">
                  <a:moveTo>
                    <a:pt x="142" y="0"/>
                  </a:moveTo>
                  <a:lnTo>
                    <a:pt x="0" y="0"/>
                  </a:lnTo>
                  <a:lnTo>
                    <a:pt x="0" y="18"/>
                  </a:lnTo>
                  <a:lnTo>
                    <a:pt x="162" y="18"/>
                  </a:lnTo>
                  <a:lnTo>
                    <a:pt x="1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25" name="Freeform 69"/>
            <p:cNvSpPr>
              <a:spLocks/>
            </p:cNvSpPr>
            <p:nvPr/>
          </p:nvSpPr>
          <p:spPr bwMode="auto">
            <a:xfrm>
              <a:off x="1109663" y="2622550"/>
              <a:ext cx="419100" cy="282575"/>
            </a:xfrm>
            <a:custGeom>
              <a:avLst/>
              <a:gdLst>
                <a:gd name="T0" fmla="*/ 130 w 264"/>
                <a:gd name="T1" fmla="*/ 160 h 178"/>
                <a:gd name="T2" fmla="*/ 20 w 264"/>
                <a:gd name="T3" fmla="*/ 160 h 178"/>
                <a:gd name="T4" fmla="*/ 20 w 264"/>
                <a:gd name="T5" fmla="*/ 20 h 178"/>
                <a:gd name="T6" fmla="*/ 246 w 264"/>
                <a:gd name="T7" fmla="*/ 20 h 178"/>
                <a:gd name="T8" fmla="*/ 246 w 264"/>
                <a:gd name="T9" fmla="*/ 52 h 178"/>
                <a:gd name="T10" fmla="*/ 264 w 264"/>
                <a:gd name="T11" fmla="*/ 34 h 178"/>
                <a:gd name="T12" fmla="*/ 264 w 264"/>
                <a:gd name="T13" fmla="*/ 0 h 178"/>
                <a:gd name="T14" fmla="*/ 0 w 264"/>
                <a:gd name="T15" fmla="*/ 0 h 178"/>
                <a:gd name="T16" fmla="*/ 0 w 264"/>
                <a:gd name="T17" fmla="*/ 178 h 178"/>
                <a:gd name="T18" fmla="*/ 148 w 264"/>
                <a:gd name="T19" fmla="*/ 178 h 178"/>
                <a:gd name="T20" fmla="*/ 130 w 264"/>
                <a:gd name="T21"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4" h="178">
                  <a:moveTo>
                    <a:pt x="130" y="160"/>
                  </a:moveTo>
                  <a:lnTo>
                    <a:pt x="20" y="160"/>
                  </a:lnTo>
                  <a:lnTo>
                    <a:pt x="20" y="20"/>
                  </a:lnTo>
                  <a:lnTo>
                    <a:pt x="246" y="20"/>
                  </a:lnTo>
                  <a:lnTo>
                    <a:pt x="246" y="52"/>
                  </a:lnTo>
                  <a:lnTo>
                    <a:pt x="264" y="34"/>
                  </a:lnTo>
                  <a:lnTo>
                    <a:pt x="264" y="0"/>
                  </a:lnTo>
                  <a:lnTo>
                    <a:pt x="0" y="0"/>
                  </a:lnTo>
                  <a:lnTo>
                    <a:pt x="0" y="178"/>
                  </a:lnTo>
                  <a:lnTo>
                    <a:pt x="148" y="178"/>
                  </a:lnTo>
                  <a:lnTo>
                    <a:pt x="13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228081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en-US"/>
              <a:t>Process Triggers</a:t>
            </a:r>
          </a:p>
        </p:txBody>
      </p:sp>
      <p:sp>
        <p:nvSpPr>
          <p:cNvPr id="62467" name="Rectangle 3"/>
          <p:cNvSpPr>
            <a:spLocks noGrp="1" noChangeArrowheads="1"/>
          </p:cNvSpPr>
          <p:nvPr>
            <p:ph type="body" idx="1"/>
          </p:nvPr>
        </p:nvSpPr>
        <p:spPr>
          <a:xfrm>
            <a:off x="1393794" y="1100831"/>
            <a:ext cx="9143576" cy="5212883"/>
          </a:xfrm>
          <a:noFill/>
          <a:ln/>
        </p:spPr>
        <p:txBody>
          <a:bodyPr/>
          <a:lstStyle/>
          <a:p>
            <a:pPr lvl="1">
              <a:lnSpc>
                <a:spcPct val="90000"/>
              </a:lnSpc>
              <a:buFont typeface="Wingdings" pitchFamily="2" charset="2"/>
              <a:buChar char="Ø"/>
            </a:pPr>
            <a:r>
              <a:rPr lang="en-CA" sz="2400" dirty="0"/>
              <a:t>Category reviews</a:t>
            </a:r>
          </a:p>
          <a:p>
            <a:pPr lvl="2">
              <a:lnSpc>
                <a:spcPct val="90000"/>
              </a:lnSpc>
              <a:buFont typeface="Wingdings" pitchFamily="2" charset="2"/>
              <a:buChar char="§"/>
            </a:pPr>
            <a:r>
              <a:rPr lang="en-CA" sz="1800" dirty="0"/>
              <a:t>Integration with review process</a:t>
            </a:r>
          </a:p>
          <a:p>
            <a:pPr lvl="2">
              <a:lnSpc>
                <a:spcPct val="90000"/>
              </a:lnSpc>
              <a:buFont typeface="Wingdings" pitchFamily="2" charset="2"/>
              <a:buChar char="§"/>
            </a:pPr>
            <a:r>
              <a:rPr lang="en-CA" sz="1800" dirty="0"/>
              <a:t>Inputs flow from category review process</a:t>
            </a:r>
          </a:p>
          <a:p>
            <a:pPr lvl="2">
              <a:lnSpc>
                <a:spcPct val="90000"/>
              </a:lnSpc>
              <a:buFont typeface="Wingdings" pitchFamily="2" charset="2"/>
              <a:buChar char="§"/>
            </a:pPr>
            <a:r>
              <a:rPr lang="en-CA" sz="1800" dirty="0"/>
              <a:t>Changes based on merchandising principles</a:t>
            </a:r>
          </a:p>
          <a:p>
            <a:pPr lvl="2">
              <a:lnSpc>
                <a:spcPct val="90000"/>
              </a:lnSpc>
              <a:buFont typeface="Wingdings" pitchFamily="2" charset="2"/>
              <a:buChar char="§"/>
            </a:pPr>
            <a:r>
              <a:rPr lang="en-CA" sz="1800" dirty="0"/>
              <a:t>Coordination of product listing/delisting, inventory receipts, etc… to be done in category review process</a:t>
            </a:r>
          </a:p>
          <a:p>
            <a:pPr lvl="2">
              <a:lnSpc>
                <a:spcPct val="90000"/>
              </a:lnSpc>
              <a:buFont typeface="Wingdings" pitchFamily="2" charset="2"/>
              <a:buChar char="§"/>
            </a:pPr>
            <a:r>
              <a:rPr lang="en-CA" sz="1800" dirty="0"/>
              <a:t>New Line of Business</a:t>
            </a:r>
          </a:p>
          <a:p>
            <a:pPr lvl="2">
              <a:lnSpc>
                <a:spcPct val="150000"/>
              </a:lnSpc>
              <a:buFont typeface="Wingdings" panose="05000000000000000000" pitchFamily="2" charset="2"/>
              <a:buChar char="§"/>
            </a:pPr>
            <a:r>
              <a:rPr lang="en-US" sz="1800" dirty="0"/>
              <a:t>Addressing a concern identified through analysis</a:t>
            </a:r>
          </a:p>
          <a:p>
            <a:pPr lvl="1">
              <a:lnSpc>
                <a:spcPct val="90000"/>
              </a:lnSpc>
              <a:buFont typeface="Wingdings" pitchFamily="2" charset="2"/>
              <a:buChar char="Ø"/>
            </a:pPr>
            <a:r>
              <a:rPr lang="en-CA" sz="2400" dirty="0"/>
              <a:t>New product introduction</a:t>
            </a:r>
          </a:p>
          <a:p>
            <a:pPr lvl="2">
              <a:lnSpc>
                <a:spcPct val="90000"/>
              </a:lnSpc>
              <a:buFont typeface="Wingdings" pitchFamily="2" charset="2"/>
              <a:buChar char="§"/>
            </a:pPr>
            <a:r>
              <a:rPr lang="en-CA" sz="1800" dirty="0"/>
              <a:t>Receive notification from category manager</a:t>
            </a:r>
          </a:p>
          <a:p>
            <a:pPr lvl="2">
              <a:lnSpc>
                <a:spcPct val="90000"/>
              </a:lnSpc>
              <a:buFont typeface="Wingdings" pitchFamily="2" charset="2"/>
              <a:buChar char="§"/>
            </a:pPr>
            <a:r>
              <a:rPr lang="en-CA" sz="1800" dirty="0"/>
              <a:t>Identify product removal (if any)</a:t>
            </a:r>
          </a:p>
          <a:p>
            <a:pPr lvl="2">
              <a:lnSpc>
                <a:spcPct val="90000"/>
              </a:lnSpc>
              <a:buFont typeface="Wingdings" pitchFamily="2" charset="2"/>
              <a:buChar char="§"/>
            </a:pPr>
            <a:r>
              <a:rPr lang="en-CA" sz="1800" dirty="0"/>
              <a:t>Identify requirement for new cluster planogram</a:t>
            </a:r>
          </a:p>
          <a:p>
            <a:pPr lvl="2">
              <a:lnSpc>
                <a:spcPct val="90000"/>
              </a:lnSpc>
              <a:buFont typeface="Wingdings" pitchFamily="2" charset="2"/>
              <a:buChar char="§"/>
            </a:pPr>
            <a:r>
              <a:rPr lang="en-CA" sz="1800" dirty="0"/>
              <a:t>Identify fit within category (according to merchandising principles)</a:t>
            </a:r>
          </a:p>
          <a:p>
            <a:pPr lvl="2">
              <a:lnSpc>
                <a:spcPct val="90000"/>
              </a:lnSpc>
              <a:buFont typeface="Wingdings" pitchFamily="2" charset="2"/>
              <a:buChar char="§"/>
            </a:pPr>
            <a:r>
              <a:rPr lang="en-CA" sz="1800" dirty="0"/>
              <a:t>Requires coordination of product stock receipt for release</a:t>
            </a:r>
          </a:p>
          <a:p>
            <a:pPr lvl="1">
              <a:lnSpc>
                <a:spcPct val="90000"/>
              </a:lnSpc>
              <a:buFont typeface="Wingdings" pitchFamily="2" charset="2"/>
              <a:buChar char="§"/>
            </a:pPr>
            <a:endParaRPr lang="en-US" dirty="0">
              <a:solidFill>
                <a:schemeClr val="accent2"/>
              </a:solidFill>
            </a:endParaRPr>
          </a:p>
        </p:txBody>
      </p:sp>
    </p:spTree>
    <p:extLst>
      <p:ext uri="{BB962C8B-B14F-4D97-AF65-F5344CB8AC3E}">
        <p14:creationId xmlns:p14="http://schemas.microsoft.com/office/powerpoint/2010/main" val="264696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r>
              <a:rPr lang="en-US"/>
              <a:t>Process Triggers</a:t>
            </a:r>
          </a:p>
        </p:txBody>
      </p:sp>
      <p:sp>
        <p:nvSpPr>
          <p:cNvPr id="63491" name="Rectangle 3"/>
          <p:cNvSpPr>
            <a:spLocks noGrp="1" noChangeArrowheads="1"/>
          </p:cNvSpPr>
          <p:nvPr>
            <p:ph type="body" idx="1"/>
          </p:nvPr>
        </p:nvSpPr>
        <p:spPr>
          <a:xfrm>
            <a:off x="1524000" y="1295401"/>
            <a:ext cx="8686800" cy="4830763"/>
          </a:xfrm>
          <a:noFill/>
          <a:ln/>
        </p:spPr>
        <p:txBody>
          <a:bodyPr/>
          <a:lstStyle/>
          <a:p>
            <a:pPr lvl="1">
              <a:buFont typeface="Wingdings" pitchFamily="2" charset="2"/>
              <a:buChar char="Ø"/>
            </a:pPr>
            <a:r>
              <a:rPr lang="en-CA" sz="2400" dirty="0"/>
              <a:t>Product discontinuation</a:t>
            </a:r>
          </a:p>
          <a:p>
            <a:pPr lvl="2">
              <a:buFont typeface="Wingdings" pitchFamily="2" charset="2"/>
              <a:buChar char="§"/>
            </a:pPr>
            <a:r>
              <a:rPr lang="en-CA" dirty="0"/>
              <a:t>Receive notification from category manager</a:t>
            </a:r>
          </a:p>
          <a:p>
            <a:pPr lvl="2">
              <a:buFont typeface="Wingdings" pitchFamily="2" charset="2"/>
              <a:buChar char="§"/>
            </a:pPr>
            <a:r>
              <a:rPr lang="en-CA" dirty="0"/>
              <a:t>Identify product replacement (if any)</a:t>
            </a:r>
          </a:p>
          <a:p>
            <a:pPr lvl="2">
              <a:buFont typeface="Wingdings" pitchFamily="2" charset="2"/>
              <a:buChar char="§"/>
            </a:pPr>
            <a:r>
              <a:rPr lang="en-CA" dirty="0"/>
              <a:t>Identify requirement for new cluster planogram</a:t>
            </a:r>
          </a:p>
          <a:p>
            <a:pPr lvl="2">
              <a:buFont typeface="Wingdings" pitchFamily="2" charset="2"/>
              <a:buChar char="§"/>
            </a:pPr>
            <a:r>
              <a:rPr lang="en-CA" dirty="0"/>
              <a:t>Release planogram change when CD inventory reaches zero (regular listings) or target release date is reached (seasonal changeovers)</a:t>
            </a:r>
          </a:p>
          <a:p>
            <a:pPr lvl="2">
              <a:buFont typeface="Wingdings" pitchFamily="2" charset="2"/>
              <a:buChar char="§"/>
            </a:pPr>
            <a:r>
              <a:rPr lang="en-CA" dirty="0"/>
              <a:t>Pack , Size or UPC Change</a:t>
            </a:r>
          </a:p>
          <a:p>
            <a:pPr lvl="1">
              <a:buFont typeface="Wingdings" pitchFamily="2" charset="2"/>
              <a:buChar char="Ø"/>
            </a:pPr>
            <a:r>
              <a:rPr lang="en-CA" sz="2400" dirty="0"/>
              <a:t>Planogram Analysis</a:t>
            </a:r>
          </a:p>
          <a:p>
            <a:pPr lvl="2">
              <a:buFont typeface="Wingdings" pitchFamily="2" charset="2"/>
              <a:buChar char="§"/>
            </a:pPr>
            <a:r>
              <a:rPr lang="en-CA" dirty="0"/>
              <a:t>Independent of category review schedule</a:t>
            </a:r>
          </a:p>
          <a:p>
            <a:pPr lvl="2">
              <a:buFont typeface="Wingdings" pitchFamily="2" charset="2"/>
              <a:buChar char="§"/>
            </a:pPr>
            <a:r>
              <a:rPr lang="en-CA" dirty="0"/>
              <a:t>Identify opportunities to improve productivity based on updated performance data</a:t>
            </a:r>
          </a:p>
          <a:p>
            <a:endParaRPr lang="en-US" dirty="0">
              <a:solidFill>
                <a:schemeClr val="accent2"/>
              </a:solidFill>
            </a:endParaRPr>
          </a:p>
          <a:p>
            <a:endParaRPr lang="en-US" dirty="0">
              <a:solidFill>
                <a:schemeClr val="accent2"/>
              </a:solidFill>
            </a:endParaRPr>
          </a:p>
        </p:txBody>
      </p:sp>
    </p:spTree>
    <p:extLst>
      <p:ext uri="{BB962C8B-B14F-4D97-AF65-F5344CB8AC3E}">
        <p14:creationId xmlns:p14="http://schemas.microsoft.com/office/powerpoint/2010/main" val="208164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reputationalcompliance.com/wp-content/uploads/2012/03/Ethical-Issues-in-Business.jpg">
            <a:hlinkClick r:id="rId2"/>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524000" y="1123951"/>
            <a:ext cx="9144000" cy="46237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itle 3"/>
          <p:cNvSpPr>
            <a:spLocks noGrp="1"/>
          </p:cNvSpPr>
          <p:nvPr>
            <p:ph type="title"/>
          </p:nvPr>
        </p:nvSpPr>
        <p:spPr/>
        <p:txBody>
          <a:bodyPr/>
          <a:lstStyle/>
          <a:p>
            <a:r>
              <a:rPr lang="en-US" dirty="0"/>
              <a:t>Consumer Driven Triggers</a:t>
            </a:r>
          </a:p>
        </p:txBody>
      </p:sp>
      <p:sp>
        <p:nvSpPr>
          <p:cNvPr id="5" name="Rounded Rectangle 4"/>
          <p:cNvSpPr/>
          <p:nvPr/>
        </p:nvSpPr>
        <p:spPr>
          <a:xfrm>
            <a:off x="1974175" y="1713135"/>
            <a:ext cx="3101195" cy="742950"/>
          </a:xfrm>
          <a:prstGeom prst="roundRect">
            <a:avLst/>
          </a:prstGeom>
          <a:solidFill>
            <a:schemeClr val="accent1">
              <a:lumMod val="75000"/>
            </a:schemeClr>
          </a:solidFill>
          <a:ln>
            <a:noFill/>
          </a:ln>
          <a:effectLst>
            <a:innerShdw blurRad="63500" dist="50800" dir="162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ounded Rectangle 33"/>
          <p:cNvSpPr/>
          <p:nvPr/>
        </p:nvSpPr>
        <p:spPr>
          <a:xfrm>
            <a:off x="1974175" y="2828925"/>
            <a:ext cx="3101195" cy="742950"/>
          </a:xfrm>
          <a:prstGeom prst="round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path path="circle">
              <a:fillToRect l="50000" t="50000" r="50000" b="50000"/>
            </a:path>
            <a:tileRect/>
          </a:gradFill>
          <a:ln>
            <a:noFill/>
          </a:ln>
          <a:effectLst>
            <a:innerShdw blurRad="63500" dist="50800" dir="162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ounded Rectangle 34"/>
          <p:cNvSpPr/>
          <p:nvPr/>
        </p:nvSpPr>
        <p:spPr>
          <a:xfrm>
            <a:off x="1974175" y="3962400"/>
            <a:ext cx="3101195" cy="742950"/>
          </a:xfrm>
          <a:prstGeom prst="round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a:noFill/>
          </a:ln>
          <a:effectLst>
            <a:innerShdw blurRad="63500" dist="50800" dir="162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Down Arrow 6"/>
          <p:cNvSpPr/>
          <p:nvPr/>
        </p:nvSpPr>
        <p:spPr>
          <a:xfrm>
            <a:off x="3303257" y="2505077"/>
            <a:ext cx="328698" cy="295275"/>
          </a:xfrm>
          <a:prstGeom prst="downArrow">
            <a:avLst/>
          </a:prstGeom>
          <a:solidFill>
            <a:schemeClr val="bg2"/>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Down Arrow 37"/>
          <p:cNvSpPr/>
          <p:nvPr/>
        </p:nvSpPr>
        <p:spPr>
          <a:xfrm>
            <a:off x="3303257" y="3629026"/>
            <a:ext cx="328698" cy="290512"/>
          </a:xfrm>
          <a:prstGeom prst="downArrow">
            <a:avLst/>
          </a:prstGeom>
          <a:solidFill>
            <a:schemeClr val="bg2"/>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p:cNvSpPr txBox="1"/>
          <p:nvPr/>
        </p:nvSpPr>
        <p:spPr>
          <a:xfrm>
            <a:off x="2069120" y="1915385"/>
            <a:ext cx="2910254" cy="369332"/>
          </a:xfrm>
          <a:prstGeom prst="rect">
            <a:avLst/>
          </a:prstGeom>
          <a:noFill/>
        </p:spPr>
        <p:txBody>
          <a:bodyPr wrap="square" rtlCol="0">
            <a:spAutoFit/>
          </a:bodyPr>
          <a:lstStyle/>
          <a:p>
            <a:pPr algn="ctr"/>
            <a:r>
              <a:rPr lang="en-US" b="1" dirty="0">
                <a:solidFill>
                  <a:schemeClr val="bg1"/>
                </a:solidFill>
              </a:rPr>
              <a:t>Persona- Density and Profile</a:t>
            </a:r>
          </a:p>
        </p:txBody>
      </p:sp>
      <p:sp>
        <p:nvSpPr>
          <p:cNvPr id="40" name="TextBox 39"/>
          <p:cNvSpPr txBox="1"/>
          <p:nvPr/>
        </p:nvSpPr>
        <p:spPr>
          <a:xfrm>
            <a:off x="2274289" y="3015734"/>
            <a:ext cx="2386634" cy="369332"/>
          </a:xfrm>
          <a:prstGeom prst="rect">
            <a:avLst/>
          </a:prstGeom>
          <a:noFill/>
        </p:spPr>
        <p:txBody>
          <a:bodyPr wrap="square" rtlCol="0">
            <a:spAutoFit/>
          </a:bodyPr>
          <a:lstStyle/>
          <a:p>
            <a:pPr algn="ctr"/>
            <a:r>
              <a:rPr lang="en-US" b="1" dirty="0">
                <a:solidFill>
                  <a:schemeClr val="bg1"/>
                </a:solidFill>
              </a:rPr>
              <a:t>Demand- Velocity</a:t>
            </a:r>
          </a:p>
        </p:txBody>
      </p:sp>
      <p:sp>
        <p:nvSpPr>
          <p:cNvPr id="41" name="TextBox 40"/>
          <p:cNvSpPr txBox="1"/>
          <p:nvPr/>
        </p:nvSpPr>
        <p:spPr>
          <a:xfrm>
            <a:off x="2267144" y="4149209"/>
            <a:ext cx="2386634" cy="369332"/>
          </a:xfrm>
          <a:prstGeom prst="rect">
            <a:avLst/>
          </a:prstGeom>
          <a:noFill/>
        </p:spPr>
        <p:txBody>
          <a:bodyPr wrap="square" rtlCol="0">
            <a:spAutoFit/>
          </a:bodyPr>
          <a:lstStyle/>
          <a:p>
            <a:pPr algn="ctr"/>
            <a:r>
              <a:rPr lang="en-US" b="1" dirty="0">
                <a:solidFill>
                  <a:schemeClr val="bg1"/>
                </a:solidFill>
              </a:rPr>
              <a:t>Space- Constraint</a:t>
            </a:r>
          </a:p>
        </p:txBody>
      </p:sp>
      <p:sp>
        <p:nvSpPr>
          <p:cNvPr id="10" name="Cloud Callout 9"/>
          <p:cNvSpPr/>
          <p:nvPr/>
        </p:nvSpPr>
        <p:spPr>
          <a:xfrm>
            <a:off x="7826430" y="1133475"/>
            <a:ext cx="2193703" cy="1071562"/>
          </a:xfrm>
          <a:prstGeom prst="cloudCallout">
            <a:avLst/>
          </a:prstGeom>
          <a:solidFill>
            <a:schemeClr val="bg2">
              <a:lumMod val="50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onsumer Level Assortments- How?</a:t>
            </a:r>
          </a:p>
        </p:txBody>
      </p:sp>
    </p:spTree>
    <p:extLst>
      <p:ext uri="{BB962C8B-B14F-4D97-AF65-F5344CB8AC3E}">
        <p14:creationId xmlns:p14="http://schemas.microsoft.com/office/powerpoint/2010/main" val="307999242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500" fill="hold"/>
                                        <p:tgtEl>
                                          <p:spTgt spid="40"/>
                                        </p:tgtEl>
                                        <p:attrNameLst>
                                          <p:attrName>ppt_x</p:attrName>
                                        </p:attrNameLst>
                                      </p:cBhvr>
                                      <p:tavLst>
                                        <p:tav tm="0">
                                          <p:val>
                                            <p:strVal val="#ppt_x"/>
                                          </p:val>
                                        </p:tav>
                                        <p:tav tm="100000">
                                          <p:val>
                                            <p:strVal val="#ppt_x"/>
                                          </p:val>
                                        </p:tav>
                                      </p:tavLst>
                                    </p:anim>
                                    <p:anim calcmode="lin" valueType="num">
                                      <p:cBhvr additive="base">
                                        <p:cTn id="20" dur="500" fill="hold"/>
                                        <p:tgtEl>
                                          <p:spTgt spid="4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 calcmode="lin" valueType="num">
                                      <p:cBhvr additive="base">
                                        <p:cTn id="23" dur="500" fill="hold"/>
                                        <p:tgtEl>
                                          <p:spTgt spid="34"/>
                                        </p:tgtEl>
                                        <p:attrNameLst>
                                          <p:attrName>ppt_x</p:attrName>
                                        </p:attrNameLst>
                                      </p:cBhvr>
                                      <p:tavLst>
                                        <p:tav tm="0">
                                          <p:val>
                                            <p:strVal val="#ppt_x"/>
                                          </p:val>
                                        </p:tav>
                                        <p:tav tm="100000">
                                          <p:val>
                                            <p:strVal val="#ppt_x"/>
                                          </p:val>
                                        </p:tav>
                                      </p:tavLst>
                                    </p:anim>
                                    <p:anim calcmode="lin" valueType="num">
                                      <p:cBhvr additive="base">
                                        <p:cTn id="2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1"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ppt_x"/>
                                          </p:val>
                                        </p:tav>
                                        <p:tav tm="100000">
                                          <p:val>
                                            <p:strVal val="#ppt_x"/>
                                          </p:val>
                                        </p:tav>
                                      </p:tavLst>
                                    </p:anim>
                                    <p:anim calcmode="lin" valueType="num">
                                      <p:cBhvr additive="base">
                                        <p:cTn id="36" dur="500" fill="hold"/>
                                        <p:tgtEl>
                                          <p:spTgt spid="3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anim calcmode="lin" valueType="num">
                                      <p:cBhvr additive="base">
                                        <p:cTn id="39" dur="500" fill="hold"/>
                                        <p:tgtEl>
                                          <p:spTgt spid="41"/>
                                        </p:tgtEl>
                                        <p:attrNameLst>
                                          <p:attrName>ppt_x</p:attrName>
                                        </p:attrNameLst>
                                      </p:cBhvr>
                                      <p:tavLst>
                                        <p:tav tm="0">
                                          <p:val>
                                            <p:strVal val="#ppt_x"/>
                                          </p:val>
                                        </p:tav>
                                        <p:tav tm="100000">
                                          <p:val>
                                            <p:strVal val="#ppt_x"/>
                                          </p:val>
                                        </p:tav>
                                      </p:tavLst>
                                    </p:anim>
                                    <p:anim calcmode="lin" valueType="num">
                                      <p:cBhvr additive="base">
                                        <p:cTn id="40"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4" grpId="0" animBg="1"/>
      <p:bldP spid="35" grpId="0" animBg="1"/>
      <p:bldP spid="7" grpId="0" animBg="1"/>
      <p:bldP spid="38" grpId="0" animBg="1"/>
      <p:bldP spid="8" grpId="0"/>
      <p:bldP spid="40" grpId="0"/>
      <p:bldP spid="4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rocess Triggers Scope</a:t>
            </a:r>
          </a:p>
        </p:txBody>
      </p:sp>
      <p:sp>
        <p:nvSpPr>
          <p:cNvPr id="2" name="Text Placeholder 1"/>
          <p:cNvSpPr>
            <a:spLocks noGrp="1"/>
          </p:cNvSpPr>
          <p:nvPr>
            <p:ph type="body" idx="1"/>
          </p:nvPr>
        </p:nvSpPr>
        <p:spPr/>
        <p:txBody>
          <a:bodyPr/>
          <a:lstStyle/>
          <a:p>
            <a:r>
              <a:rPr lang="en-US" dirty="0"/>
              <a:t>Major</a:t>
            </a:r>
          </a:p>
        </p:txBody>
      </p:sp>
      <p:sp>
        <p:nvSpPr>
          <p:cNvPr id="9" name="Content Placeholder 8"/>
          <p:cNvSpPr>
            <a:spLocks noGrp="1"/>
          </p:cNvSpPr>
          <p:nvPr>
            <p:ph sz="half" idx="2"/>
          </p:nvPr>
        </p:nvSpPr>
        <p:spPr/>
        <p:txBody>
          <a:bodyPr/>
          <a:lstStyle/>
          <a:p>
            <a:pPr>
              <a:lnSpc>
                <a:spcPct val="150000"/>
              </a:lnSpc>
            </a:pPr>
            <a:r>
              <a:rPr lang="en-US" b="0" dirty="0"/>
              <a:t>Scheduled Category Reviews</a:t>
            </a:r>
          </a:p>
          <a:p>
            <a:pPr>
              <a:lnSpc>
                <a:spcPct val="150000"/>
              </a:lnSpc>
            </a:pPr>
            <a:r>
              <a:rPr lang="en-US" b="0" dirty="0"/>
              <a:t>Getting into a new line of business</a:t>
            </a:r>
          </a:p>
          <a:p>
            <a:pPr>
              <a:lnSpc>
                <a:spcPct val="150000"/>
              </a:lnSpc>
            </a:pPr>
            <a:r>
              <a:rPr lang="en-US" b="0" dirty="0"/>
              <a:t>Changes based on merchandising principles</a:t>
            </a:r>
          </a:p>
          <a:p>
            <a:pPr>
              <a:lnSpc>
                <a:spcPct val="150000"/>
              </a:lnSpc>
            </a:pPr>
            <a:r>
              <a:rPr lang="en-US" b="0" dirty="0"/>
              <a:t>Support for new fixtures, or a change in current fixtures</a:t>
            </a:r>
          </a:p>
          <a:p>
            <a:pPr>
              <a:lnSpc>
                <a:spcPct val="150000"/>
              </a:lnSpc>
            </a:pPr>
            <a:r>
              <a:rPr lang="en-US" b="0" dirty="0"/>
              <a:t>Addressing a concern identified through analysis</a:t>
            </a:r>
          </a:p>
        </p:txBody>
      </p:sp>
      <p:sp>
        <p:nvSpPr>
          <p:cNvPr id="3" name="Text Placeholder 2"/>
          <p:cNvSpPr>
            <a:spLocks noGrp="1"/>
          </p:cNvSpPr>
          <p:nvPr>
            <p:ph type="body" sz="quarter" idx="3"/>
          </p:nvPr>
        </p:nvSpPr>
        <p:spPr/>
        <p:txBody>
          <a:bodyPr/>
          <a:lstStyle/>
          <a:p>
            <a:r>
              <a:rPr lang="en-US" dirty="0"/>
              <a:t>Minor</a:t>
            </a:r>
          </a:p>
        </p:txBody>
      </p:sp>
      <p:sp>
        <p:nvSpPr>
          <p:cNvPr id="19" name="Content Placeholder 18"/>
          <p:cNvSpPr>
            <a:spLocks noGrp="1"/>
          </p:cNvSpPr>
          <p:nvPr>
            <p:ph sz="quarter" idx="4"/>
          </p:nvPr>
        </p:nvSpPr>
        <p:spPr/>
        <p:txBody>
          <a:bodyPr/>
          <a:lstStyle/>
          <a:p>
            <a:pPr>
              <a:lnSpc>
                <a:spcPct val="150000"/>
              </a:lnSpc>
            </a:pPr>
            <a:r>
              <a:rPr lang="en-US" b="0" dirty="0"/>
              <a:t>Receive notification from category manager about item changes</a:t>
            </a:r>
          </a:p>
          <a:p>
            <a:pPr>
              <a:lnSpc>
                <a:spcPct val="150000"/>
              </a:lnSpc>
            </a:pPr>
            <a:r>
              <a:rPr lang="en-US" b="0" dirty="0"/>
              <a:t>New Item Introduction</a:t>
            </a:r>
          </a:p>
          <a:p>
            <a:pPr>
              <a:lnSpc>
                <a:spcPct val="150000"/>
              </a:lnSpc>
            </a:pPr>
            <a:r>
              <a:rPr lang="en-US" b="0" dirty="0"/>
              <a:t>Old item removal</a:t>
            </a:r>
          </a:p>
          <a:p>
            <a:pPr>
              <a:lnSpc>
                <a:spcPct val="150000"/>
              </a:lnSpc>
            </a:pPr>
            <a:r>
              <a:rPr lang="en-US" b="0" dirty="0"/>
              <a:t>UPC change</a:t>
            </a:r>
          </a:p>
          <a:p>
            <a:pPr>
              <a:lnSpc>
                <a:spcPct val="150000"/>
              </a:lnSpc>
            </a:pPr>
            <a:r>
              <a:rPr lang="en-US" b="0" dirty="0"/>
              <a:t>Size change</a:t>
            </a:r>
          </a:p>
          <a:p>
            <a:pPr>
              <a:lnSpc>
                <a:spcPct val="150000"/>
              </a:lnSpc>
            </a:pPr>
            <a:r>
              <a:rPr lang="en-US" b="0" dirty="0"/>
              <a:t>Packaging change</a:t>
            </a:r>
          </a:p>
          <a:p>
            <a:pPr>
              <a:lnSpc>
                <a:spcPct val="150000"/>
              </a:lnSpc>
            </a:pPr>
            <a:r>
              <a:rPr lang="en-US" b="0" dirty="0"/>
              <a:t>Recalls</a:t>
            </a:r>
          </a:p>
        </p:txBody>
      </p:sp>
    </p:spTree>
    <p:extLst>
      <p:ext uri="{BB962C8B-B14F-4D97-AF65-F5344CB8AC3E}">
        <p14:creationId xmlns:p14="http://schemas.microsoft.com/office/powerpoint/2010/main" val="1318683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fade">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4" end="4"/>
                                            </p:txEl>
                                          </p:spTgt>
                                        </p:tgtEl>
                                        <p:attrNameLst>
                                          <p:attrName>style.visibility</p:attrName>
                                        </p:attrNameLst>
                                      </p:cBhvr>
                                      <p:to>
                                        <p:strVal val="visible"/>
                                      </p:to>
                                    </p:set>
                                    <p:animEffect transition="in" filter="fade">
                                      <p:cBhvr>
                                        <p:cTn id="32" dur="500"/>
                                        <p:tgtEl>
                                          <p:spTgt spid="9">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0" end="0"/>
                                            </p:txEl>
                                          </p:spTgt>
                                        </p:tgtEl>
                                        <p:attrNameLst>
                                          <p:attrName>style.visibility</p:attrName>
                                        </p:attrNameLst>
                                      </p:cBhvr>
                                      <p:to>
                                        <p:strVal val="visible"/>
                                      </p:to>
                                    </p:set>
                                    <p:animEffect transition="in" filter="fade">
                                      <p:cBhvr>
                                        <p:cTn id="37" dur="500"/>
                                        <p:tgtEl>
                                          <p:spTgt spid="3">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9">
                                            <p:txEl>
                                              <p:pRg st="0" end="0"/>
                                            </p:txEl>
                                          </p:spTgt>
                                        </p:tgtEl>
                                        <p:attrNameLst>
                                          <p:attrName>style.visibility</p:attrName>
                                        </p:attrNameLst>
                                      </p:cBhvr>
                                      <p:to>
                                        <p:strVal val="visible"/>
                                      </p:to>
                                    </p:set>
                                    <p:animEffect transition="in" filter="fade">
                                      <p:cBhvr>
                                        <p:cTn id="42" dur="500"/>
                                        <p:tgtEl>
                                          <p:spTgt spid="19">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9">
                                            <p:txEl>
                                              <p:pRg st="1" end="1"/>
                                            </p:txEl>
                                          </p:spTgt>
                                        </p:tgtEl>
                                        <p:attrNameLst>
                                          <p:attrName>style.visibility</p:attrName>
                                        </p:attrNameLst>
                                      </p:cBhvr>
                                      <p:to>
                                        <p:strVal val="visible"/>
                                      </p:to>
                                    </p:set>
                                    <p:animEffect transition="in" filter="fade">
                                      <p:cBhvr>
                                        <p:cTn id="47" dur="500"/>
                                        <p:tgtEl>
                                          <p:spTgt spid="19">
                                            <p:txEl>
                                              <p:pRg st="1" end="1"/>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9">
                                            <p:txEl>
                                              <p:pRg st="2" end="2"/>
                                            </p:txEl>
                                          </p:spTgt>
                                        </p:tgtEl>
                                        <p:attrNameLst>
                                          <p:attrName>style.visibility</p:attrName>
                                        </p:attrNameLst>
                                      </p:cBhvr>
                                      <p:to>
                                        <p:strVal val="visible"/>
                                      </p:to>
                                    </p:set>
                                    <p:animEffect transition="in" filter="fade">
                                      <p:cBhvr>
                                        <p:cTn id="52" dur="500"/>
                                        <p:tgtEl>
                                          <p:spTgt spid="19">
                                            <p:txEl>
                                              <p:pRg st="2" end="2"/>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9">
                                            <p:txEl>
                                              <p:pRg st="3" end="3"/>
                                            </p:txEl>
                                          </p:spTgt>
                                        </p:tgtEl>
                                        <p:attrNameLst>
                                          <p:attrName>style.visibility</p:attrName>
                                        </p:attrNameLst>
                                      </p:cBhvr>
                                      <p:to>
                                        <p:strVal val="visible"/>
                                      </p:to>
                                    </p:set>
                                    <p:animEffect transition="in" filter="fade">
                                      <p:cBhvr>
                                        <p:cTn id="57" dur="500"/>
                                        <p:tgtEl>
                                          <p:spTgt spid="19">
                                            <p:txEl>
                                              <p:pRg st="3" end="3"/>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9">
                                            <p:txEl>
                                              <p:pRg st="4" end="4"/>
                                            </p:txEl>
                                          </p:spTgt>
                                        </p:tgtEl>
                                        <p:attrNameLst>
                                          <p:attrName>style.visibility</p:attrName>
                                        </p:attrNameLst>
                                      </p:cBhvr>
                                      <p:to>
                                        <p:strVal val="visible"/>
                                      </p:to>
                                    </p:set>
                                    <p:animEffect transition="in" filter="fade">
                                      <p:cBhvr>
                                        <p:cTn id="62" dur="500"/>
                                        <p:tgtEl>
                                          <p:spTgt spid="19">
                                            <p:txEl>
                                              <p:pRg st="4" end="4"/>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9">
                                            <p:txEl>
                                              <p:pRg st="5" end="5"/>
                                            </p:txEl>
                                          </p:spTgt>
                                        </p:tgtEl>
                                        <p:attrNameLst>
                                          <p:attrName>style.visibility</p:attrName>
                                        </p:attrNameLst>
                                      </p:cBhvr>
                                      <p:to>
                                        <p:strVal val="visible"/>
                                      </p:to>
                                    </p:set>
                                    <p:animEffect transition="in" filter="fade">
                                      <p:cBhvr>
                                        <p:cTn id="67" dur="500"/>
                                        <p:tgtEl>
                                          <p:spTgt spid="19">
                                            <p:txEl>
                                              <p:pRg st="5" end="5"/>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9">
                                            <p:txEl>
                                              <p:pRg st="6" end="6"/>
                                            </p:txEl>
                                          </p:spTgt>
                                        </p:tgtEl>
                                        <p:attrNameLst>
                                          <p:attrName>style.visibility</p:attrName>
                                        </p:attrNameLst>
                                      </p:cBhvr>
                                      <p:to>
                                        <p:strVal val="visible"/>
                                      </p:to>
                                    </p:set>
                                    <p:animEffect transition="in" filter="fade">
                                      <p:cBhvr>
                                        <p:cTn id="72" dur="500"/>
                                        <p:tgtEl>
                                          <p:spTgt spid="1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9" grpId="0" uiExpand="1" build="p"/>
      <p:bldP spid="3" grpId="0" build="p"/>
      <p:bldP spid="1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solidFill>
        </p:spPr>
        <p:txBody>
          <a:bodyPr/>
          <a:lstStyle/>
          <a:p>
            <a:r>
              <a:rPr lang="en-US"/>
              <a:t>Company X Profile </a:t>
            </a:r>
            <a:endParaRPr lang="en-US" dirty="0"/>
          </a:p>
        </p:txBody>
      </p:sp>
      <p:sp>
        <p:nvSpPr>
          <p:cNvPr id="8"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pyright © 2016 BY Software Group, Inc. Confidential</a:t>
            </a:r>
          </a:p>
        </p:txBody>
      </p:sp>
    </p:spTree>
    <p:extLst>
      <p:ext uri="{BB962C8B-B14F-4D97-AF65-F5344CB8AC3E}">
        <p14:creationId xmlns:p14="http://schemas.microsoft.com/office/powerpoint/2010/main" val="12475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rocess Map</a:t>
            </a: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3093" y="1169578"/>
            <a:ext cx="8185519" cy="5366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219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ategory Review Process</a:t>
            </a:r>
          </a:p>
        </p:txBody>
      </p:sp>
      <p:sp>
        <p:nvSpPr>
          <p:cNvPr id="17" name="Freeform 16"/>
          <p:cNvSpPr/>
          <p:nvPr/>
        </p:nvSpPr>
        <p:spPr>
          <a:xfrm>
            <a:off x="7104993" y="4056993"/>
            <a:ext cx="3037490" cy="1404006"/>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0" tIns="403218" rIns="78098" bIns="78096" numCol="1" spcCol="1270" anchor="b" anchorCtr="0">
            <a:noAutofit/>
          </a:bodyPr>
          <a:lstStyle/>
          <a:p>
            <a:pPr marL="57150" lvl="1" indent="-57150" defTabSz="444500">
              <a:lnSpc>
                <a:spcPct val="90000"/>
              </a:lnSpc>
              <a:spcBef>
                <a:spcPct val="0"/>
              </a:spcBef>
              <a:spcAft>
                <a:spcPct val="15000"/>
              </a:spcAft>
              <a:buChar char="••"/>
            </a:pPr>
            <a:r>
              <a:rPr lang="en-US" sz="1050" dirty="0"/>
              <a:t>Category Strategies</a:t>
            </a:r>
          </a:p>
          <a:p>
            <a:pPr marL="57150" lvl="1" indent="-57150" defTabSz="444500">
              <a:lnSpc>
                <a:spcPct val="90000"/>
              </a:lnSpc>
              <a:spcBef>
                <a:spcPct val="0"/>
              </a:spcBef>
              <a:spcAft>
                <a:spcPct val="15000"/>
              </a:spcAft>
              <a:buChar char="••"/>
            </a:pPr>
            <a:r>
              <a:rPr lang="en-US" sz="1050" dirty="0"/>
              <a:t>Category Tactics</a:t>
            </a:r>
          </a:p>
          <a:p>
            <a:pPr marL="57150" lvl="1" indent="-57150" defTabSz="444500">
              <a:lnSpc>
                <a:spcPct val="90000"/>
              </a:lnSpc>
              <a:spcBef>
                <a:spcPct val="0"/>
              </a:spcBef>
              <a:spcAft>
                <a:spcPct val="15000"/>
              </a:spcAft>
              <a:buFontTx/>
              <a:buChar char="••"/>
            </a:pPr>
            <a:r>
              <a:rPr lang="en-US" sz="1050" dirty="0"/>
              <a:t>Create Action plan</a:t>
            </a:r>
          </a:p>
          <a:p>
            <a:pPr marL="57150" lvl="1" indent="-57150" defTabSz="444500">
              <a:lnSpc>
                <a:spcPct val="90000"/>
              </a:lnSpc>
              <a:spcBef>
                <a:spcPct val="0"/>
              </a:spcBef>
              <a:spcAft>
                <a:spcPct val="15000"/>
              </a:spcAft>
              <a:buFontTx/>
              <a:buChar char="••"/>
            </a:pPr>
            <a:r>
              <a:rPr lang="en-US" sz="1050" dirty="0"/>
              <a:t>Cluster stores</a:t>
            </a:r>
          </a:p>
          <a:p>
            <a:pPr marL="57150" lvl="1" indent="-57150" defTabSz="444500">
              <a:lnSpc>
                <a:spcPct val="90000"/>
              </a:lnSpc>
              <a:spcBef>
                <a:spcPct val="0"/>
              </a:spcBef>
              <a:spcAft>
                <a:spcPct val="15000"/>
              </a:spcAft>
              <a:buFontTx/>
              <a:buChar char="••"/>
            </a:pPr>
            <a:r>
              <a:rPr lang="en-US" sz="1050" dirty="0"/>
              <a:t>Create assortments</a:t>
            </a:r>
          </a:p>
          <a:p>
            <a:pPr marL="57150" lvl="1" indent="-57150" defTabSz="444500">
              <a:lnSpc>
                <a:spcPct val="90000"/>
              </a:lnSpc>
              <a:spcBef>
                <a:spcPct val="0"/>
              </a:spcBef>
              <a:spcAft>
                <a:spcPct val="15000"/>
              </a:spcAft>
              <a:buChar char="••"/>
            </a:pPr>
            <a:r>
              <a:rPr lang="en-US" sz="1050" dirty="0"/>
              <a:t>Includes input from analysts, merchants, vendors, suppliers, partners, etc.</a:t>
            </a:r>
          </a:p>
        </p:txBody>
      </p:sp>
      <p:sp>
        <p:nvSpPr>
          <p:cNvPr id="18" name="Freeform 17"/>
          <p:cNvSpPr/>
          <p:nvPr/>
        </p:nvSpPr>
        <p:spPr>
          <a:xfrm>
            <a:off x="1981201" y="4016529"/>
            <a:ext cx="3316014" cy="1444470"/>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097" tIns="403218" rIns="680382" bIns="78096" numCol="1" spcCol="1270" anchor="b" anchorCtr="0">
            <a:noAutofit/>
          </a:bodyPr>
          <a:lstStyle/>
          <a:p>
            <a:pPr marL="57150" lvl="1" indent="-57150" defTabSz="444500">
              <a:lnSpc>
                <a:spcPct val="90000"/>
              </a:lnSpc>
              <a:spcBef>
                <a:spcPct val="0"/>
              </a:spcBef>
              <a:spcAft>
                <a:spcPct val="15000"/>
              </a:spcAft>
              <a:buFontTx/>
              <a:buChar char="••"/>
            </a:pPr>
            <a:r>
              <a:rPr lang="en-US" sz="1200" dirty="0"/>
              <a:t>Uses the Reset Calendar &amp; Timeline</a:t>
            </a:r>
          </a:p>
          <a:p>
            <a:pPr marL="57150" lvl="1" indent="-57150" defTabSz="444500">
              <a:lnSpc>
                <a:spcPct val="90000"/>
              </a:lnSpc>
              <a:spcBef>
                <a:spcPct val="0"/>
              </a:spcBef>
              <a:spcAft>
                <a:spcPct val="15000"/>
              </a:spcAft>
              <a:buChar char="••"/>
            </a:pPr>
            <a:r>
              <a:rPr lang="en-US" sz="1200" dirty="0"/>
              <a:t>Implement action plan</a:t>
            </a:r>
          </a:p>
          <a:p>
            <a:pPr marL="57150" lvl="1" indent="-57150" defTabSz="444500">
              <a:lnSpc>
                <a:spcPct val="90000"/>
              </a:lnSpc>
              <a:spcBef>
                <a:spcPct val="0"/>
              </a:spcBef>
              <a:spcAft>
                <a:spcPct val="15000"/>
              </a:spcAft>
              <a:buChar char="••"/>
            </a:pPr>
            <a:r>
              <a:rPr lang="en-US" sz="1200" dirty="0"/>
              <a:t>Set planograms in stores</a:t>
            </a:r>
          </a:p>
          <a:p>
            <a:pPr marL="57150" lvl="1" indent="-57150" defTabSz="444500">
              <a:lnSpc>
                <a:spcPct val="90000"/>
              </a:lnSpc>
              <a:spcBef>
                <a:spcPct val="0"/>
              </a:spcBef>
              <a:spcAft>
                <a:spcPct val="15000"/>
              </a:spcAft>
              <a:buChar char="••"/>
            </a:pPr>
            <a:r>
              <a:rPr lang="en-US" sz="1200" dirty="0"/>
              <a:t>Reset floorplans</a:t>
            </a:r>
          </a:p>
        </p:txBody>
      </p:sp>
      <p:sp>
        <p:nvSpPr>
          <p:cNvPr id="19" name="Freeform 18"/>
          <p:cNvSpPr/>
          <p:nvPr/>
        </p:nvSpPr>
        <p:spPr>
          <a:xfrm>
            <a:off x="6999891" y="1397000"/>
            <a:ext cx="3142593" cy="1587938"/>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0" tIns="78097" rIns="78098" bIns="403217" numCol="1" spcCol="1270" anchor="t" anchorCtr="0">
            <a:noAutofit/>
          </a:bodyPr>
          <a:lstStyle/>
          <a:p>
            <a:pPr marL="57150" lvl="1" indent="-57150" defTabSz="444500">
              <a:lnSpc>
                <a:spcPct val="90000"/>
              </a:lnSpc>
              <a:spcBef>
                <a:spcPct val="0"/>
              </a:spcBef>
              <a:spcAft>
                <a:spcPct val="15000"/>
              </a:spcAft>
              <a:buChar char="••"/>
            </a:pPr>
            <a:r>
              <a:rPr lang="en-US" sz="1000" dirty="0"/>
              <a:t>Products by category</a:t>
            </a:r>
          </a:p>
          <a:p>
            <a:pPr marL="57150" lvl="1" indent="-57150" defTabSz="444500">
              <a:lnSpc>
                <a:spcPct val="90000"/>
              </a:lnSpc>
              <a:spcBef>
                <a:spcPct val="0"/>
              </a:spcBef>
              <a:spcAft>
                <a:spcPct val="15000"/>
              </a:spcAft>
              <a:buChar char="••"/>
            </a:pPr>
            <a:r>
              <a:rPr lang="en-US" sz="1000" dirty="0"/>
              <a:t>Product roles w/in company</a:t>
            </a:r>
          </a:p>
          <a:p>
            <a:pPr marL="57150" lvl="1" indent="-57150" defTabSz="444500">
              <a:lnSpc>
                <a:spcPct val="90000"/>
              </a:lnSpc>
              <a:spcBef>
                <a:spcPct val="0"/>
              </a:spcBef>
              <a:spcAft>
                <a:spcPct val="15000"/>
              </a:spcAft>
              <a:buChar char="••"/>
            </a:pPr>
            <a:r>
              <a:rPr lang="en-US" sz="1000" dirty="0"/>
              <a:t>Product intent / forward strategy</a:t>
            </a:r>
          </a:p>
          <a:p>
            <a:pPr marL="57150" lvl="1" indent="-57150" defTabSz="444500">
              <a:lnSpc>
                <a:spcPct val="90000"/>
              </a:lnSpc>
              <a:spcBef>
                <a:spcPct val="0"/>
              </a:spcBef>
              <a:spcAft>
                <a:spcPct val="15000"/>
              </a:spcAft>
              <a:buChar char="••"/>
            </a:pPr>
            <a:r>
              <a:rPr lang="en-US" sz="1000" dirty="0"/>
              <a:t>SWOT analysis</a:t>
            </a:r>
          </a:p>
          <a:p>
            <a:pPr marL="57150" lvl="1" indent="-57150" defTabSz="444500">
              <a:lnSpc>
                <a:spcPct val="90000"/>
              </a:lnSpc>
              <a:spcBef>
                <a:spcPct val="0"/>
              </a:spcBef>
              <a:spcAft>
                <a:spcPct val="15000"/>
              </a:spcAft>
              <a:buFontTx/>
              <a:buChar char="••"/>
            </a:pPr>
            <a:r>
              <a:rPr lang="en-US" sz="1000" dirty="0"/>
              <a:t>Business objectives (qualitative and quantitative)</a:t>
            </a:r>
          </a:p>
          <a:p>
            <a:pPr marL="57150" lvl="1" indent="-57150" defTabSz="444500">
              <a:lnSpc>
                <a:spcPct val="90000"/>
              </a:lnSpc>
              <a:spcBef>
                <a:spcPct val="0"/>
              </a:spcBef>
              <a:spcAft>
                <a:spcPct val="15000"/>
              </a:spcAft>
              <a:buChar char="••"/>
            </a:pPr>
            <a:r>
              <a:rPr lang="en-US" sz="1000" dirty="0"/>
              <a:t>Success criteria by category</a:t>
            </a:r>
          </a:p>
          <a:p>
            <a:pPr marL="57150" lvl="1" indent="-57150" defTabSz="444500">
              <a:lnSpc>
                <a:spcPct val="90000"/>
              </a:lnSpc>
              <a:spcBef>
                <a:spcPct val="0"/>
              </a:spcBef>
              <a:spcAft>
                <a:spcPct val="15000"/>
              </a:spcAft>
              <a:buChar char="••"/>
            </a:pPr>
            <a:r>
              <a:rPr lang="en-US" sz="1050" dirty="0"/>
              <a:t>Merchandising Standards &amp; Guidelines</a:t>
            </a:r>
          </a:p>
          <a:p>
            <a:pPr marL="57150" lvl="1" indent="-57150" defTabSz="444500">
              <a:lnSpc>
                <a:spcPct val="90000"/>
              </a:lnSpc>
              <a:spcBef>
                <a:spcPct val="0"/>
              </a:spcBef>
              <a:spcAft>
                <a:spcPct val="15000"/>
              </a:spcAft>
              <a:buFontTx/>
              <a:buChar char="••"/>
            </a:pPr>
            <a:endParaRPr lang="en-US" sz="1050" dirty="0"/>
          </a:p>
          <a:p>
            <a:pPr marL="57150" lvl="1" indent="-57150" defTabSz="444500">
              <a:lnSpc>
                <a:spcPct val="90000"/>
              </a:lnSpc>
              <a:spcBef>
                <a:spcPct val="0"/>
              </a:spcBef>
              <a:spcAft>
                <a:spcPct val="15000"/>
              </a:spcAft>
              <a:buChar char="••"/>
            </a:pPr>
            <a:endParaRPr lang="en-US" sz="1050" dirty="0"/>
          </a:p>
        </p:txBody>
      </p:sp>
      <p:sp>
        <p:nvSpPr>
          <p:cNvPr id="20" name="Freeform 19"/>
          <p:cNvSpPr/>
          <p:nvPr/>
        </p:nvSpPr>
        <p:spPr>
          <a:xfrm>
            <a:off x="2003592" y="1397000"/>
            <a:ext cx="3293623" cy="1587938"/>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097" tIns="78097" rIns="680382" bIns="403217" numCol="1" spcCol="1270" anchor="t" anchorCtr="0">
            <a:noAutofit/>
          </a:bodyPr>
          <a:lstStyle/>
          <a:p>
            <a:pPr marL="57150" lvl="1" indent="-57150" defTabSz="444500">
              <a:lnSpc>
                <a:spcPct val="90000"/>
              </a:lnSpc>
              <a:spcBef>
                <a:spcPct val="0"/>
              </a:spcBef>
              <a:spcAft>
                <a:spcPct val="15000"/>
              </a:spcAft>
              <a:buChar char="••"/>
            </a:pPr>
            <a:r>
              <a:rPr lang="en-US" sz="1200" dirty="0"/>
              <a:t>Current / present state</a:t>
            </a:r>
          </a:p>
          <a:p>
            <a:pPr marL="57150" lvl="1" indent="-57150" defTabSz="444500">
              <a:lnSpc>
                <a:spcPct val="90000"/>
              </a:lnSpc>
              <a:spcBef>
                <a:spcPct val="0"/>
              </a:spcBef>
              <a:spcAft>
                <a:spcPct val="15000"/>
              </a:spcAft>
              <a:buChar char="••"/>
            </a:pPr>
            <a:r>
              <a:rPr lang="en-US" sz="1200" dirty="0"/>
              <a:t>Measure results</a:t>
            </a:r>
          </a:p>
          <a:p>
            <a:pPr marL="57150" lvl="1" indent="-57150" defTabSz="444500">
              <a:lnSpc>
                <a:spcPct val="90000"/>
              </a:lnSpc>
              <a:spcBef>
                <a:spcPct val="0"/>
              </a:spcBef>
              <a:spcAft>
                <a:spcPct val="15000"/>
              </a:spcAft>
              <a:buChar char="••"/>
            </a:pPr>
            <a:r>
              <a:rPr lang="en-US" sz="1200" dirty="0"/>
              <a:t>Monitor performance</a:t>
            </a:r>
          </a:p>
          <a:p>
            <a:pPr marL="57150" lvl="1" indent="-57150" defTabSz="444500">
              <a:lnSpc>
                <a:spcPct val="90000"/>
              </a:lnSpc>
              <a:spcBef>
                <a:spcPct val="0"/>
              </a:spcBef>
              <a:spcAft>
                <a:spcPct val="15000"/>
              </a:spcAft>
              <a:buFontTx/>
              <a:buChar char="••"/>
            </a:pPr>
            <a:r>
              <a:rPr lang="en-US" sz="1200" dirty="0"/>
              <a:t>Data Analysis</a:t>
            </a:r>
          </a:p>
          <a:p>
            <a:pPr marL="57150" lvl="1" indent="-57150" defTabSz="444500">
              <a:lnSpc>
                <a:spcPct val="90000"/>
              </a:lnSpc>
              <a:spcBef>
                <a:spcPct val="0"/>
              </a:spcBef>
              <a:spcAft>
                <a:spcPct val="15000"/>
              </a:spcAft>
              <a:buFontTx/>
              <a:buChar char="••"/>
            </a:pPr>
            <a:r>
              <a:rPr lang="en-US" sz="1200" dirty="0"/>
              <a:t>Test Results</a:t>
            </a:r>
          </a:p>
          <a:p>
            <a:pPr marL="57150" lvl="1" indent="-57150" defTabSz="444500">
              <a:lnSpc>
                <a:spcPct val="90000"/>
              </a:lnSpc>
              <a:spcBef>
                <a:spcPct val="0"/>
              </a:spcBef>
              <a:spcAft>
                <a:spcPct val="15000"/>
              </a:spcAft>
              <a:buFontTx/>
              <a:buChar char="••"/>
            </a:pPr>
            <a:endParaRPr lang="en-US" sz="1000" dirty="0"/>
          </a:p>
          <a:p>
            <a:pPr marL="57150" lvl="1" indent="-57150" defTabSz="444500">
              <a:lnSpc>
                <a:spcPct val="90000"/>
              </a:lnSpc>
              <a:spcBef>
                <a:spcPct val="0"/>
              </a:spcBef>
              <a:spcAft>
                <a:spcPct val="15000"/>
              </a:spcAft>
              <a:buChar char="••"/>
            </a:pPr>
            <a:endParaRPr lang="en-US" sz="1000" dirty="0"/>
          </a:p>
        </p:txBody>
      </p:sp>
      <p:sp>
        <p:nvSpPr>
          <p:cNvPr id="21" name="Freeform 20"/>
          <p:cNvSpPr/>
          <p:nvPr/>
        </p:nvSpPr>
        <p:spPr>
          <a:xfrm>
            <a:off x="4295648"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1759712"/>
                </a:moveTo>
                <a:cubicBezTo>
                  <a:pt x="0" y="787850"/>
                  <a:pt x="787850" y="0"/>
                  <a:pt x="1759712" y="0"/>
                </a:cubicBezTo>
                <a:lnTo>
                  <a:pt x="1759712" y="1759712"/>
                </a:lnTo>
                <a:lnTo>
                  <a:pt x="0" y="1759712"/>
                </a:lnTo>
                <a:close/>
              </a:path>
            </a:pathLst>
          </a:custGeom>
          <a:solidFill>
            <a:srgbClr val="78AA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6312" tIns="636312" rIns="120904" bIns="120904" numCol="1" spcCol="1270" anchor="ctr" anchorCtr="0">
            <a:noAutofit/>
          </a:bodyPr>
          <a:lstStyle/>
          <a:p>
            <a:pPr algn="ctr" defTabSz="755650">
              <a:lnSpc>
                <a:spcPct val="90000"/>
              </a:lnSpc>
              <a:spcBef>
                <a:spcPct val="0"/>
              </a:spcBef>
              <a:spcAft>
                <a:spcPct val="35000"/>
              </a:spcAft>
            </a:pPr>
            <a:r>
              <a:rPr lang="en-US" sz="1700" dirty="0"/>
              <a:t>Review</a:t>
            </a:r>
          </a:p>
        </p:txBody>
      </p:sp>
      <p:sp>
        <p:nvSpPr>
          <p:cNvPr id="22" name="Freeform 21"/>
          <p:cNvSpPr/>
          <p:nvPr/>
        </p:nvSpPr>
        <p:spPr>
          <a:xfrm>
            <a:off x="6136640" y="1628647"/>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0"/>
                </a:moveTo>
                <a:cubicBezTo>
                  <a:pt x="971862" y="0"/>
                  <a:pt x="1759712" y="787850"/>
                  <a:pt x="1759712" y="1759712"/>
                </a:cubicBezTo>
                <a:lnTo>
                  <a:pt x="0" y="1759712"/>
                </a:lnTo>
                <a:lnTo>
                  <a:pt x="0" y="0"/>
                </a:lnTo>
                <a:close/>
              </a:path>
            </a:pathLst>
          </a:custGeom>
          <a:solidFill>
            <a:srgbClr val="8F1A9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0904" tIns="636312" rIns="636312" bIns="120904" numCol="1" spcCol="1270" anchor="ctr" anchorCtr="0">
            <a:noAutofit/>
          </a:bodyPr>
          <a:lstStyle/>
          <a:p>
            <a:pPr algn="ctr" defTabSz="755650">
              <a:lnSpc>
                <a:spcPct val="90000"/>
              </a:lnSpc>
              <a:spcBef>
                <a:spcPct val="0"/>
              </a:spcBef>
              <a:spcAft>
                <a:spcPct val="35000"/>
              </a:spcAft>
            </a:pPr>
            <a:r>
              <a:rPr lang="en-US" sz="1700" dirty="0"/>
              <a:t>Define</a:t>
            </a:r>
          </a:p>
        </p:txBody>
      </p:sp>
      <p:sp>
        <p:nvSpPr>
          <p:cNvPr id="23" name="Freeform 22"/>
          <p:cNvSpPr/>
          <p:nvPr/>
        </p:nvSpPr>
        <p:spPr>
          <a:xfrm>
            <a:off x="6136640" y="3469640"/>
            <a:ext cx="1759712" cy="1759713"/>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0"/>
                </a:moveTo>
                <a:cubicBezTo>
                  <a:pt x="1759712" y="971862"/>
                  <a:pt x="971862" y="1759712"/>
                  <a:pt x="0" y="1759712"/>
                </a:cubicBezTo>
                <a:lnTo>
                  <a:pt x="0" y="0"/>
                </a:lnTo>
                <a:lnTo>
                  <a:pt x="1759712" y="0"/>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0904" tIns="120905" rIns="636312" bIns="636312" numCol="1" spcCol="1270" anchor="ctr" anchorCtr="0">
            <a:noAutofit/>
          </a:bodyPr>
          <a:lstStyle/>
          <a:p>
            <a:pPr algn="ctr" defTabSz="755650">
              <a:lnSpc>
                <a:spcPct val="90000"/>
              </a:lnSpc>
              <a:spcBef>
                <a:spcPct val="0"/>
              </a:spcBef>
              <a:spcAft>
                <a:spcPct val="35000"/>
              </a:spcAft>
            </a:pPr>
            <a:r>
              <a:rPr lang="en-US" sz="1700" dirty="0"/>
              <a:t>Plan</a:t>
            </a:r>
          </a:p>
        </p:txBody>
      </p:sp>
      <p:sp>
        <p:nvSpPr>
          <p:cNvPr id="24" name="Freeform 23"/>
          <p:cNvSpPr/>
          <p:nvPr/>
        </p:nvSpPr>
        <p:spPr>
          <a:xfrm>
            <a:off x="4295648" y="3469640"/>
            <a:ext cx="1759712" cy="1759712"/>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1759712"/>
                </a:moveTo>
                <a:cubicBezTo>
                  <a:pt x="787850" y="1759712"/>
                  <a:pt x="0" y="971862"/>
                  <a:pt x="0" y="0"/>
                </a:cubicBezTo>
                <a:lnTo>
                  <a:pt x="1759712" y="0"/>
                </a:lnTo>
                <a:lnTo>
                  <a:pt x="1759712" y="1759712"/>
                </a:lnTo>
                <a:close/>
              </a:path>
            </a:pathLst>
          </a:custGeom>
          <a:solidFill>
            <a:srgbClr val="FF6A1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6312" tIns="120904" rIns="120903" bIns="636312" numCol="1" spcCol="1270" anchor="ctr" anchorCtr="0">
            <a:noAutofit/>
          </a:bodyPr>
          <a:lstStyle/>
          <a:p>
            <a:pPr algn="ctr" defTabSz="755650">
              <a:lnSpc>
                <a:spcPct val="90000"/>
              </a:lnSpc>
              <a:spcBef>
                <a:spcPct val="0"/>
              </a:spcBef>
              <a:spcAft>
                <a:spcPct val="35000"/>
              </a:spcAft>
            </a:pPr>
            <a:r>
              <a:rPr lang="en-US" sz="1700" dirty="0"/>
              <a:t>Implement</a:t>
            </a:r>
          </a:p>
        </p:txBody>
      </p:sp>
      <p:sp>
        <p:nvSpPr>
          <p:cNvPr id="25" name="Circular Arrow 24"/>
          <p:cNvSpPr/>
          <p:nvPr/>
        </p:nvSpPr>
        <p:spPr>
          <a:xfrm>
            <a:off x="5792216" y="3063240"/>
            <a:ext cx="607568" cy="528320"/>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6" name="Circular Arrow 25"/>
          <p:cNvSpPr/>
          <p:nvPr/>
        </p:nvSpPr>
        <p:spPr>
          <a:xfrm rot="10800000">
            <a:off x="5792216" y="3266440"/>
            <a:ext cx="607568" cy="528320"/>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92409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pace Planning Process</a:t>
            </a:r>
          </a:p>
        </p:txBody>
      </p:sp>
      <p:sp>
        <p:nvSpPr>
          <p:cNvPr id="6" name="Content Placeholder 5"/>
          <p:cNvSpPr>
            <a:spLocks noGrp="1"/>
          </p:cNvSpPr>
          <p:nvPr>
            <p:ph idx="1"/>
          </p:nvPr>
        </p:nvSpPr>
        <p:spPr/>
        <p:txBody>
          <a:bodyPr/>
          <a:lstStyle/>
          <a:p>
            <a:r>
              <a:rPr lang="en-US" b="1" dirty="0">
                <a:solidFill>
                  <a:schemeClr val="accent6"/>
                </a:solidFill>
              </a:rPr>
              <a:t>Define</a:t>
            </a:r>
            <a:r>
              <a:rPr lang="en-US" dirty="0"/>
              <a:t> – Items and categories are defined and assigned to category managers</a:t>
            </a:r>
          </a:p>
          <a:p>
            <a:r>
              <a:rPr lang="en-US" b="1" dirty="0">
                <a:solidFill>
                  <a:schemeClr val="accent6"/>
                </a:solidFill>
              </a:rPr>
              <a:t>Define</a:t>
            </a:r>
            <a:r>
              <a:rPr lang="en-US" dirty="0"/>
              <a:t> – Planograms are defined</a:t>
            </a:r>
          </a:p>
          <a:p>
            <a:r>
              <a:rPr lang="en-US" b="1" dirty="0">
                <a:solidFill>
                  <a:schemeClr val="accent1"/>
                </a:solidFill>
              </a:rPr>
              <a:t>Plan</a:t>
            </a:r>
            <a:r>
              <a:rPr lang="en-US" dirty="0"/>
              <a:t> – Organize placement of items to be visually appealing to the consumer</a:t>
            </a:r>
          </a:p>
          <a:p>
            <a:r>
              <a:rPr lang="en-US" b="1" dirty="0">
                <a:solidFill>
                  <a:schemeClr val="accent3"/>
                </a:solidFill>
              </a:rPr>
              <a:t>Implement</a:t>
            </a:r>
            <a:r>
              <a:rPr lang="en-US" dirty="0"/>
              <a:t> – Set the planograms in the stores</a:t>
            </a:r>
          </a:p>
          <a:p>
            <a:r>
              <a:rPr lang="en-US" b="1" dirty="0">
                <a:solidFill>
                  <a:schemeClr val="accent4"/>
                </a:solidFill>
              </a:rPr>
              <a:t>Review</a:t>
            </a:r>
            <a:r>
              <a:rPr lang="en-US" dirty="0"/>
              <a:t> – Review and analyze the assortments to determine if they are meeting the merchandising strategies</a:t>
            </a:r>
          </a:p>
          <a:p>
            <a:r>
              <a:rPr lang="en-US" b="1" dirty="0">
                <a:solidFill>
                  <a:schemeClr val="accent4"/>
                </a:solidFill>
              </a:rPr>
              <a:t>Review</a:t>
            </a:r>
            <a:r>
              <a:rPr lang="en-US" dirty="0"/>
              <a:t> – Review planogram regularly to make sure inventory and space investment is producing desired sales and margins</a:t>
            </a:r>
          </a:p>
          <a:p>
            <a:endParaRPr lang="en-US" dirty="0"/>
          </a:p>
        </p:txBody>
      </p:sp>
    </p:spTree>
    <p:extLst>
      <p:ext uri="{BB962C8B-B14F-4D97-AF65-F5344CB8AC3E}">
        <p14:creationId xmlns:p14="http://schemas.microsoft.com/office/powerpoint/2010/main" val="7622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Processes Pre Merchandising </a:t>
            </a:r>
          </a:p>
        </p:txBody>
      </p:sp>
      <p:sp>
        <p:nvSpPr>
          <p:cNvPr id="9" name="Content Placeholder 8"/>
          <p:cNvSpPr>
            <a:spLocks noGrp="1"/>
          </p:cNvSpPr>
          <p:nvPr>
            <p:ph idx="1"/>
          </p:nvPr>
        </p:nvSpPr>
        <p:spPr/>
        <p:txBody>
          <a:bodyPr/>
          <a:lstStyle/>
          <a:p>
            <a:pPr>
              <a:lnSpc>
                <a:spcPct val="150000"/>
              </a:lnSpc>
            </a:pPr>
            <a:r>
              <a:rPr lang="en-US" dirty="0"/>
              <a:t>Product Creation</a:t>
            </a:r>
          </a:p>
          <a:p>
            <a:pPr lvl="1">
              <a:lnSpc>
                <a:spcPct val="150000"/>
              </a:lnSpc>
            </a:pPr>
            <a:r>
              <a:rPr lang="en-US" dirty="0"/>
              <a:t>New item authorizations</a:t>
            </a:r>
          </a:p>
          <a:p>
            <a:pPr lvl="1">
              <a:lnSpc>
                <a:spcPct val="150000"/>
              </a:lnSpc>
            </a:pPr>
            <a:r>
              <a:rPr lang="en-US" dirty="0"/>
              <a:t>Discontinued item authorizations</a:t>
            </a:r>
          </a:p>
          <a:p>
            <a:pPr>
              <a:lnSpc>
                <a:spcPct val="150000"/>
              </a:lnSpc>
            </a:pPr>
            <a:r>
              <a:rPr lang="en-US" dirty="0"/>
              <a:t>Planogram Fixture Creation</a:t>
            </a:r>
          </a:p>
          <a:p>
            <a:pPr>
              <a:lnSpc>
                <a:spcPct val="150000"/>
              </a:lnSpc>
            </a:pPr>
            <a:r>
              <a:rPr lang="en-US" dirty="0"/>
              <a:t>Assortment Creation</a:t>
            </a:r>
          </a:p>
          <a:p>
            <a:pPr lvl="1">
              <a:lnSpc>
                <a:spcPct val="150000"/>
              </a:lnSpc>
            </a:pPr>
            <a:r>
              <a:rPr lang="en-US" dirty="0"/>
              <a:t>Major</a:t>
            </a:r>
          </a:p>
          <a:p>
            <a:pPr lvl="1">
              <a:lnSpc>
                <a:spcPct val="150000"/>
              </a:lnSpc>
            </a:pPr>
            <a:r>
              <a:rPr lang="en-US" dirty="0"/>
              <a:t>Minor</a:t>
            </a:r>
          </a:p>
        </p:txBody>
      </p:sp>
      <p:sp>
        <p:nvSpPr>
          <p:cNvPr id="5" name="Rectangle 4"/>
          <p:cNvSpPr/>
          <p:nvPr/>
        </p:nvSpPr>
        <p:spPr>
          <a:xfrm rot="2700000">
            <a:off x="7430155" y="2537477"/>
            <a:ext cx="1783042" cy="17830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6"/>
          <p:cNvSpPr>
            <a:spLocks noEditPoints="1"/>
          </p:cNvSpPr>
          <p:nvPr/>
        </p:nvSpPr>
        <p:spPr bwMode="auto">
          <a:xfrm>
            <a:off x="7676143" y="2805377"/>
            <a:ext cx="1291066" cy="1149966"/>
          </a:xfrm>
          <a:custGeom>
            <a:avLst/>
            <a:gdLst>
              <a:gd name="T0" fmla="*/ 284 w 366"/>
              <a:gd name="T1" fmla="*/ 0 h 326"/>
              <a:gd name="T2" fmla="*/ 144 w 366"/>
              <a:gd name="T3" fmla="*/ 6 h 326"/>
              <a:gd name="T4" fmla="*/ 122 w 366"/>
              <a:gd name="T5" fmla="*/ 60 h 326"/>
              <a:gd name="T6" fmla="*/ 122 w 366"/>
              <a:gd name="T7" fmla="*/ 32 h 326"/>
              <a:gd name="T8" fmla="*/ 100 w 366"/>
              <a:gd name="T9" fmla="*/ 10 h 326"/>
              <a:gd name="T10" fmla="*/ 76 w 366"/>
              <a:gd name="T11" fmla="*/ 8 h 326"/>
              <a:gd name="T12" fmla="*/ 50 w 366"/>
              <a:gd name="T13" fmla="*/ 24 h 326"/>
              <a:gd name="T14" fmla="*/ 42 w 366"/>
              <a:gd name="T15" fmla="*/ 48 h 326"/>
              <a:gd name="T16" fmla="*/ 18 w 366"/>
              <a:gd name="T17" fmla="*/ 88 h 326"/>
              <a:gd name="T18" fmla="*/ 264 w 366"/>
              <a:gd name="T19" fmla="*/ 70 h 326"/>
              <a:gd name="T20" fmla="*/ 208 w 366"/>
              <a:gd name="T21" fmla="*/ 70 h 326"/>
              <a:gd name="T22" fmla="*/ 62 w 366"/>
              <a:gd name="T23" fmla="*/ 48 h 326"/>
              <a:gd name="T24" fmla="*/ 84 w 366"/>
              <a:gd name="T25" fmla="*/ 24 h 326"/>
              <a:gd name="T26" fmla="*/ 104 w 366"/>
              <a:gd name="T27" fmla="*/ 38 h 326"/>
              <a:gd name="T28" fmla="*/ 100 w 366"/>
              <a:gd name="T29" fmla="*/ 64 h 326"/>
              <a:gd name="T30" fmla="*/ 74 w 366"/>
              <a:gd name="T31" fmla="*/ 68 h 326"/>
              <a:gd name="T32" fmla="*/ 62 w 366"/>
              <a:gd name="T33" fmla="*/ 48 h 326"/>
              <a:gd name="T34" fmla="*/ 226 w 366"/>
              <a:gd name="T35" fmla="*/ 244 h 326"/>
              <a:gd name="T36" fmla="*/ 118 w 366"/>
              <a:gd name="T37" fmla="*/ 308 h 326"/>
              <a:gd name="T38" fmla="*/ 124 w 366"/>
              <a:gd name="T39" fmla="*/ 276 h 326"/>
              <a:gd name="T40" fmla="*/ 106 w 366"/>
              <a:gd name="T41" fmla="*/ 252 h 326"/>
              <a:gd name="T42" fmla="*/ 84 w 366"/>
              <a:gd name="T43" fmla="*/ 244 h 326"/>
              <a:gd name="T44" fmla="*/ 54 w 366"/>
              <a:gd name="T45" fmla="*/ 256 h 326"/>
              <a:gd name="T46" fmla="*/ 42 w 366"/>
              <a:gd name="T47" fmla="*/ 286 h 326"/>
              <a:gd name="T48" fmla="*/ 18 w 366"/>
              <a:gd name="T49" fmla="*/ 308 h 326"/>
              <a:gd name="T50" fmla="*/ 324 w 366"/>
              <a:gd name="T51" fmla="*/ 308 h 326"/>
              <a:gd name="T52" fmla="*/ 264 w 366"/>
              <a:gd name="T53" fmla="*/ 308 h 326"/>
              <a:gd name="T54" fmla="*/ 208 w 366"/>
              <a:gd name="T55" fmla="*/ 308 h 326"/>
              <a:gd name="T56" fmla="*/ 84 w 366"/>
              <a:gd name="T57" fmla="*/ 262 h 326"/>
              <a:gd name="T58" fmla="*/ 106 w 366"/>
              <a:gd name="T59" fmla="*/ 286 h 326"/>
              <a:gd name="T60" fmla="*/ 92 w 366"/>
              <a:gd name="T61" fmla="*/ 306 h 326"/>
              <a:gd name="T62" fmla="*/ 68 w 366"/>
              <a:gd name="T63" fmla="*/ 302 h 326"/>
              <a:gd name="T64" fmla="*/ 62 w 366"/>
              <a:gd name="T65" fmla="*/ 276 h 326"/>
              <a:gd name="T66" fmla="*/ 84 w 366"/>
              <a:gd name="T67" fmla="*/ 262 h 326"/>
              <a:gd name="T68" fmla="*/ 226 w 366"/>
              <a:gd name="T69" fmla="*/ 190 h 326"/>
              <a:gd name="T70" fmla="*/ 118 w 366"/>
              <a:gd name="T71" fmla="*/ 190 h 326"/>
              <a:gd name="T72" fmla="*/ 124 w 366"/>
              <a:gd name="T73" fmla="*/ 166 h 326"/>
              <a:gd name="T74" fmla="*/ 112 w 366"/>
              <a:gd name="T75" fmla="*/ 138 h 326"/>
              <a:gd name="T76" fmla="*/ 84 w 366"/>
              <a:gd name="T77" fmla="*/ 126 h 326"/>
              <a:gd name="T78" fmla="*/ 60 w 366"/>
              <a:gd name="T79" fmla="*/ 132 h 326"/>
              <a:gd name="T80" fmla="*/ 44 w 366"/>
              <a:gd name="T81" fmla="*/ 158 h 326"/>
              <a:gd name="T82" fmla="*/ 50 w 366"/>
              <a:gd name="T83" fmla="*/ 190 h 326"/>
              <a:gd name="T84" fmla="*/ 348 w 366"/>
              <a:gd name="T85" fmla="*/ 208 h 326"/>
              <a:gd name="T86" fmla="*/ 284 w 366"/>
              <a:gd name="T87" fmla="*/ 154 h 326"/>
              <a:gd name="T88" fmla="*/ 164 w 366"/>
              <a:gd name="T89" fmla="*/ 144 h 326"/>
              <a:gd name="T90" fmla="*/ 164 w 366"/>
              <a:gd name="T91" fmla="*/ 144 h 326"/>
              <a:gd name="T92" fmla="*/ 100 w 366"/>
              <a:gd name="T93" fmla="*/ 150 h 326"/>
              <a:gd name="T94" fmla="*/ 104 w 366"/>
              <a:gd name="T95" fmla="*/ 176 h 326"/>
              <a:gd name="T96" fmla="*/ 84 w 366"/>
              <a:gd name="T97" fmla="*/ 190 h 326"/>
              <a:gd name="T98" fmla="*/ 62 w 366"/>
              <a:gd name="T99" fmla="*/ 166 h 326"/>
              <a:gd name="T100" fmla="*/ 74 w 366"/>
              <a:gd name="T101" fmla="*/ 14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6" h="326">
                <a:moveTo>
                  <a:pt x="348" y="88"/>
                </a:moveTo>
                <a:lnTo>
                  <a:pt x="348" y="70"/>
                </a:lnTo>
                <a:lnTo>
                  <a:pt x="324" y="70"/>
                </a:lnTo>
                <a:lnTo>
                  <a:pt x="284" y="0"/>
                </a:lnTo>
                <a:lnTo>
                  <a:pt x="242" y="70"/>
                </a:lnTo>
                <a:lnTo>
                  <a:pt x="226" y="70"/>
                </a:lnTo>
                <a:lnTo>
                  <a:pt x="226" y="6"/>
                </a:lnTo>
                <a:lnTo>
                  <a:pt x="144" y="6"/>
                </a:lnTo>
                <a:lnTo>
                  <a:pt x="144" y="70"/>
                </a:lnTo>
                <a:lnTo>
                  <a:pt x="118" y="70"/>
                </a:lnTo>
                <a:lnTo>
                  <a:pt x="118" y="70"/>
                </a:lnTo>
                <a:lnTo>
                  <a:pt x="122" y="60"/>
                </a:lnTo>
                <a:lnTo>
                  <a:pt x="124" y="48"/>
                </a:lnTo>
                <a:lnTo>
                  <a:pt x="124" y="48"/>
                </a:lnTo>
                <a:lnTo>
                  <a:pt x="124" y="40"/>
                </a:lnTo>
                <a:lnTo>
                  <a:pt x="122" y="32"/>
                </a:lnTo>
                <a:lnTo>
                  <a:pt x="118" y="24"/>
                </a:lnTo>
                <a:lnTo>
                  <a:pt x="112" y="18"/>
                </a:lnTo>
                <a:lnTo>
                  <a:pt x="106" y="14"/>
                </a:lnTo>
                <a:lnTo>
                  <a:pt x="100" y="10"/>
                </a:lnTo>
                <a:lnTo>
                  <a:pt x="92" y="8"/>
                </a:lnTo>
                <a:lnTo>
                  <a:pt x="84" y="6"/>
                </a:lnTo>
                <a:lnTo>
                  <a:pt x="84" y="6"/>
                </a:lnTo>
                <a:lnTo>
                  <a:pt x="76" y="8"/>
                </a:lnTo>
                <a:lnTo>
                  <a:pt x="68" y="10"/>
                </a:lnTo>
                <a:lnTo>
                  <a:pt x="60" y="14"/>
                </a:lnTo>
                <a:lnTo>
                  <a:pt x="54" y="18"/>
                </a:lnTo>
                <a:lnTo>
                  <a:pt x="50" y="24"/>
                </a:lnTo>
                <a:lnTo>
                  <a:pt x="46" y="32"/>
                </a:lnTo>
                <a:lnTo>
                  <a:pt x="44" y="40"/>
                </a:lnTo>
                <a:lnTo>
                  <a:pt x="42" y="48"/>
                </a:lnTo>
                <a:lnTo>
                  <a:pt x="42" y="48"/>
                </a:lnTo>
                <a:lnTo>
                  <a:pt x="44" y="60"/>
                </a:lnTo>
                <a:lnTo>
                  <a:pt x="50" y="70"/>
                </a:lnTo>
                <a:lnTo>
                  <a:pt x="18" y="70"/>
                </a:lnTo>
                <a:lnTo>
                  <a:pt x="18" y="88"/>
                </a:lnTo>
                <a:lnTo>
                  <a:pt x="348" y="88"/>
                </a:lnTo>
                <a:close/>
                <a:moveTo>
                  <a:pt x="284" y="36"/>
                </a:moveTo>
                <a:lnTo>
                  <a:pt x="304" y="70"/>
                </a:lnTo>
                <a:lnTo>
                  <a:pt x="264" y="70"/>
                </a:lnTo>
                <a:lnTo>
                  <a:pt x="284" y="36"/>
                </a:lnTo>
                <a:close/>
                <a:moveTo>
                  <a:pt x="164" y="26"/>
                </a:moveTo>
                <a:lnTo>
                  <a:pt x="208" y="26"/>
                </a:lnTo>
                <a:lnTo>
                  <a:pt x="208" y="70"/>
                </a:lnTo>
                <a:lnTo>
                  <a:pt x="164" y="70"/>
                </a:lnTo>
                <a:lnTo>
                  <a:pt x="164" y="26"/>
                </a:lnTo>
                <a:close/>
                <a:moveTo>
                  <a:pt x="62" y="48"/>
                </a:moveTo>
                <a:lnTo>
                  <a:pt x="62" y="48"/>
                </a:lnTo>
                <a:lnTo>
                  <a:pt x="62" y="38"/>
                </a:lnTo>
                <a:lnTo>
                  <a:pt x="68" y="32"/>
                </a:lnTo>
                <a:lnTo>
                  <a:pt x="74" y="26"/>
                </a:lnTo>
                <a:lnTo>
                  <a:pt x="84" y="24"/>
                </a:lnTo>
                <a:lnTo>
                  <a:pt x="84" y="24"/>
                </a:lnTo>
                <a:lnTo>
                  <a:pt x="92" y="26"/>
                </a:lnTo>
                <a:lnTo>
                  <a:pt x="100" y="32"/>
                </a:lnTo>
                <a:lnTo>
                  <a:pt x="104" y="38"/>
                </a:lnTo>
                <a:lnTo>
                  <a:pt x="106" y="48"/>
                </a:lnTo>
                <a:lnTo>
                  <a:pt x="106" y="48"/>
                </a:lnTo>
                <a:lnTo>
                  <a:pt x="104" y="56"/>
                </a:lnTo>
                <a:lnTo>
                  <a:pt x="100" y="64"/>
                </a:lnTo>
                <a:lnTo>
                  <a:pt x="92" y="68"/>
                </a:lnTo>
                <a:lnTo>
                  <a:pt x="84" y="70"/>
                </a:lnTo>
                <a:lnTo>
                  <a:pt x="84" y="70"/>
                </a:lnTo>
                <a:lnTo>
                  <a:pt x="74" y="68"/>
                </a:lnTo>
                <a:lnTo>
                  <a:pt x="68" y="64"/>
                </a:lnTo>
                <a:lnTo>
                  <a:pt x="62" y="56"/>
                </a:lnTo>
                <a:lnTo>
                  <a:pt x="62" y="48"/>
                </a:lnTo>
                <a:lnTo>
                  <a:pt x="62" y="48"/>
                </a:lnTo>
                <a:close/>
                <a:moveTo>
                  <a:pt x="284" y="236"/>
                </a:moveTo>
                <a:lnTo>
                  <a:pt x="242" y="308"/>
                </a:lnTo>
                <a:lnTo>
                  <a:pt x="226" y="308"/>
                </a:lnTo>
                <a:lnTo>
                  <a:pt x="226" y="244"/>
                </a:lnTo>
                <a:lnTo>
                  <a:pt x="144" y="244"/>
                </a:lnTo>
                <a:lnTo>
                  <a:pt x="144" y="308"/>
                </a:lnTo>
                <a:lnTo>
                  <a:pt x="118" y="308"/>
                </a:lnTo>
                <a:lnTo>
                  <a:pt x="118" y="308"/>
                </a:lnTo>
                <a:lnTo>
                  <a:pt x="122" y="298"/>
                </a:lnTo>
                <a:lnTo>
                  <a:pt x="124" y="286"/>
                </a:lnTo>
                <a:lnTo>
                  <a:pt x="124" y="286"/>
                </a:lnTo>
                <a:lnTo>
                  <a:pt x="124" y="276"/>
                </a:lnTo>
                <a:lnTo>
                  <a:pt x="122" y="270"/>
                </a:lnTo>
                <a:lnTo>
                  <a:pt x="118" y="262"/>
                </a:lnTo>
                <a:lnTo>
                  <a:pt x="112" y="256"/>
                </a:lnTo>
                <a:lnTo>
                  <a:pt x="106" y="252"/>
                </a:lnTo>
                <a:lnTo>
                  <a:pt x="100" y="248"/>
                </a:lnTo>
                <a:lnTo>
                  <a:pt x="92" y="246"/>
                </a:lnTo>
                <a:lnTo>
                  <a:pt x="84" y="244"/>
                </a:lnTo>
                <a:lnTo>
                  <a:pt x="84" y="244"/>
                </a:lnTo>
                <a:lnTo>
                  <a:pt x="76" y="246"/>
                </a:lnTo>
                <a:lnTo>
                  <a:pt x="68" y="248"/>
                </a:lnTo>
                <a:lnTo>
                  <a:pt x="60" y="252"/>
                </a:lnTo>
                <a:lnTo>
                  <a:pt x="54" y="256"/>
                </a:lnTo>
                <a:lnTo>
                  <a:pt x="50" y="262"/>
                </a:lnTo>
                <a:lnTo>
                  <a:pt x="46" y="270"/>
                </a:lnTo>
                <a:lnTo>
                  <a:pt x="44" y="276"/>
                </a:lnTo>
                <a:lnTo>
                  <a:pt x="42" y="286"/>
                </a:lnTo>
                <a:lnTo>
                  <a:pt x="42" y="286"/>
                </a:lnTo>
                <a:lnTo>
                  <a:pt x="44" y="298"/>
                </a:lnTo>
                <a:lnTo>
                  <a:pt x="50" y="308"/>
                </a:lnTo>
                <a:lnTo>
                  <a:pt x="18" y="308"/>
                </a:lnTo>
                <a:lnTo>
                  <a:pt x="18" y="326"/>
                </a:lnTo>
                <a:lnTo>
                  <a:pt x="348" y="326"/>
                </a:lnTo>
                <a:lnTo>
                  <a:pt x="348" y="308"/>
                </a:lnTo>
                <a:lnTo>
                  <a:pt x="324" y="308"/>
                </a:lnTo>
                <a:lnTo>
                  <a:pt x="284" y="236"/>
                </a:lnTo>
                <a:close/>
                <a:moveTo>
                  <a:pt x="284" y="274"/>
                </a:moveTo>
                <a:lnTo>
                  <a:pt x="304" y="308"/>
                </a:lnTo>
                <a:lnTo>
                  <a:pt x="264" y="308"/>
                </a:lnTo>
                <a:lnTo>
                  <a:pt x="284" y="274"/>
                </a:lnTo>
                <a:close/>
                <a:moveTo>
                  <a:pt x="164" y="262"/>
                </a:moveTo>
                <a:lnTo>
                  <a:pt x="208" y="262"/>
                </a:lnTo>
                <a:lnTo>
                  <a:pt x="208" y="308"/>
                </a:lnTo>
                <a:lnTo>
                  <a:pt x="164" y="308"/>
                </a:lnTo>
                <a:lnTo>
                  <a:pt x="164" y="262"/>
                </a:lnTo>
                <a:close/>
                <a:moveTo>
                  <a:pt x="84" y="262"/>
                </a:moveTo>
                <a:lnTo>
                  <a:pt x="84" y="262"/>
                </a:lnTo>
                <a:lnTo>
                  <a:pt x="92" y="264"/>
                </a:lnTo>
                <a:lnTo>
                  <a:pt x="100" y="268"/>
                </a:lnTo>
                <a:lnTo>
                  <a:pt x="104" y="276"/>
                </a:lnTo>
                <a:lnTo>
                  <a:pt x="106" y="286"/>
                </a:lnTo>
                <a:lnTo>
                  <a:pt x="106" y="286"/>
                </a:lnTo>
                <a:lnTo>
                  <a:pt x="104" y="294"/>
                </a:lnTo>
                <a:lnTo>
                  <a:pt x="100" y="302"/>
                </a:lnTo>
                <a:lnTo>
                  <a:pt x="92" y="306"/>
                </a:lnTo>
                <a:lnTo>
                  <a:pt x="84" y="308"/>
                </a:lnTo>
                <a:lnTo>
                  <a:pt x="84" y="308"/>
                </a:lnTo>
                <a:lnTo>
                  <a:pt x="74" y="306"/>
                </a:lnTo>
                <a:lnTo>
                  <a:pt x="68" y="302"/>
                </a:lnTo>
                <a:lnTo>
                  <a:pt x="62" y="294"/>
                </a:lnTo>
                <a:lnTo>
                  <a:pt x="62" y="286"/>
                </a:lnTo>
                <a:lnTo>
                  <a:pt x="62" y="286"/>
                </a:lnTo>
                <a:lnTo>
                  <a:pt x="62" y="276"/>
                </a:lnTo>
                <a:lnTo>
                  <a:pt x="68" y="268"/>
                </a:lnTo>
                <a:lnTo>
                  <a:pt x="74" y="264"/>
                </a:lnTo>
                <a:lnTo>
                  <a:pt x="84" y="262"/>
                </a:lnTo>
                <a:lnTo>
                  <a:pt x="84" y="262"/>
                </a:lnTo>
                <a:close/>
                <a:moveTo>
                  <a:pt x="324" y="190"/>
                </a:moveTo>
                <a:lnTo>
                  <a:pt x="284" y="118"/>
                </a:lnTo>
                <a:lnTo>
                  <a:pt x="242" y="190"/>
                </a:lnTo>
                <a:lnTo>
                  <a:pt x="226" y="190"/>
                </a:lnTo>
                <a:lnTo>
                  <a:pt x="226" y="126"/>
                </a:lnTo>
                <a:lnTo>
                  <a:pt x="144" y="126"/>
                </a:lnTo>
                <a:lnTo>
                  <a:pt x="144" y="190"/>
                </a:lnTo>
                <a:lnTo>
                  <a:pt x="118" y="190"/>
                </a:lnTo>
                <a:lnTo>
                  <a:pt x="118" y="190"/>
                </a:lnTo>
                <a:lnTo>
                  <a:pt x="122" y="178"/>
                </a:lnTo>
                <a:lnTo>
                  <a:pt x="124" y="166"/>
                </a:lnTo>
                <a:lnTo>
                  <a:pt x="124" y="166"/>
                </a:lnTo>
                <a:lnTo>
                  <a:pt x="124" y="158"/>
                </a:lnTo>
                <a:lnTo>
                  <a:pt x="122" y="150"/>
                </a:lnTo>
                <a:lnTo>
                  <a:pt x="118" y="144"/>
                </a:lnTo>
                <a:lnTo>
                  <a:pt x="112" y="138"/>
                </a:lnTo>
                <a:lnTo>
                  <a:pt x="106" y="132"/>
                </a:lnTo>
                <a:lnTo>
                  <a:pt x="100" y="128"/>
                </a:lnTo>
                <a:lnTo>
                  <a:pt x="92" y="126"/>
                </a:lnTo>
                <a:lnTo>
                  <a:pt x="84" y="126"/>
                </a:lnTo>
                <a:lnTo>
                  <a:pt x="84" y="126"/>
                </a:lnTo>
                <a:lnTo>
                  <a:pt x="76" y="126"/>
                </a:lnTo>
                <a:lnTo>
                  <a:pt x="68" y="128"/>
                </a:lnTo>
                <a:lnTo>
                  <a:pt x="60" y="132"/>
                </a:lnTo>
                <a:lnTo>
                  <a:pt x="54" y="138"/>
                </a:lnTo>
                <a:lnTo>
                  <a:pt x="50" y="144"/>
                </a:lnTo>
                <a:lnTo>
                  <a:pt x="46" y="150"/>
                </a:lnTo>
                <a:lnTo>
                  <a:pt x="44" y="158"/>
                </a:lnTo>
                <a:lnTo>
                  <a:pt x="42" y="166"/>
                </a:lnTo>
                <a:lnTo>
                  <a:pt x="42" y="166"/>
                </a:lnTo>
                <a:lnTo>
                  <a:pt x="44" y="178"/>
                </a:lnTo>
                <a:lnTo>
                  <a:pt x="50" y="190"/>
                </a:lnTo>
                <a:lnTo>
                  <a:pt x="0" y="190"/>
                </a:lnTo>
                <a:lnTo>
                  <a:pt x="0" y="190"/>
                </a:lnTo>
                <a:lnTo>
                  <a:pt x="18" y="208"/>
                </a:lnTo>
                <a:lnTo>
                  <a:pt x="348" y="208"/>
                </a:lnTo>
                <a:lnTo>
                  <a:pt x="366" y="190"/>
                </a:lnTo>
                <a:lnTo>
                  <a:pt x="366" y="190"/>
                </a:lnTo>
                <a:lnTo>
                  <a:pt x="324" y="190"/>
                </a:lnTo>
                <a:close/>
                <a:moveTo>
                  <a:pt x="284" y="154"/>
                </a:moveTo>
                <a:lnTo>
                  <a:pt x="304" y="190"/>
                </a:lnTo>
                <a:lnTo>
                  <a:pt x="264" y="190"/>
                </a:lnTo>
                <a:lnTo>
                  <a:pt x="284" y="154"/>
                </a:lnTo>
                <a:close/>
                <a:moveTo>
                  <a:pt x="164" y="144"/>
                </a:moveTo>
                <a:lnTo>
                  <a:pt x="208" y="144"/>
                </a:lnTo>
                <a:lnTo>
                  <a:pt x="208" y="190"/>
                </a:lnTo>
                <a:lnTo>
                  <a:pt x="164" y="190"/>
                </a:lnTo>
                <a:lnTo>
                  <a:pt x="164" y="144"/>
                </a:lnTo>
                <a:close/>
                <a:moveTo>
                  <a:pt x="84" y="144"/>
                </a:moveTo>
                <a:lnTo>
                  <a:pt x="84" y="144"/>
                </a:lnTo>
                <a:lnTo>
                  <a:pt x="92" y="146"/>
                </a:lnTo>
                <a:lnTo>
                  <a:pt x="100" y="150"/>
                </a:lnTo>
                <a:lnTo>
                  <a:pt x="104" y="158"/>
                </a:lnTo>
                <a:lnTo>
                  <a:pt x="106" y="166"/>
                </a:lnTo>
                <a:lnTo>
                  <a:pt x="106" y="166"/>
                </a:lnTo>
                <a:lnTo>
                  <a:pt x="104" y="176"/>
                </a:lnTo>
                <a:lnTo>
                  <a:pt x="100" y="182"/>
                </a:lnTo>
                <a:lnTo>
                  <a:pt x="92" y="188"/>
                </a:lnTo>
                <a:lnTo>
                  <a:pt x="84" y="190"/>
                </a:lnTo>
                <a:lnTo>
                  <a:pt x="84" y="190"/>
                </a:lnTo>
                <a:lnTo>
                  <a:pt x="74" y="188"/>
                </a:lnTo>
                <a:lnTo>
                  <a:pt x="68" y="182"/>
                </a:lnTo>
                <a:lnTo>
                  <a:pt x="62" y="176"/>
                </a:lnTo>
                <a:lnTo>
                  <a:pt x="62" y="166"/>
                </a:lnTo>
                <a:lnTo>
                  <a:pt x="62" y="166"/>
                </a:lnTo>
                <a:lnTo>
                  <a:pt x="62" y="158"/>
                </a:lnTo>
                <a:lnTo>
                  <a:pt x="68" y="150"/>
                </a:lnTo>
                <a:lnTo>
                  <a:pt x="74" y="146"/>
                </a:lnTo>
                <a:lnTo>
                  <a:pt x="84" y="144"/>
                </a:lnTo>
                <a:lnTo>
                  <a:pt x="84" y="1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6521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Effect transition="in" filter="fade">
                                      <p:cBhvr>
                                        <p:cTn id="23" dur="500"/>
                                        <p:tgtEl>
                                          <p:spTgt spid="9">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xEl>
                                              <p:pRg st="5" end="5"/>
                                            </p:txEl>
                                          </p:spTgt>
                                        </p:tgtEl>
                                        <p:attrNameLst>
                                          <p:attrName>style.visibility</p:attrName>
                                        </p:attrNameLst>
                                      </p:cBhvr>
                                      <p:to>
                                        <p:strVal val="visible"/>
                                      </p:to>
                                    </p:set>
                                    <p:animEffect transition="in" filter="fade">
                                      <p:cBhvr>
                                        <p:cTn id="26" dur="500"/>
                                        <p:tgtEl>
                                          <p:spTgt spid="9">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xEl>
                                              <p:pRg st="6" end="6"/>
                                            </p:txEl>
                                          </p:spTgt>
                                        </p:tgtEl>
                                        <p:attrNameLst>
                                          <p:attrName>style.visibility</p:attrName>
                                        </p:attrNameLst>
                                      </p:cBhvr>
                                      <p:to>
                                        <p:strVal val="visible"/>
                                      </p:to>
                                    </p:set>
                                    <p:animEffect transition="in" filter="fade">
                                      <p:cBhvr>
                                        <p:cTn id="29" dur="500"/>
                                        <p:tgtEl>
                                          <p:spTgt spid="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Selection to Shelf</a:t>
            </a:r>
            <a:endParaRPr lang="en-US" dirty="0"/>
          </a:p>
        </p:txBody>
      </p:sp>
      <p:grpSp>
        <p:nvGrpSpPr>
          <p:cNvPr id="8" name="Group 3"/>
          <p:cNvGrpSpPr>
            <a:grpSpLocks noChangeAspect="1"/>
          </p:cNvGrpSpPr>
          <p:nvPr/>
        </p:nvGrpSpPr>
        <p:grpSpPr bwMode="auto">
          <a:xfrm>
            <a:off x="1860550" y="2133601"/>
            <a:ext cx="1035050" cy="708025"/>
            <a:chOff x="712" y="2056"/>
            <a:chExt cx="1560" cy="1068"/>
          </a:xfrm>
        </p:grpSpPr>
        <p:grpSp>
          <p:nvGrpSpPr>
            <p:cNvPr id="10" name="Group 4"/>
            <p:cNvGrpSpPr>
              <a:grpSpLocks noChangeAspect="1"/>
            </p:cNvGrpSpPr>
            <p:nvPr/>
          </p:nvGrpSpPr>
          <p:grpSpPr bwMode="auto">
            <a:xfrm>
              <a:off x="1096" y="2056"/>
              <a:ext cx="200" cy="741"/>
              <a:chOff x="3590" y="1980"/>
              <a:chExt cx="200" cy="357"/>
            </a:xfrm>
          </p:grpSpPr>
          <p:sp>
            <p:nvSpPr>
              <p:cNvPr id="478" name="Freeform 5"/>
              <p:cNvSpPr>
                <a:spLocks noChangeAspect="1"/>
              </p:cNvSpPr>
              <p:nvPr/>
            </p:nvSpPr>
            <p:spPr bwMode="auto">
              <a:xfrm>
                <a:off x="360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479" name="Freeform 6"/>
              <p:cNvSpPr>
                <a:spLocks noChangeAspect="1"/>
              </p:cNvSpPr>
              <p:nvPr/>
            </p:nvSpPr>
            <p:spPr bwMode="auto">
              <a:xfrm>
                <a:off x="360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008000"/>
              </a:solidFill>
              <a:ln w="9525">
                <a:noFill/>
                <a:round/>
                <a:headEnd/>
                <a:tailEnd/>
              </a:ln>
            </p:spPr>
            <p:txBody>
              <a:bodyPr/>
              <a:lstStyle/>
              <a:p>
                <a:pPr algn="l" eaLnBrk="1" hangingPunct="1"/>
                <a:endParaRPr lang="en-US"/>
              </a:p>
            </p:txBody>
          </p:sp>
          <p:sp>
            <p:nvSpPr>
              <p:cNvPr id="480" name="Freeform 7"/>
              <p:cNvSpPr>
                <a:spLocks noChangeAspect="1"/>
              </p:cNvSpPr>
              <p:nvPr/>
            </p:nvSpPr>
            <p:spPr bwMode="auto">
              <a:xfrm>
                <a:off x="362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481" name="Freeform 8"/>
              <p:cNvSpPr>
                <a:spLocks noChangeAspect="1"/>
              </p:cNvSpPr>
              <p:nvPr/>
            </p:nvSpPr>
            <p:spPr bwMode="auto">
              <a:xfrm>
                <a:off x="363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482" name="Freeform 9"/>
              <p:cNvSpPr>
                <a:spLocks noChangeAspect="1"/>
              </p:cNvSpPr>
              <p:nvPr/>
            </p:nvSpPr>
            <p:spPr bwMode="auto">
              <a:xfrm>
                <a:off x="364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483" name="Freeform 10"/>
              <p:cNvSpPr>
                <a:spLocks noChangeAspect="1"/>
              </p:cNvSpPr>
              <p:nvPr/>
            </p:nvSpPr>
            <p:spPr bwMode="auto">
              <a:xfrm>
                <a:off x="364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CCFFCC"/>
              </a:solidFill>
              <a:ln w="9525">
                <a:noFill/>
                <a:round/>
                <a:headEnd/>
                <a:tailEnd/>
              </a:ln>
            </p:spPr>
            <p:txBody>
              <a:bodyPr/>
              <a:lstStyle/>
              <a:p>
                <a:pPr algn="l" eaLnBrk="1" hangingPunct="1"/>
                <a:endParaRPr lang="en-US"/>
              </a:p>
            </p:txBody>
          </p:sp>
          <p:sp>
            <p:nvSpPr>
              <p:cNvPr id="484" name="Freeform 11"/>
              <p:cNvSpPr>
                <a:spLocks noChangeAspect="1"/>
              </p:cNvSpPr>
              <p:nvPr/>
            </p:nvSpPr>
            <p:spPr bwMode="auto">
              <a:xfrm>
                <a:off x="365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485" name="Freeform 12"/>
              <p:cNvSpPr>
                <a:spLocks noChangeAspect="1"/>
              </p:cNvSpPr>
              <p:nvPr/>
            </p:nvSpPr>
            <p:spPr bwMode="auto">
              <a:xfrm>
                <a:off x="361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CCFFCC"/>
              </a:solidFill>
              <a:ln w="9525">
                <a:noFill/>
                <a:round/>
                <a:headEnd/>
                <a:tailEnd/>
              </a:ln>
            </p:spPr>
            <p:txBody>
              <a:bodyPr/>
              <a:lstStyle/>
              <a:p>
                <a:pPr algn="l" eaLnBrk="1" hangingPunct="1"/>
                <a:endParaRPr lang="en-US"/>
              </a:p>
            </p:txBody>
          </p:sp>
          <p:sp>
            <p:nvSpPr>
              <p:cNvPr id="486" name="Freeform 13"/>
              <p:cNvSpPr>
                <a:spLocks noChangeAspect="1"/>
              </p:cNvSpPr>
              <p:nvPr/>
            </p:nvSpPr>
            <p:spPr bwMode="auto">
              <a:xfrm>
                <a:off x="363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487" name="Freeform 14"/>
              <p:cNvSpPr>
                <a:spLocks noChangeAspect="1"/>
              </p:cNvSpPr>
              <p:nvPr/>
            </p:nvSpPr>
            <p:spPr bwMode="auto">
              <a:xfrm>
                <a:off x="370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488" name="Freeform 15"/>
              <p:cNvSpPr>
                <a:spLocks noChangeAspect="1"/>
              </p:cNvSpPr>
              <p:nvPr/>
            </p:nvSpPr>
            <p:spPr bwMode="auto">
              <a:xfrm>
                <a:off x="363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489" name="Freeform 16"/>
              <p:cNvSpPr>
                <a:spLocks noChangeAspect="1"/>
              </p:cNvSpPr>
              <p:nvPr/>
            </p:nvSpPr>
            <p:spPr bwMode="auto">
              <a:xfrm>
                <a:off x="359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490" name="Freeform 17"/>
              <p:cNvSpPr>
                <a:spLocks noChangeAspect="1"/>
              </p:cNvSpPr>
              <p:nvPr/>
            </p:nvSpPr>
            <p:spPr bwMode="auto">
              <a:xfrm>
                <a:off x="370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491" name="Freeform 18"/>
              <p:cNvSpPr>
                <a:spLocks noChangeAspect="1"/>
              </p:cNvSpPr>
              <p:nvPr/>
            </p:nvSpPr>
            <p:spPr bwMode="auto">
              <a:xfrm>
                <a:off x="362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492" name="Freeform 19"/>
              <p:cNvSpPr>
                <a:spLocks noChangeAspect="1"/>
              </p:cNvSpPr>
              <p:nvPr/>
            </p:nvSpPr>
            <p:spPr bwMode="auto">
              <a:xfrm>
                <a:off x="361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493" name="Freeform 20"/>
              <p:cNvSpPr>
                <a:spLocks noChangeAspect="1"/>
              </p:cNvSpPr>
              <p:nvPr/>
            </p:nvSpPr>
            <p:spPr bwMode="auto">
              <a:xfrm>
                <a:off x="362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494" name="Freeform 21"/>
              <p:cNvSpPr>
                <a:spLocks noChangeAspect="1"/>
              </p:cNvSpPr>
              <p:nvPr/>
            </p:nvSpPr>
            <p:spPr bwMode="auto">
              <a:xfrm>
                <a:off x="367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495" name="Freeform 22"/>
              <p:cNvSpPr>
                <a:spLocks noChangeAspect="1"/>
              </p:cNvSpPr>
              <p:nvPr/>
            </p:nvSpPr>
            <p:spPr bwMode="auto">
              <a:xfrm>
                <a:off x="373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96" name="Freeform 23"/>
              <p:cNvSpPr>
                <a:spLocks noChangeAspect="1"/>
              </p:cNvSpPr>
              <p:nvPr/>
            </p:nvSpPr>
            <p:spPr bwMode="auto">
              <a:xfrm>
                <a:off x="364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97" name="Freeform 24"/>
              <p:cNvSpPr>
                <a:spLocks noChangeAspect="1"/>
              </p:cNvSpPr>
              <p:nvPr/>
            </p:nvSpPr>
            <p:spPr bwMode="auto">
              <a:xfrm>
                <a:off x="371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98" name="Freeform 25"/>
              <p:cNvSpPr>
                <a:spLocks noChangeAspect="1"/>
              </p:cNvSpPr>
              <p:nvPr/>
            </p:nvSpPr>
            <p:spPr bwMode="auto">
              <a:xfrm>
                <a:off x="364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499" name="Freeform 26"/>
              <p:cNvSpPr>
                <a:spLocks noChangeAspect="1"/>
              </p:cNvSpPr>
              <p:nvPr/>
            </p:nvSpPr>
            <p:spPr bwMode="auto">
              <a:xfrm>
                <a:off x="365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1" name="Group 27"/>
            <p:cNvGrpSpPr>
              <a:grpSpLocks noChangeAspect="1"/>
            </p:cNvGrpSpPr>
            <p:nvPr/>
          </p:nvGrpSpPr>
          <p:grpSpPr bwMode="auto">
            <a:xfrm>
              <a:off x="952" y="2200"/>
              <a:ext cx="200" cy="597"/>
              <a:chOff x="3110" y="1980"/>
              <a:chExt cx="200" cy="357"/>
            </a:xfrm>
          </p:grpSpPr>
          <p:sp>
            <p:nvSpPr>
              <p:cNvPr id="456" name="Freeform 28"/>
              <p:cNvSpPr>
                <a:spLocks noChangeAspect="1"/>
              </p:cNvSpPr>
              <p:nvPr/>
            </p:nvSpPr>
            <p:spPr bwMode="auto">
              <a:xfrm>
                <a:off x="312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FFCC99"/>
              </a:solidFill>
              <a:ln w="9525">
                <a:noFill/>
                <a:round/>
                <a:headEnd/>
                <a:tailEnd/>
              </a:ln>
            </p:spPr>
            <p:txBody>
              <a:bodyPr/>
              <a:lstStyle/>
              <a:p>
                <a:pPr algn="l" eaLnBrk="1" hangingPunct="1"/>
                <a:endParaRPr lang="en-US"/>
              </a:p>
            </p:txBody>
          </p:sp>
          <p:sp>
            <p:nvSpPr>
              <p:cNvPr id="457" name="Freeform 29"/>
              <p:cNvSpPr>
                <a:spLocks noChangeAspect="1"/>
              </p:cNvSpPr>
              <p:nvPr/>
            </p:nvSpPr>
            <p:spPr bwMode="auto">
              <a:xfrm>
                <a:off x="312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800000"/>
              </a:solidFill>
              <a:ln w="9525">
                <a:noFill/>
                <a:round/>
                <a:headEnd/>
                <a:tailEnd/>
              </a:ln>
            </p:spPr>
            <p:txBody>
              <a:bodyPr/>
              <a:lstStyle/>
              <a:p>
                <a:pPr algn="l" eaLnBrk="1" hangingPunct="1"/>
                <a:endParaRPr lang="en-US"/>
              </a:p>
            </p:txBody>
          </p:sp>
          <p:sp>
            <p:nvSpPr>
              <p:cNvPr id="458" name="Freeform 30"/>
              <p:cNvSpPr>
                <a:spLocks noChangeAspect="1"/>
              </p:cNvSpPr>
              <p:nvPr/>
            </p:nvSpPr>
            <p:spPr bwMode="auto">
              <a:xfrm>
                <a:off x="314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459" name="Freeform 31"/>
              <p:cNvSpPr>
                <a:spLocks noChangeAspect="1"/>
              </p:cNvSpPr>
              <p:nvPr/>
            </p:nvSpPr>
            <p:spPr bwMode="auto">
              <a:xfrm>
                <a:off x="315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460" name="Freeform 32"/>
              <p:cNvSpPr>
                <a:spLocks noChangeAspect="1"/>
              </p:cNvSpPr>
              <p:nvPr/>
            </p:nvSpPr>
            <p:spPr bwMode="auto">
              <a:xfrm>
                <a:off x="316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461" name="Freeform 33"/>
              <p:cNvSpPr>
                <a:spLocks noChangeAspect="1"/>
              </p:cNvSpPr>
              <p:nvPr/>
            </p:nvSpPr>
            <p:spPr bwMode="auto">
              <a:xfrm>
                <a:off x="316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FFCC99"/>
              </a:solidFill>
              <a:ln w="9525">
                <a:noFill/>
                <a:round/>
                <a:headEnd/>
                <a:tailEnd/>
              </a:ln>
            </p:spPr>
            <p:txBody>
              <a:bodyPr/>
              <a:lstStyle/>
              <a:p>
                <a:pPr algn="l" eaLnBrk="1" hangingPunct="1"/>
                <a:endParaRPr lang="en-US"/>
              </a:p>
            </p:txBody>
          </p:sp>
          <p:sp>
            <p:nvSpPr>
              <p:cNvPr id="462" name="Freeform 34"/>
              <p:cNvSpPr>
                <a:spLocks noChangeAspect="1"/>
              </p:cNvSpPr>
              <p:nvPr/>
            </p:nvSpPr>
            <p:spPr bwMode="auto">
              <a:xfrm>
                <a:off x="317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463" name="Freeform 35"/>
              <p:cNvSpPr>
                <a:spLocks noChangeAspect="1"/>
              </p:cNvSpPr>
              <p:nvPr/>
            </p:nvSpPr>
            <p:spPr bwMode="auto">
              <a:xfrm>
                <a:off x="313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FCC99"/>
              </a:solidFill>
              <a:ln w="9525">
                <a:noFill/>
                <a:round/>
                <a:headEnd/>
                <a:tailEnd/>
              </a:ln>
            </p:spPr>
            <p:txBody>
              <a:bodyPr/>
              <a:lstStyle/>
              <a:p>
                <a:pPr algn="l" eaLnBrk="1" hangingPunct="1"/>
                <a:endParaRPr lang="en-US"/>
              </a:p>
            </p:txBody>
          </p:sp>
          <p:sp>
            <p:nvSpPr>
              <p:cNvPr id="464" name="Freeform 36"/>
              <p:cNvSpPr>
                <a:spLocks noChangeAspect="1"/>
              </p:cNvSpPr>
              <p:nvPr/>
            </p:nvSpPr>
            <p:spPr bwMode="auto">
              <a:xfrm>
                <a:off x="315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465" name="Freeform 37"/>
              <p:cNvSpPr>
                <a:spLocks noChangeAspect="1"/>
              </p:cNvSpPr>
              <p:nvPr/>
            </p:nvSpPr>
            <p:spPr bwMode="auto">
              <a:xfrm>
                <a:off x="322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466" name="Freeform 38"/>
              <p:cNvSpPr>
                <a:spLocks noChangeAspect="1"/>
              </p:cNvSpPr>
              <p:nvPr/>
            </p:nvSpPr>
            <p:spPr bwMode="auto">
              <a:xfrm>
                <a:off x="315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467" name="Freeform 39"/>
              <p:cNvSpPr>
                <a:spLocks noChangeAspect="1"/>
              </p:cNvSpPr>
              <p:nvPr/>
            </p:nvSpPr>
            <p:spPr bwMode="auto">
              <a:xfrm>
                <a:off x="311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468" name="Freeform 40"/>
              <p:cNvSpPr>
                <a:spLocks noChangeAspect="1"/>
              </p:cNvSpPr>
              <p:nvPr/>
            </p:nvSpPr>
            <p:spPr bwMode="auto">
              <a:xfrm>
                <a:off x="322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469" name="Freeform 41"/>
              <p:cNvSpPr>
                <a:spLocks noChangeAspect="1"/>
              </p:cNvSpPr>
              <p:nvPr/>
            </p:nvSpPr>
            <p:spPr bwMode="auto">
              <a:xfrm>
                <a:off x="314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470" name="Freeform 42"/>
              <p:cNvSpPr>
                <a:spLocks noChangeAspect="1"/>
              </p:cNvSpPr>
              <p:nvPr/>
            </p:nvSpPr>
            <p:spPr bwMode="auto">
              <a:xfrm>
                <a:off x="313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471" name="Freeform 43"/>
              <p:cNvSpPr>
                <a:spLocks noChangeAspect="1"/>
              </p:cNvSpPr>
              <p:nvPr/>
            </p:nvSpPr>
            <p:spPr bwMode="auto">
              <a:xfrm>
                <a:off x="314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472" name="Freeform 44"/>
              <p:cNvSpPr>
                <a:spLocks noChangeAspect="1"/>
              </p:cNvSpPr>
              <p:nvPr/>
            </p:nvSpPr>
            <p:spPr bwMode="auto">
              <a:xfrm>
                <a:off x="319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473" name="Freeform 45"/>
              <p:cNvSpPr>
                <a:spLocks noChangeAspect="1"/>
              </p:cNvSpPr>
              <p:nvPr/>
            </p:nvSpPr>
            <p:spPr bwMode="auto">
              <a:xfrm>
                <a:off x="325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74" name="Freeform 46"/>
              <p:cNvSpPr>
                <a:spLocks noChangeAspect="1"/>
              </p:cNvSpPr>
              <p:nvPr/>
            </p:nvSpPr>
            <p:spPr bwMode="auto">
              <a:xfrm>
                <a:off x="316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75" name="Freeform 47"/>
              <p:cNvSpPr>
                <a:spLocks noChangeAspect="1"/>
              </p:cNvSpPr>
              <p:nvPr/>
            </p:nvSpPr>
            <p:spPr bwMode="auto">
              <a:xfrm>
                <a:off x="323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76" name="Freeform 48"/>
              <p:cNvSpPr>
                <a:spLocks noChangeAspect="1"/>
              </p:cNvSpPr>
              <p:nvPr/>
            </p:nvSpPr>
            <p:spPr bwMode="auto">
              <a:xfrm>
                <a:off x="316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477" name="Freeform 49"/>
              <p:cNvSpPr>
                <a:spLocks noChangeAspect="1"/>
              </p:cNvSpPr>
              <p:nvPr/>
            </p:nvSpPr>
            <p:spPr bwMode="auto">
              <a:xfrm>
                <a:off x="317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2" name="Group 50"/>
            <p:cNvGrpSpPr>
              <a:grpSpLocks noChangeAspect="1"/>
            </p:cNvGrpSpPr>
            <p:nvPr/>
          </p:nvGrpSpPr>
          <p:grpSpPr bwMode="auto">
            <a:xfrm>
              <a:off x="1960" y="2296"/>
              <a:ext cx="264" cy="536"/>
              <a:chOff x="3226" y="1606"/>
              <a:chExt cx="264" cy="344"/>
            </a:xfrm>
          </p:grpSpPr>
          <p:sp>
            <p:nvSpPr>
              <p:cNvPr id="435" name="Freeform 51"/>
              <p:cNvSpPr>
                <a:spLocks noChangeAspect="1"/>
              </p:cNvSpPr>
              <p:nvPr/>
            </p:nvSpPr>
            <p:spPr bwMode="auto">
              <a:xfrm>
                <a:off x="3232" y="1689"/>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66"/>
              </a:solidFill>
              <a:ln w="9525">
                <a:noFill/>
                <a:round/>
                <a:headEnd/>
                <a:tailEnd/>
              </a:ln>
            </p:spPr>
            <p:txBody>
              <a:bodyPr/>
              <a:lstStyle/>
              <a:p>
                <a:pPr algn="l" eaLnBrk="1" hangingPunct="1"/>
                <a:endParaRPr lang="en-US"/>
              </a:p>
            </p:txBody>
          </p:sp>
          <p:sp>
            <p:nvSpPr>
              <p:cNvPr id="436" name="Freeform 52"/>
              <p:cNvSpPr>
                <a:spLocks noChangeAspect="1"/>
              </p:cNvSpPr>
              <p:nvPr/>
            </p:nvSpPr>
            <p:spPr bwMode="auto">
              <a:xfrm>
                <a:off x="3264" y="1680"/>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660066"/>
              </a:solidFill>
              <a:ln w="9525">
                <a:noFill/>
                <a:round/>
                <a:headEnd/>
                <a:tailEnd/>
              </a:ln>
            </p:spPr>
            <p:txBody>
              <a:bodyPr/>
              <a:lstStyle/>
              <a:p>
                <a:pPr algn="l" eaLnBrk="1" hangingPunct="1"/>
                <a:endParaRPr lang="en-US"/>
              </a:p>
            </p:txBody>
          </p:sp>
          <p:sp>
            <p:nvSpPr>
              <p:cNvPr id="437" name="Freeform 53"/>
              <p:cNvSpPr>
                <a:spLocks noChangeAspect="1"/>
              </p:cNvSpPr>
              <p:nvPr/>
            </p:nvSpPr>
            <p:spPr bwMode="auto">
              <a:xfrm>
                <a:off x="3250" y="1722"/>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CC99FF"/>
              </a:solidFill>
              <a:ln w="9525">
                <a:noFill/>
                <a:round/>
                <a:headEnd/>
                <a:tailEnd/>
              </a:ln>
            </p:spPr>
            <p:txBody>
              <a:bodyPr/>
              <a:lstStyle/>
              <a:p>
                <a:pPr algn="l" eaLnBrk="1" hangingPunct="1"/>
                <a:endParaRPr lang="en-US"/>
              </a:p>
            </p:txBody>
          </p:sp>
          <p:sp>
            <p:nvSpPr>
              <p:cNvPr id="438" name="Freeform 54"/>
              <p:cNvSpPr>
                <a:spLocks noChangeAspect="1"/>
              </p:cNvSpPr>
              <p:nvPr/>
            </p:nvSpPr>
            <p:spPr bwMode="auto">
              <a:xfrm>
                <a:off x="3276" y="1760"/>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FF9900"/>
              </a:solidFill>
              <a:ln w="9525">
                <a:noFill/>
                <a:round/>
                <a:headEnd/>
                <a:tailEnd/>
              </a:ln>
            </p:spPr>
            <p:txBody>
              <a:bodyPr/>
              <a:lstStyle/>
              <a:p>
                <a:pPr algn="l" eaLnBrk="1" hangingPunct="1"/>
                <a:endParaRPr lang="en-US"/>
              </a:p>
            </p:txBody>
          </p:sp>
          <p:sp>
            <p:nvSpPr>
              <p:cNvPr id="439" name="Freeform 55"/>
              <p:cNvSpPr>
                <a:spLocks noChangeAspect="1"/>
              </p:cNvSpPr>
              <p:nvPr/>
            </p:nvSpPr>
            <p:spPr bwMode="auto">
              <a:xfrm>
                <a:off x="3278" y="1785"/>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FF99"/>
              </a:solidFill>
              <a:ln w="9525">
                <a:noFill/>
                <a:round/>
                <a:headEnd/>
                <a:tailEnd/>
              </a:ln>
            </p:spPr>
            <p:txBody>
              <a:bodyPr/>
              <a:lstStyle/>
              <a:p>
                <a:pPr algn="l" eaLnBrk="1" hangingPunct="1"/>
                <a:endParaRPr lang="en-US"/>
              </a:p>
            </p:txBody>
          </p:sp>
          <p:sp>
            <p:nvSpPr>
              <p:cNvPr id="440" name="Freeform 56"/>
              <p:cNvSpPr>
                <a:spLocks noChangeAspect="1"/>
              </p:cNvSpPr>
              <p:nvPr/>
            </p:nvSpPr>
            <p:spPr bwMode="auto">
              <a:xfrm>
                <a:off x="3257" y="1606"/>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441" name="Freeform 57"/>
              <p:cNvSpPr>
                <a:spLocks noChangeAspect="1"/>
              </p:cNvSpPr>
              <p:nvPr/>
            </p:nvSpPr>
            <p:spPr bwMode="auto">
              <a:xfrm>
                <a:off x="3267" y="1650"/>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442" name="Freeform 58"/>
              <p:cNvSpPr>
                <a:spLocks noChangeAspect="1"/>
              </p:cNvSpPr>
              <p:nvPr/>
            </p:nvSpPr>
            <p:spPr bwMode="auto">
              <a:xfrm>
                <a:off x="3297" y="1608"/>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443" name="Freeform 59"/>
              <p:cNvSpPr>
                <a:spLocks noChangeAspect="1"/>
              </p:cNvSpPr>
              <p:nvPr/>
            </p:nvSpPr>
            <p:spPr bwMode="auto">
              <a:xfrm>
                <a:off x="3309" y="1632"/>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444" name="Freeform 60"/>
              <p:cNvSpPr>
                <a:spLocks noChangeAspect="1"/>
              </p:cNvSpPr>
              <p:nvPr/>
            </p:nvSpPr>
            <p:spPr bwMode="auto">
              <a:xfrm>
                <a:off x="3260" y="1607"/>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445" name="Freeform 61"/>
              <p:cNvSpPr>
                <a:spLocks noChangeAspect="1"/>
              </p:cNvSpPr>
              <p:nvPr/>
            </p:nvSpPr>
            <p:spPr bwMode="auto">
              <a:xfrm>
                <a:off x="3249" y="1631"/>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446" name="Freeform 62"/>
              <p:cNvSpPr>
                <a:spLocks noChangeAspect="1"/>
              </p:cNvSpPr>
              <p:nvPr/>
            </p:nvSpPr>
            <p:spPr bwMode="auto">
              <a:xfrm>
                <a:off x="3423" y="1636"/>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447" name="Freeform 63"/>
              <p:cNvSpPr>
                <a:spLocks noChangeAspect="1"/>
              </p:cNvSpPr>
              <p:nvPr/>
            </p:nvSpPr>
            <p:spPr bwMode="auto">
              <a:xfrm>
                <a:off x="3226" y="1697"/>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448" name="Freeform 64"/>
              <p:cNvSpPr>
                <a:spLocks noChangeAspect="1"/>
              </p:cNvSpPr>
              <p:nvPr/>
            </p:nvSpPr>
            <p:spPr bwMode="auto">
              <a:xfrm>
                <a:off x="3396" y="1692"/>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449" name="Freeform 65"/>
              <p:cNvSpPr>
                <a:spLocks noChangeAspect="1"/>
              </p:cNvSpPr>
              <p:nvPr/>
            </p:nvSpPr>
            <p:spPr bwMode="auto">
              <a:xfrm>
                <a:off x="3245" y="1893"/>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450" name="Freeform 66"/>
              <p:cNvSpPr>
                <a:spLocks noChangeAspect="1"/>
              </p:cNvSpPr>
              <p:nvPr/>
            </p:nvSpPr>
            <p:spPr bwMode="auto">
              <a:xfrm>
                <a:off x="3268" y="1759"/>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451" name="Freeform 67"/>
              <p:cNvSpPr>
                <a:spLocks noChangeAspect="1"/>
              </p:cNvSpPr>
              <p:nvPr/>
            </p:nvSpPr>
            <p:spPr bwMode="auto">
              <a:xfrm>
                <a:off x="3285" y="1752"/>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452" name="Freeform 68"/>
              <p:cNvSpPr>
                <a:spLocks noChangeAspect="1"/>
              </p:cNvSpPr>
              <p:nvPr/>
            </p:nvSpPr>
            <p:spPr bwMode="auto">
              <a:xfrm>
                <a:off x="3409" y="1759"/>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453" name="Freeform 69"/>
              <p:cNvSpPr>
                <a:spLocks noChangeAspect="1"/>
              </p:cNvSpPr>
              <p:nvPr/>
            </p:nvSpPr>
            <p:spPr bwMode="auto">
              <a:xfrm>
                <a:off x="3286" y="1859"/>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454" name="Freeform 70"/>
              <p:cNvSpPr>
                <a:spLocks noChangeAspect="1"/>
              </p:cNvSpPr>
              <p:nvPr/>
            </p:nvSpPr>
            <p:spPr bwMode="auto">
              <a:xfrm>
                <a:off x="3318" y="1799"/>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455" name="Freeform 71"/>
              <p:cNvSpPr>
                <a:spLocks noChangeAspect="1"/>
              </p:cNvSpPr>
              <p:nvPr/>
            </p:nvSpPr>
            <p:spPr bwMode="auto">
              <a:xfrm>
                <a:off x="3368" y="1621"/>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13" name="Group 72"/>
            <p:cNvGrpSpPr>
              <a:grpSpLocks noChangeAspect="1"/>
            </p:cNvGrpSpPr>
            <p:nvPr/>
          </p:nvGrpSpPr>
          <p:grpSpPr bwMode="auto">
            <a:xfrm>
              <a:off x="1768" y="2152"/>
              <a:ext cx="200" cy="597"/>
              <a:chOff x="3110" y="1980"/>
              <a:chExt cx="200" cy="357"/>
            </a:xfrm>
          </p:grpSpPr>
          <p:sp>
            <p:nvSpPr>
              <p:cNvPr id="413" name="Freeform 73"/>
              <p:cNvSpPr>
                <a:spLocks noChangeAspect="1"/>
              </p:cNvSpPr>
              <p:nvPr/>
            </p:nvSpPr>
            <p:spPr bwMode="auto">
              <a:xfrm>
                <a:off x="312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FFCC99"/>
              </a:solidFill>
              <a:ln w="9525">
                <a:noFill/>
                <a:round/>
                <a:headEnd/>
                <a:tailEnd/>
              </a:ln>
            </p:spPr>
            <p:txBody>
              <a:bodyPr/>
              <a:lstStyle/>
              <a:p>
                <a:pPr algn="l" eaLnBrk="1" hangingPunct="1"/>
                <a:endParaRPr lang="en-US"/>
              </a:p>
            </p:txBody>
          </p:sp>
          <p:sp>
            <p:nvSpPr>
              <p:cNvPr id="414" name="Freeform 74"/>
              <p:cNvSpPr>
                <a:spLocks noChangeAspect="1"/>
              </p:cNvSpPr>
              <p:nvPr/>
            </p:nvSpPr>
            <p:spPr bwMode="auto">
              <a:xfrm>
                <a:off x="312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800000"/>
              </a:solidFill>
              <a:ln w="9525">
                <a:noFill/>
                <a:round/>
                <a:headEnd/>
                <a:tailEnd/>
              </a:ln>
            </p:spPr>
            <p:txBody>
              <a:bodyPr/>
              <a:lstStyle/>
              <a:p>
                <a:pPr algn="l" eaLnBrk="1" hangingPunct="1"/>
                <a:endParaRPr lang="en-US"/>
              </a:p>
            </p:txBody>
          </p:sp>
          <p:sp>
            <p:nvSpPr>
              <p:cNvPr id="415" name="Freeform 75"/>
              <p:cNvSpPr>
                <a:spLocks noChangeAspect="1"/>
              </p:cNvSpPr>
              <p:nvPr/>
            </p:nvSpPr>
            <p:spPr bwMode="auto">
              <a:xfrm>
                <a:off x="314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416" name="Freeform 76"/>
              <p:cNvSpPr>
                <a:spLocks noChangeAspect="1"/>
              </p:cNvSpPr>
              <p:nvPr/>
            </p:nvSpPr>
            <p:spPr bwMode="auto">
              <a:xfrm>
                <a:off x="315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417" name="Freeform 77"/>
              <p:cNvSpPr>
                <a:spLocks noChangeAspect="1"/>
              </p:cNvSpPr>
              <p:nvPr/>
            </p:nvSpPr>
            <p:spPr bwMode="auto">
              <a:xfrm>
                <a:off x="316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418" name="Freeform 78"/>
              <p:cNvSpPr>
                <a:spLocks noChangeAspect="1"/>
              </p:cNvSpPr>
              <p:nvPr/>
            </p:nvSpPr>
            <p:spPr bwMode="auto">
              <a:xfrm>
                <a:off x="316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FFCC99"/>
              </a:solidFill>
              <a:ln w="9525">
                <a:noFill/>
                <a:round/>
                <a:headEnd/>
                <a:tailEnd/>
              </a:ln>
            </p:spPr>
            <p:txBody>
              <a:bodyPr/>
              <a:lstStyle/>
              <a:p>
                <a:pPr algn="l" eaLnBrk="1" hangingPunct="1"/>
                <a:endParaRPr lang="en-US"/>
              </a:p>
            </p:txBody>
          </p:sp>
          <p:sp>
            <p:nvSpPr>
              <p:cNvPr id="419" name="Freeform 79"/>
              <p:cNvSpPr>
                <a:spLocks noChangeAspect="1"/>
              </p:cNvSpPr>
              <p:nvPr/>
            </p:nvSpPr>
            <p:spPr bwMode="auto">
              <a:xfrm>
                <a:off x="317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420" name="Freeform 80"/>
              <p:cNvSpPr>
                <a:spLocks noChangeAspect="1"/>
              </p:cNvSpPr>
              <p:nvPr/>
            </p:nvSpPr>
            <p:spPr bwMode="auto">
              <a:xfrm>
                <a:off x="313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FCC99"/>
              </a:solidFill>
              <a:ln w="9525">
                <a:noFill/>
                <a:round/>
                <a:headEnd/>
                <a:tailEnd/>
              </a:ln>
            </p:spPr>
            <p:txBody>
              <a:bodyPr/>
              <a:lstStyle/>
              <a:p>
                <a:pPr algn="l" eaLnBrk="1" hangingPunct="1"/>
                <a:endParaRPr lang="en-US"/>
              </a:p>
            </p:txBody>
          </p:sp>
          <p:sp>
            <p:nvSpPr>
              <p:cNvPr id="421" name="Freeform 81"/>
              <p:cNvSpPr>
                <a:spLocks noChangeAspect="1"/>
              </p:cNvSpPr>
              <p:nvPr/>
            </p:nvSpPr>
            <p:spPr bwMode="auto">
              <a:xfrm>
                <a:off x="315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422" name="Freeform 82"/>
              <p:cNvSpPr>
                <a:spLocks noChangeAspect="1"/>
              </p:cNvSpPr>
              <p:nvPr/>
            </p:nvSpPr>
            <p:spPr bwMode="auto">
              <a:xfrm>
                <a:off x="322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423" name="Freeform 83"/>
              <p:cNvSpPr>
                <a:spLocks noChangeAspect="1"/>
              </p:cNvSpPr>
              <p:nvPr/>
            </p:nvSpPr>
            <p:spPr bwMode="auto">
              <a:xfrm>
                <a:off x="315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424" name="Freeform 84"/>
              <p:cNvSpPr>
                <a:spLocks noChangeAspect="1"/>
              </p:cNvSpPr>
              <p:nvPr/>
            </p:nvSpPr>
            <p:spPr bwMode="auto">
              <a:xfrm>
                <a:off x="311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425" name="Freeform 85"/>
              <p:cNvSpPr>
                <a:spLocks noChangeAspect="1"/>
              </p:cNvSpPr>
              <p:nvPr/>
            </p:nvSpPr>
            <p:spPr bwMode="auto">
              <a:xfrm>
                <a:off x="322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426" name="Freeform 86"/>
              <p:cNvSpPr>
                <a:spLocks noChangeAspect="1"/>
              </p:cNvSpPr>
              <p:nvPr/>
            </p:nvSpPr>
            <p:spPr bwMode="auto">
              <a:xfrm>
                <a:off x="314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427" name="Freeform 87"/>
              <p:cNvSpPr>
                <a:spLocks noChangeAspect="1"/>
              </p:cNvSpPr>
              <p:nvPr/>
            </p:nvSpPr>
            <p:spPr bwMode="auto">
              <a:xfrm>
                <a:off x="313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428" name="Freeform 88"/>
              <p:cNvSpPr>
                <a:spLocks noChangeAspect="1"/>
              </p:cNvSpPr>
              <p:nvPr/>
            </p:nvSpPr>
            <p:spPr bwMode="auto">
              <a:xfrm>
                <a:off x="314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429" name="Freeform 89"/>
              <p:cNvSpPr>
                <a:spLocks noChangeAspect="1"/>
              </p:cNvSpPr>
              <p:nvPr/>
            </p:nvSpPr>
            <p:spPr bwMode="auto">
              <a:xfrm>
                <a:off x="319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430" name="Freeform 90"/>
              <p:cNvSpPr>
                <a:spLocks noChangeAspect="1"/>
              </p:cNvSpPr>
              <p:nvPr/>
            </p:nvSpPr>
            <p:spPr bwMode="auto">
              <a:xfrm>
                <a:off x="325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31" name="Freeform 91"/>
              <p:cNvSpPr>
                <a:spLocks noChangeAspect="1"/>
              </p:cNvSpPr>
              <p:nvPr/>
            </p:nvSpPr>
            <p:spPr bwMode="auto">
              <a:xfrm>
                <a:off x="316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32" name="Freeform 92"/>
              <p:cNvSpPr>
                <a:spLocks noChangeAspect="1"/>
              </p:cNvSpPr>
              <p:nvPr/>
            </p:nvSpPr>
            <p:spPr bwMode="auto">
              <a:xfrm>
                <a:off x="323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433" name="Freeform 93"/>
              <p:cNvSpPr>
                <a:spLocks noChangeAspect="1"/>
              </p:cNvSpPr>
              <p:nvPr/>
            </p:nvSpPr>
            <p:spPr bwMode="auto">
              <a:xfrm>
                <a:off x="316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434" name="Freeform 94"/>
              <p:cNvSpPr>
                <a:spLocks noChangeAspect="1"/>
              </p:cNvSpPr>
              <p:nvPr/>
            </p:nvSpPr>
            <p:spPr bwMode="auto">
              <a:xfrm>
                <a:off x="317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4" name="Group 95"/>
            <p:cNvGrpSpPr>
              <a:grpSpLocks noChangeAspect="1"/>
            </p:cNvGrpSpPr>
            <p:nvPr/>
          </p:nvGrpSpPr>
          <p:grpSpPr bwMode="auto">
            <a:xfrm>
              <a:off x="1816" y="2488"/>
              <a:ext cx="274" cy="383"/>
              <a:chOff x="2730" y="1980"/>
              <a:chExt cx="274" cy="383"/>
            </a:xfrm>
          </p:grpSpPr>
          <p:sp>
            <p:nvSpPr>
              <p:cNvPr id="396" name="Freeform 96"/>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397" name="Freeform 97"/>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398" name="Freeform 98"/>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399" name="Freeform 99"/>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400" name="Freeform 100"/>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401" name="Freeform 101"/>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402" name="Freeform 102"/>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403" name="Freeform 103"/>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404" name="Freeform 104"/>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405" name="Freeform 105"/>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406" name="Freeform 106"/>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407" name="Freeform 107"/>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408" name="Freeform 108"/>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409" name="Freeform 109"/>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410" name="Freeform 110"/>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411" name="Freeform 111"/>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412" name="Freeform 112"/>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5" name="Group 113"/>
            <p:cNvGrpSpPr>
              <a:grpSpLocks noChangeAspect="1"/>
            </p:cNvGrpSpPr>
            <p:nvPr/>
          </p:nvGrpSpPr>
          <p:grpSpPr bwMode="auto">
            <a:xfrm>
              <a:off x="2008" y="2584"/>
              <a:ext cx="264" cy="344"/>
              <a:chOff x="3658" y="2422"/>
              <a:chExt cx="264" cy="344"/>
            </a:xfrm>
          </p:grpSpPr>
          <p:sp>
            <p:nvSpPr>
              <p:cNvPr id="375" name="Freeform 114"/>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376" name="Freeform 115"/>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377" name="Freeform 116"/>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378" name="Freeform 117"/>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379" name="Freeform 118"/>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380" name="Freeform 119"/>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381" name="Freeform 120"/>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382" name="Freeform 121"/>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383" name="Freeform 122"/>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384" name="Freeform 123"/>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385" name="Freeform 124"/>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386" name="Freeform 125"/>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387" name="Freeform 126"/>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388" name="Freeform 127"/>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389" name="Freeform 128"/>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390" name="Freeform 129"/>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391" name="Freeform 130"/>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392" name="Freeform 131"/>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393" name="Freeform 132"/>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394" name="Freeform 133"/>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395" name="Freeform 134"/>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16" name="Group 135"/>
            <p:cNvGrpSpPr>
              <a:grpSpLocks noChangeAspect="1"/>
            </p:cNvGrpSpPr>
            <p:nvPr/>
          </p:nvGrpSpPr>
          <p:grpSpPr bwMode="auto">
            <a:xfrm>
              <a:off x="1528" y="2344"/>
              <a:ext cx="274" cy="383"/>
              <a:chOff x="2361" y="2011"/>
              <a:chExt cx="274" cy="383"/>
            </a:xfrm>
          </p:grpSpPr>
          <p:sp>
            <p:nvSpPr>
              <p:cNvPr id="358" name="Freeform 136"/>
              <p:cNvSpPr>
                <a:spLocks noChangeAspect="1"/>
              </p:cNvSpPr>
              <p:nvPr/>
            </p:nvSpPr>
            <p:spPr bwMode="auto">
              <a:xfrm>
                <a:off x="2371" y="2030"/>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99CC00"/>
              </a:solidFill>
              <a:ln w="9525">
                <a:noFill/>
                <a:round/>
                <a:headEnd/>
                <a:tailEnd/>
              </a:ln>
            </p:spPr>
            <p:txBody>
              <a:bodyPr/>
              <a:lstStyle/>
              <a:p>
                <a:pPr algn="l" eaLnBrk="1" hangingPunct="1"/>
                <a:endParaRPr lang="en-US"/>
              </a:p>
            </p:txBody>
          </p:sp>
          <p:sp>
            <p:nvSpPr>
              <p:cNvPr id="359" name="Freeform 137"/>
              <p:cNvSpPr>
                <a:spLocks noChangeAspect="1"/>
              </p:cNvSpPr>
              <p:nvPr/>
            </p:nvSpPr>
            <p:spPr bwMode="auto">
              <a:xfrm>
                <a:off x="2400" y="2064"/>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360" name="Freeform 138"/>
              <p:cNvSpPr>
                <a:spLocks noChangeAspect="1"/>
              </p:cNvSpPr>
              <p:nvPr/>
            </p:nvSpPr>
            <p:spPr bwMode="auto">
              <a:xfrm>
                <a:off x="2525" y="2041"/>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333300"/>
              </a:solidFill>
              <a:ln w="9525">
                <a:noFill/>
                <a:round/>
                <a:headEnd/>
                <a:tailEnd/>
              </a:ln>
            </p:spPr>
            <p:txBody>
              <a:bodyPr/>
              <a:lstStyle/>
              <a:p>
                <a:pPr algn="l" eaLnBrk="1" hangingPunct="1"/>
                <a:endParaRPr lang="en-US"/>
              </a:p>
            </p:txBody>
          </p:sp>
          <p:sp>
            <p:nvSpPr>
              <p:cNvPr id="361" name="Freeform 139"/>
              <p:cNvSpPr>
                <a:spLocks noChangeAspect="1"/>
              </p:cNvSpPr>
              <p:nvPr/>
            </p:nvSpPr>
            <p:spPr bwMode="auto">
              <a:xfrm>
                <a:off x="2548" y="2073"/>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362" name="Freeform 140"/>
              <p:cNvSpPr>
                <a:spLocks noChangeAspect="1"/>
              </p:cNvSpPr>
              <p:nvPr/>
            </p:nvSpPr>
            <p:spPr bwMode="auto">
              <a:xfrm>
                <a:off x="2372" y="2014"/>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363" name="Freeform 141"/>
              <p:cNvSpPr>
                <a:spLocks noChangeAspect="1"/>
              </p:cNvSpPr>
              <p:nvPr/>
            </p:nvSpPr>
            <p:spPr bwMode="auto">
              <a:xfrm>
                <a:off x="2430" y="2113"/>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364" name="Freeform 142"/>
              <p:cNvSpPr>
                <a:spLocks noChangeAspect="1"/>
              </p:cNvSpPr>
              <p:nvPr/>
            </p:nvSpPr>
            <p:spPr bwMode="auto">
              <a:xfrm>
                <a:off x="2362" y="2028"/>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365" name="Freeform 143"/>
              <p:cNvSpPr>
                <a:spLocks noChangeAspect="1"/>
              </p:cNvSpPr>
              <p:nvPr/>
            </p:nvSpPr>
            <p:spPr bwMode="auto">
              <a:xfrm>
                <a:off x="2364" y="2034"/>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366" name="Freeform 144"/>
              <p:cNvSpPr>
                <a:spLocks noChangeAspect="1"/>
              </p:cNvSpPr>
              <p:nvPr/>
            </p:nvSpPr>
            <p:spPr bwMode="auto">
              <a:xfrm>
                <a:off x="2514" y="2069"/>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367" name="Freeform 145"/>
              <p:cNvSpPr>
                <a:spLocks noChangeAspect="1"/>
              </p:cNvSpPr>
              <p:nvPr/>
            </p:nvSpPr>
            <p:spPr bwMode="auto">
              <a:xfrm>
                <a:off x="2527" y="2020"/>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368" name="Freeform 146"/>
              <p:cNvSpPr>
                <a:spLocks noChangeAspect="1"/>
              </p:cNvSpPr>
              <p:nvPr/>
            </p:nvSpPr>
            <p:spPr bwMode="auto">
              <a:xfrm>
                <a:off x="2609" y="2025"/>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369" name="Freeform 147"/>
              <p:cNvSpPr>
                <a:spLocks noChangeAspect="1"/>
              </p:cNvSpPr>
              <p:nvPr/>
            </p:nvSpPr>
            <p:spPr bwMode="auto">
              <a:xfrm>
                <a:off x="2361" y="2011"/>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370" name="Freeform 148"/>
              <p:cNvSpPr>
                <a:spLocks noChangeAspect="1"/>
              </p:cNvSpPr>
              <p:nvPr/>
            </p:nvSpPr>
            <p:spPr bwMode="auto">
              <a:xfrm>
                <a:off x="2440" y="2014"/>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371" name="Freeform 149"/>
              <p:cNvSpPr>
                <a:spLocks noChangeAspect="1"/>
              </p:cNvSpPr>
              <p:nvPr/>
            </p:nvSpPr>
            <p:spPr bwMode="auto">
              <a:xfrm>
                <a:off x="2468" y="2372"/>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372" name="Freeform 150"/>
              <p:cNvSpPr>
                <a:spLocks noChangeAspect="1"/>
              </p:cNvSpPr>
              <p:nvPr/>
            </p:nvSpPr>
            <p:spPr bwMode="auto">
              <a:xfrm>
                <a:off x="2501" y="2029"/>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373" name="Freeform 151"/>
              <p:cNvSpPr>
                <a:spLocks noChangeAspect="1"/>
              </p:cNvSpPr>
              <p:nvPr/>
            </p:nvSpPr>
            <p:spPr bwMode="auto">
              <a:xfrm>
                <a:off x="2386" y="2020"/>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374" name="Freeform 152"/>
              <p:cNvSpPr>
                <a:spLocks noChangeAspect="1"/>
              </p:cNvSpPr>
              <p:nvPr/>
            </p:nvSpPr>
            <p:spPr bwMode="auto">
              <a:xfrm>
                <a:off x="2451" y="2033"/>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7" name="Group 153"/>
            <p:cNvGrpSpPr>
              <a:grpSpLocks noChangeAspect="1"/>
            </p:cNvGrpSpPr>
            <p:nvPr/>
          </p:nvGrpSpPr>
          <p:grpSpPr bwMode="auto">
            <a:xfrm>
              <a:off x="1288" y="2248"/>
              <a:ext cx="274" cy="383"/>
              <a:chOff x="2054" y="2093"/>
              <a:chExt cx="274" cy="383"/>
            </a:xfrm>
          </p:grpSpPr>
          <p:sp>
            <p:nvSpPr>
              <p:cNvPr id="341" name="Freeform 154"/>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342" name="Freeform 155"/>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343" name="Freeform 156"/>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344" name="Freeform 157"/>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345" name="Freeform 158"/>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346" name="Freeform 159"/>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347" name="Freeform 160"/>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348" name="Freeform 161"/>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349" name="Freeform 162"/>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350" name="Freeform 163"/>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351" name="Freeform 164"/>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352" name="Freeform 165"/>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353" name="Freeform 166"/>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354" name="Freeform 167"/>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355" name="Freeform 168"/>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356" name="Freeform 169"/>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357" name="Freeform 170"/>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8" name="Group 171"/>
            <p:cNvGrpSpPr>
              <a:grpSpLocks noChangeAspect="1"/>
            </p:cNvGrpSpPr>
            <p:nvPr/>
          </p:nvGrpSpPr>
          <p:grpSpPr bwMode="auto">
            <a:xfrm>
              <a:off x="1144" y="2392"/>
              <a:ext cx="274" cy="383"/>
              <a:chOff x="1766" y="2141"/>
              <a:chExt cx="274" cy="383"/>
            </a:xfrm>
          </p:grpSpPr>
          <p:sp>
            <p:nvSpPr>
              <p:cNvPr id="324" name="Freeform 172"/>
              <p:cNvSpPr>
                <a:spLocks noChangeAspect="1"/>
              </p:cNvSpPr>
              <p:nvPr/>
            </p:nvSpPr>
            <p:spPr bwMode="auto">
              <a:xfrm>
                <a:off x="1776" y="2160"/>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F0000"/>
              </a:solidFill>
              <a:ln w="9525">
                <a:noFill/>
                <a:round/>
                <a:headEnd/>
                <a:tailEnd/>
              </a:ln>
            </p:spPr>
            <p:txBody>
              <a:bodyPr/>
              <a:lstStyle/>
              <a:p>
                <a:pPr algn="l" eaLnBrk="1" hangingPunct="1"/>
                <a:endParaRPr lang="en-US"/>
              </a:p>
            </p:txBody>
          </p:sp>
          <p:sp>
            <p:nvSpPr>
              <p:cNvPr id="325" name="Freeform 173"/>
              <p:cNvSpPr>
                <a:spLocks noChangeAspect="1"/>
              </p:cNvSpPr>
              <p:nvPr/>
            </p:nvSpPr>
            <p:spPr bwMode="auto">
              <a:xfrm>
                <a:off x="1805" y="2194"/>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326" name="Freeform 174"/>
              <p:cNvSpPr>
                <a:spLocks noChangeAspect="1"/>
              </p:cNvSpPr>
              <p:nvPr/>
            </p:nvSpPr>
            <p:spPr bwMode="auto">
              <a:xfrm>
                <a:off x="1930" y="2171"/>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800000"/>
              </a:solidFill>
              <a:ln w="9525">
                <a:noFill/>
                <a:round/>
                <a:headEnd/>
                <a:tailEnd/>
              </a:ln>
            </p:spPr>
            <p:txBody>
              <a:bodyPr/>
              <a:lstStyle/>
              <a:p>
                <a:pPr algn="l" eaLnBrk="1" hangingPunct="1"/>
                <a:endParaRPr lang="en-US"/>
              </a:p>
            </p:txBody>
          </p:sp>
          <p:sp>
            <p:nvSpPr>
              <p:cNvPr id="327" name="Freeform 175"/>
              <p:cNvSpPr>
                <a:spLocks noChangeAspect="1"/>
              </p:cNvSpPr>
              <p:nvPr/>
            </p:nvSpPr>
            <p:spPr bwMode="auto">
              <a:xfrm>
                <a:off x="1953" y="2203"/>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328" name="Freeform 176"/>
              <p:cNvSpPr>
                <a:spLocks noChangeAspect="1"/>
              </p:cNvSpPr>
              <p:nvPr/>
            </p:nvSpPr>
            <p:spPr bwMode="auto">
              <a:xfrm>
                <a:off x="1777" y="2144"/>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329" name="Freeform 177"/>
              <p:cNvSpPr>
                <a:spLocks noChangeAspect="1"/>
              </p:cNvSpPr>
              <p:nvPr/>
            </p:nvSpPr>
            <p:spPr bwMode="auto">
              <a:xfrm>
                <a:off x="1835" y="2243"/>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003366"/>
              </a:solidFill>
              <a:ln w="9525">
                <a:noFill/>
                <a:round/>
                <a:headEnd/>
                <a:tailEnd/>
              </a:ln>
            </p:spPr>
            <p:txBody>
              <a:bodyPr/>
              <a:lstStyle/>
              <a:p>
                <a:pPr algn="l" eaLnBrk="1" hangingPunct="1"/>
                <a:endParaRPr lang="en-US"/>
              </a:p>
            </p:txBody>
          </p:sp>
          <p:sp>
            <p:nvSpPr>
              <p:cNvPr id="330" name="Freeform 178"/>
              <p:cNvSpPr>
                <a:spLocks noChangeAspect="1"/>
              </p:cNvSpPr>
              <p:nvPr/>
            </p:nvSpPr>
            <p:spPr bwMode="auto">
              <a:xfrm>
                <a:off x="1767" y="2158"/>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331" name="Freeform 179"/>
              <p:cNvSpPr>
                <a:spLocks noChangeAspect="1"/>
              </p:cNvSpPr>
              <p:nvPr/>
            </p:nvSpPr>
            <p:spPr bwMode="auto">
              <a:xfrm>
                <a:off x="1769" y="2164"/>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332" name="Freeform 180"/>
              <p:cNvSpPr>
                <a:spLocks noChangeAspect="1"/>
              </p:cNvSpPr>
              <p:nvPr/>
            </p:nvSpPr>
            <p:spPr bwMode="auto">
              <a:xfrm>
                <a:off x="1919" y="2199"/>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333" name="Freeform 181"/>
              <p:cNvSpPr>
                <a:spLocks noChangeAspect="1"/>
              </p:cNvSpPr>
              <p:nvPr/>
            </p:nvSpPr>
            <p:spPr bwMode="auto">
              <a:xfrm>
                <a:off x="1932" y="2150"/>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334" name="Freeform 182"/>
              <p:cNvSpPr>
                <a:spLocks noChangeAspect="1"/>
              </p:cNvSpPr>
              <p:nvPr/>
            </p:nvSpPr>
            <p:spPr bwMode="auto">
              <a:xfrm>
                <a:off x="2014" y="2155"/>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335" name="Freeform 183"/>
              <p:cNvSpPr>
                <a:spLocks noChangeAspect="1"/>
              </p:cNvSpPr>
              <p:nvPr/>
            </p:nvSpPr>
            <p:spPr bwMode="auto">
              <a:xfrm>
                <a:off x="1766" y="2141"/>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336" name="Freeform 184"/>
              <p:cNvSpPr>
                <a:spLocks noChangeAspect="1"/>
              </p:cNvSpPr>
              <p:nvPr/>
            </p:nvSpPr>
            <p:spPr bwMode="auto">
              <a:xfrm>
                <a:off x="1845" y="2144"/>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337" name="Freeform 185"/>
              <p:cNvSpPr>
                <a:spLocks noChangeAspect="1"/>
              </p:cNvSpPr>
              <p:nvPr/>
            </p:nvSpPr>
            <p:spPr bwMode="auto">
              <a:xfrm>
                <a:off x="1873" y="2502"/>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338" name="Freeform 186"/>
              <p:cNvSpPr>
                <a:spLocks noChangeAspect="1"/>
              </p:cNvSpPr>
              <p:nvPr/>
            </p:nvSpPr>
            <p:spPr bwMode="auto">
              <a:xfrm>
                <a:off x="1906" y="2159"/>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339" name="Freeform 187"/>
              <p:cNvSpPr>
                <a:spLocks noChangeAspect="1"/>
              </p:cNvSpPr>
              <p:nvPr/>
            </p:nvSpPr>
            <p:spPr bwMode="auto">
              <a:xfrm>
                <a:off x="1791" y="2150"/>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340" name="Freeform 188"/>
              <p:cNvSpPr>
                <a:spLocks noChangeAspect="1"/>
              </p:cNvSpPr>
              <p:nvPr/>
            </p:nvSpPr>
            <p:spPr bwMode="auto">
              <a:xfrm>
                <a:off x="1856" y="2163"/>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9" name="Group 189"/>
            <p:cNvGrpSpPr>
              <a:grpSpLocks noChangeAspect="1"/>
            </p:cNvGrpSpPr>
            <p:nvPr/>
          </p:nvGrpSpPr>
          <p:grpSpPr bwMode="auto">
            <a:xfrm>
              <a:off x="1048" y="2536"/>
              <a:ext cx="200" cy="357"/>
              <a:chOff x="3350" y="1980"/>
              <a:chExt cx="200" cy="357"/>
            </a:xfrm>
          </p:grpSpPr>
          <p:sp>
            <p:nvSpPr>
              <p:cNvPr id="302" name="Freeform 190"/>
              <p:cNvSpPr>
                <a:spLocks noChangeAspect="1"/>
              </p:cNvSpPr>
              <p:nvPr/>
            </p:nvSpPr>
            <p:spPr bwMode="auto">
              <a:xfrm>
                <a:off x="336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303" name="Freeform 191"/>
              <p:cNvSpPr>
                <a:spLocks noChangeAspect="1"/>
              </p:cNvSpPr>
              <p:nvPr/>
            </p:nvSpPr>
            <p:spPr bwMode="auto">
              <a:xfrm>
                <a:off x="336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FFB300"/>
              </a:solidFill>
              <a:ln w="9525">
                <a:noFill/>
                <a:round/>
                <a:headEnd/>
                <a:tailEnd/>
              </a:ln>
            </p:spPr>
            <p:txBody>
              <a:bodyPr/>
              <a:lstStyle/>
              <a:p>
                <a:pPr algn="l" eaLnBrk="1" hangingPunct="1"/>
                <a:endParaRPr lang="en-US"/>
              </a:p>
            </p:txBody>
          </p:sp>
          <p:sp>
            <p:nvSpPr>
              <p:cNvPr id="304" name="Freeform 192"/>
              <p:cNvSpPr>
                <a:spLocks noChangeAspect="1"/>
              </p:cNvSpPr>
              <p:nvPr/>
            </p:nvSpPr>
            <p:spPr bwMode="auto">
              <a:xfrm>
                <a:off x="338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305" name="Freeform 193"/>
              <p:cNvSpPr>
                <a:spLocks noChangeAspect="1"/>
              </p:cNvSpPr>
              <p:nvPr/>
            </p:nvSpPr>
            <p:spPr bwMode="auto">
              <a:xfrm>
                <a:off x="339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B84D"/>
              </a:solidFill>
              <a:ln w="9525">
                <a:noFill/>
                <a:round/>
                <a:headEnd/>
                <a:tailEnd/>
              </a:ln>
            </p:spPr>
            <p:txBody>
              <a:bodyPr/>
              <a:lstStyle/>
              <a:p>
                <a:pPr algn="l" eaLnBrk="1" hangingPunct="1"/>
                <a:endParaRPr lang="en-US"/>
              </a:p>
            </p:txBody>
          </p:sp>
          <p:sp>
            <p:nvSpPr>
              <p:cNvPr id="306" name="Freeform 194"/>
              <p:cNvSpPr>
                <a:spLocks noChangeAspect="1"/>
              </p:cNvSpPr>
              <p:nvPr/>
            </p:nvSpPr>
            <p:spPr bwMode="auto">
              <a:xfrm>
                <a:off x="340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307" name="Freeform 195"/>
              <p:cNvSpPr>
                <a:spLocks noChangeAspect="1"/>
              </p:cNvSpPr>
              <p:nvPr/>
            </p:nvSpPr>
            <p:spPr bwMode="auto">
              <a:xfrm>
                <a:off x="340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308" name="Freeform 196"/>
              <p:cNvSpPr>
                <a:spLocks noChangeAspect="1"/>
              </p:cNvSpPr>
              <p:nvPr/>
            </p:nvSpPr>
            <p:spPr bwMode="auto">
              <a:xfrm>
                <a:off x="341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FF9900"/>
              </a:solidFill>
              <a:ln w="9525">
                <a:noFill/>
                <a:round/>
                <a:headEnd/>
                <a:tailEnd/>
              </a:ln>
            </p:spPr>
            <p:txBody>
              <a:bodyPr/>
              <a:lstStyle/>
              <a:p>
                <a:pPr algn="l" eaLnBrk="1" hangingPunct="1"/>
                <a:endParaRPr lang="en-US"/>
              </a:p>
            </p:txBody>
          </p:sp>
          <p:sp>
            <p:nvSpPr>
              <p:cNvPr id="309" name="Freeform 197"/>
              <p:cNvSpPr>
                <a:spLocks noChangeAspect="1"/>
              </p:cNvSpPr>
              <p:nvPr/>
            </p:nvSpPr>
            <p:spPr bwMode="auto">
              <a:xfrm>
                <a:off x="337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310" name="Freeform 198"/>
              <p:cNvSpPr>
                <a:spLocks noChangeAspect="1"/>
              </p:cNvSpPr>
              <p:nvPr/>
            </p:nvSpPr>
            <p:spPr bwMode="auto">
              <a:xfrm>
                <a:off x="339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311" name="Freeform 199"/>
              <p:cNvSpPr>
                <a:spLocks noChangeAspect="1"/>
              </p:cNvSpPr>
              <p:nvPr/>
            </p:nvSpPr>
            <p:spPr bwMode="auto">
              <a:xfrm>
                <a:off x="346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312" name="Freeform 200"/>
              <p:cNvSpPr>
                <a:spLocks noChangeAspect="1"/>
              </p:cNvSpPr>
              <p:nvPr/>
            </p:nvSpPr>
            <p:spPr bwMode="auto">
              <a:xfrm>
                <a:off x="339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313" name="Freeform 201"/>
              <p:cNvSpPr>
                <a:spLocks noChangeAspect="1"/>
              </p:cNvSpPr>
              <p:nvPr/>
            </p:nvSpPr>
            <p:spPr bwMode="auto">
              <a:xfrm>
                <a:off x="335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314" name="Freeform 202"/>
              <p:cNvSpPr>
                <a:spLocks noChangeAspect="1"/>
              </p:cNvSpPr>
              <p:nvPr/>
            </p:nvSpPr>
            <p:spPr bwMode="auto">
              <a:xfrm>
                <a:off x="346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315" name="Freeform 203"/>
              <p:cNvSpPr>
                <a:spLocks noChangeAspect="1"/>
              </p:cNvSpPr>
              <p:nvPr/>
            </p:nvSpPr>
            <p:spPr bwMode="auto">
              <a:xfrm>
                <a:off x="338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316" name="Freeform 204"/>
              <p:cNvSpPr>
                <a:spLocks noChangeAspect="1"/>
              </p:cNvSpPr>
              <p:nvPr/>
            </p:nvSpPr>
            <p:spPr bwMode="auto">
              <a:xfrm>
                <a:off x="337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317" name="Freeform 205"/>
              <p:cNvSpPr>
                <a:spLocks noChangeAspect="1"/>
              </p:cNvSpPr>
              <p:nvPr/>
            </p:nvSpPr>
            <p:spPr bwMode="auto">
              <a:xfrm>
                <a:off x="338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318" name="Freeform 206"/>
              <p:cNvSpPr>
                <a:spLocks noChangeAspect="1"/>
              </p:cNvSpPr>
              <p:nvPr/>
            </p:nvSpPr>
            <p:spPr bwMode="auto">
              <a:xfrm>
                <a:off x="343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319" name="Freeform 207"/>
              <p:cNvSpPr>
                <a:spLocks noChangeAspect="1"/>
              </p:cNvSpPr>
              <p:nvPr/>
            </p:nvSpPr>
            <p:spPr bwMode="auto">
              <a:xfrm>
                <a:off x="349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320" name="Freeform 208"/>
              <p:cNvSpPr>
                <a:spLocks noChangeAspect="1"/>
              </p:cNvSpPr>
              <p:nvPr/>
            </p:nvSpPr>
            <p:spPr bwMode="auto">
              <a:xfrm>
                <a:off x="340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321" name="Freeform 209"/>
              <p:cNvSpPr>
                <a:spLocks noChangeAspect="1"/>
              </p:cNvSpPr>
              <p:nvPr/>
            </p:nvSpPr>
            <p:spPr bwMode="auto">
              <a:xfrm>
                <a:off x="347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322" name="Freeform 210"/>
              <p:cNvSpPr>
                <a:spLocks noChangeAspect="1"/>
              </p:cNvSpPr>
              <p:nvPr/>
            </p:nvSpPr>
            <p:spPr bwMode="auto">
              <a:xfrm>
                <a:off x="340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323" name="Freeform 211"/>
              <p:cNvSpPr>
                <a:spLocks noChangeAspect="1"/>
              </p:cNvSpPr>
              <p:nvPr/>
            </p:nvSpPr>
            <p:spPr bwMode="auto">
              <a:xfrm>
                <a:off x="341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20" name="Group 212"/>
            <p:cNvGrpSpPr>
              <a:grpSpLocks noChangeAspect="1"/>
            </p:cNvGrpSpPr>
            <p:nvPr/>
          </p:nvGrpSpPr>
          <p:grpSpPr bwMode="auto">
            <a:xfrm>
              <a:off x="1432" y="2440"/>
              <a:ext cx="200" cy="357"/>
              <a:chOff x="3590" y="1980"/>
              <a:chExt cx="200" cy="357"/>
            </a:xfrm>
          </p:grpSpPr>
          <p:sp>
            <p:nvSpPr>
              <p:cNvPr id="280" name="Freeform 213"/>
              <p:cNvSpPr>
                <a:spLocks noChangeAspect="1"/>
              </p:cNvSpPr>
              <p:nvPr/>
            </p:nvSpPr>
            <p:spPr bwMode="auto">
              <a:xfrm>
                <a:off x="360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281" name="Freeform 214"/>
              <p:cNvSpPr>
                <a:spLocks noChangeAspect="1"/>
              </p:cNvSpPr>
              <p:nvPr/>
            </p:nvSpPr>
            <p:spPr bwMode="auto">
              <a:xfrm>
                <a:off x="360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008000"/>
              </a:solidFill>
              <a:ln w="9525">
                <a:noFill/>
                <a:round/>
                <a:headEnd/>
                <a:tailEnd/>
              </a:ln>
            </p:spPr>
            <p:txBody>
              <a:bodyPr/>
              <a:lstStyle/>
              <a:p>
                <a:pPr algn="l" eaLnBrk="1" hangingPunct="1"/>
                <a:endParaRPr lang="en-US"/>
              </a:p>
            </p:txBody>
          </p:sp>
          <p:sp>
            <p:nvSpPr>
              <p:cNvPr id="282" name="Freeform 215"/>
              <p:cNvSpPr>
                <a:spLocks noChangeAspect="1"/>
              </p:cNvSpPr>
              <p:nvPr/>
            </p:nvSpPr>
            <p:spPr bwMode="auto">
              <a:xfrm>
                <a:off x="362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283" name="Freeform 216"/>
              <p:cNvSpPr>
                <a:spLocks noChangeAspect="1"/>
              </p:cNvSpPr>
              <p:nvPr/>
            </p:nvSpPr>
            <p:spPr bwMode="auto">
              <a:xfrm>
                <a:off x="363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284" name="Freeform 217"/>
              <p:cNvSpPr>
                <a:spLocks noChangeAspect="1"/>
              </p:cNvSpPr>
              <p:nvPr/>
            </p:nvSpPr>
            <p:spPr bwMode="auto">
              <a:xfrm>
                <a:off x="364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285" name="Freeform 218"/>
              <p:cNvSpPr>
                <a:spLocks noChangeAspect="1"/>
              </p:cNvSpPr>
              <p:nvPr/>
            </p:nvSpPr>
            <p:spPr bwMode="auto">
              <a:xfrm>
                <a:off x="364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CCFFCC"/>
              </a:solidFill>
              <a:ln w="9525">
                <a:noFill/>
                <a:round/>
                <a:headEnd/>
                <a:tailEnd/>
              </a:ln>
            </p:spPr>
            <p:txBody>
              <a:bodyPr/>
              <a:lstStyle/>
              <a:p>
                <a:pPr algn="l" eaLnBrk="1" hangingPunct="1"/>
                <a:endParaRPr lang="en-US"/>
              </a:p>
            </p:txBody>
          </p:sp>
          <p:sp>
            <p:nvSpPr>
              <p:cNvPr id="286" name="Freeform 219"/>
              <p:cNvSpPr>
                <a:spLocks noChangeAspect="1"/>
              </p:cNvSpPr>
              <p:nvPr/>
            </p:nvSpPr>
            <p:spPr bwMode="auto">
              <a:xfrm>
                <a:off x="365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287" name="Freeform 220"/>
              <p:cNvSpPr>
                <a:spLocks noChangeAspect="1"/>
              </p:cNvSpPr>
              <p:nvPr/>
            </p:nvSpPr>
            <p:spPr bwMode="auto">
              <a:xfrm>
                <a:off x="361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CCFFCC"/>
              </a:solidFill>
              <a:ln w="9525">
                <a:noFill/>
                <a:round/>
                <a:headEnd/>
                <a:tailEnd/>
              </a:ln>
            </p:spPr>
            <p:txBody>
              <a:bodyPr/>
              <a:lstStyle/>
              <a:p>
                <a:pPr algn="l" eaLnBrk="1" hangingPunct="1"/>
                <a:endParaRPr lang="en-US"/>
              </a:p>
            </p:txBody>
          </p:sp>
          <p:sp>
            <p:nvSpPr>
              <p:cNvPr id="288" name="Freeform 221"/>
              <p:cNvSpPr>
                <a:spLocks noChangeAspect="1"/>
              </p:cNvSpPr>
              <p:nvPr/>
            </p:nvSpPr>
            <p:spPr bwMode="auto">
              <a:xfrm>
                <a:off x="363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289" name="Freeform 222"/>
              <p:cNvSpPr>
                <a:spLocks noChangeAspect="1"/>
              </p:cNvSpPr>
              <p:nvPr/>
            </p:nvSpPr>
            <p:spPr bwMode="auto">
              <a:xfrm>
                <a:off x="370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290" name="Freeform 223"/>
              <p:cNvSpPr>
                <a:spLocks noChangeAspect="1"/>
              </p:cNvSpPr>
              <p:nvPr/>
            </p:nvSpPr>
            <p:spPr bwMode="auto">
              <a:xfrm>
                <a:off x="363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291" name="Freeform 224"/>
              <p:cNvSpPr>
                <a:spLocks noChangeAspect="1"/>
              </p:cNvSpPr>
              <p:nvPr/>
            </p:nvSpPr>
            <p:spPr bwMode="auto">
              <a:xfrm>
                <a:off x="359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292" name="Freeform 225"/>
              <p:cNvSpPr>
                <a:spLocks noChangeAspect="1"/>
              </p:cNvSpPr>
              <p:nvPr/>
            </p:nvSpPr>
            <p:spPr bwMode="auto">
              <a:xfrm>
                <a:off x="370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293" name="Freeform 226"/>
              <p:cNvSpPr>
                <a:spLocks noChangeAspect="1"/>
              </p:cNvSpPr>
              <p:nvPr/>
            </p:nvSpPr>
            <p:spPr bwMode="auto">
              <a:xfrm>
                <a:off x="362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294" name="Freeform 227"/>
              <p:cNvSpPr>
                <a:spLocks noChangeAspect="1"/>
              </p:cNvSpPr>
              <p:nvPr/>
            </p:nvSpPr>
            <p:spPr bwMode="auto">
              <a:xfrm>
                <a:off x="361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295" name="Freeform 228"/>
              <p:cNvSpPr>
                <a:spLocks noChangeAspect="1"/>
              </p:cNvSpPr>
              <p:nvPr/>
            </p:nvSpPr>
            <p:spPr bwMode="auto">
              <a:xfrm>
                <a:off x="362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296" name="Freeform 229"/>
              <p:cNvSpPr>
                <a:spLocks noChangeAspect="1"/>
              </p:cNvSpPr>
              <p:nvPr/>
            </p:nvSpPr>
            <p:spPr bwMode="auto">
              <a:xfrm>
                <a:off x="367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297" name="Freeform 230"/>
              <p:cNvSpPr>
                <a:spLocks noChangeAspect="1"/>
              </p:cNvSpPr>
              <p:nvPr/>
            </p:nvSpPr>
            <p:spPr bwMode="auto">
              <a:xfrm>
                <a:off x="373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298" name="Freeform 231"/>
              <p:cNvSpPr>
                <a:spLocks noChangeAspect="1"/>
              </p:cNvSpPr>
              <p:nvPr/>
            </p:nvSpPr>
            <p:spPr bwMode="auto">
              <a:xfrm>
                <a:off x="364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299" name="Freeform 232"/>
              <p:cNvSpPr>
                <a:spLocks noChangeAspect="1"/>
              </p:cNvSpPr>
              <p:nvPr/>
            </p:nvSpPr>
            <p:spPr bwMode="auto">
              <a:xfrm>
                <a:off x="371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300" name="Freeform 233"/>
              <p:cNvSpPr>
                <a:spLocks noChangeAspect="1"/>
              </p:cNvSpPr>
              <p:nvPr/>
            </p:nvSpPr>
            <p:spPr bwMode="auto">
              <a:xfrm>
                <a:off x="364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301" name="Freeform 234"/>
              <p:cNvSpPr>
                <a:spLocks noChangeAspect="1"/>
              </p:cNvSpPr>
              <p:nvPr/>
            </p:nvSpPr>
            <p:spPr bwMode="auto">
              <a:xfrm>
                <a:off x="365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21" name="Group 235"/>
            <p:cNvGrpSpPr>
              <a:grpSpLocks noChangeAspect="1"/>
            </p:cNvGrpSpPr>
            <p:nvPr/>
          </p:nvGrpSpPr>
          <p:grpSpPr bwMode="auto">
            <a:xfrm>
              <a:off x="1288" y="2584"/>
              <a:ext cx="264" cy="344"/>
              <a:chOff x="3226" y="1606"/>
              <a:chExt cx="264" cy="344"/>
            </a:xfrm>
          </p:grpSpPr>
          <p:sp>
            <p:nvSpPr>
              <p:cNvPr id="259" name="Freeform 236"/>
              <p:cNvSpPr>
                <a:spLocks noChangeAspect="1"/>
              </p:cNvSpPr>
              <p:nvPr/>
            </p:nvSpPr>
            <p:spPr bwMode="auto">
              <a:xfrm>
                <a:off x="3232" y="1689"/>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66"/>
              </a:solidFill>
              <a:ln w="9525">
                <a:noFill/>
                <a:round/>
                <a:headEnd/>
                <a:tailEnd/>
              </a:ln>
            </p:spPr>
            <p:txBody>
              <a:bodyPr/>
              <a:lstStyle/>
              <a:p>
                <a:pPr algn="l" eaLnBrk="1" hangingPunct="1"/>
                <a:endParaRPr lang="en-US"/>
              </a:p>
            </p:txBody>
          </p:sp>
          <p:sp>
            <p:nvSpPr>
              <p:cNvPr id="260" name="Freeform 237"/>
              <p:cNvSpPr>
                <a:spLocks noChangeAspect="1"/>
              </p:cNvSpPr>
              <p:nvPr/>
            </p:nvSpPr>
            <p:spPr bwMode="auto">
              <a:xfrm>
                <a:off x="3264" y="1680"/>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660066"/>
              </a:solidFill>
              <a:ln w="9525">
                <a:noFill/>
                <a:round/>
                <a:headEnd/>
                <a:tailEnd/>
              </a:ln>
            </p:spPr>
            <p:txBody>
              <a:bodyPr/>
              <a:lstStyle/>
              <a:p>
                <a:pPr algn="l" eaLnBrk="1" hangingPunct="1"/>
                <a:endParaRPr lang="en-US"/>
              </a:p>
            </p:txBody>
          </p:sp>
          <p:sp>
            <p:nvSpPr>
              <p:cNvPr id="261" name="Freeform 238"/>
              <p:cNvSpPr>
                <a:spLocks noChangeAspect="1"/>
              </p:cNvSpPr>
              <p:nvPr/>
            </p:nvSpPr>
            <p:spPr bwMode="auto">
              <a:xfrm>
                <a:off x="3250" y="1722"/>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CC99FF"/>
              </a:solidFill>
              <a:ln w="9525">
                <a:noFill/>
                <a:round/>
                <a:headEnd/>
                <a:tailEnd/>
              </a:ln>
            </p:spPr>
            <p:txBody>
              <a:bodyPr/>
              <a:lstStyle/>
              <a:p>
                <a:pPr algn="l" eaLnBrk="1" hangingPunct="1"/>
                <a:endParaRPr lang="en-US"/>
              </a:p>
            </p:txBody>
          </p:sp>
          <p:sp>
            <p:nvSpPr>
              <p:cNvPr id="262" name="Freeform 239"/>
              <p:cNvSpPr>
                <a:spLocks noChangeAspect="1"/>
              </p:cNvSpPr>
              <p:nvPr/>
            </p:nvSpPr>
            <p:spPr bwMode="auto">
              <a:xfrm>
                <a:off x="3276" y="1760"/>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FF9900"/>
              </a:solidFill>
              <a:ln w="9525">
                <a:noFill/>
                <a:round/>
                <a:headEnd/>
                <a:tailEnd/>
              </a:ln>
            </p:spPr>
            <p:txBody>
              <a:bodyPr/>
              <a:lstStyle/>
              <a:p>
                <a:pPr algn="l" eaLnBrk="1" hangingPunct="1"/>
                <a:endParaRPr lang="en-US"/>
              </a:p>
            </p:txBody>
          </p:sp>
          <p:sp>
            <p:nvSpPr>
              <p:cNvPr id="263" name="Freeform 240"/>
              <p:cNvSpPr>
                <a:spLocks noChangeAspect="1"/>
              </p:cNvSpPr>
              <p:nvPr/>
            </p:nvSpPr>
            <p:spPr bwMode="auto">
              <a:xfrm>
                <a:off x="3278" y="1785"/>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FF99"/>
              </a:solidFill>
              <a:ln w="9525">
                <a:noFill/>
                <a:round/>
                <a:headEnd/>
                <a:tailEnd/>
              </a:ln>
            </p:spPr>
            <p:txBody>
              <a:bodyPr/>
              <a:lstStyle/>
              <a:p>
                <a:pPr algn="l" eaLnBrk="1" hangingPunct="1"/>
                <a:endParaRPr lang="en-US"/>
              </a:p>
            </p:txBody>
          </p:sp>
          <p:sp>
            <p:nvSpPr>
              <p:cNvPr id="264" name="Freeform 241"/>
              <p:cNvSpPr>
                <a:spLocks noChangeAspect="1"/>
              </p:cNvSpPr>
              <p:nvPr/>
            </p:nvSpPr>
            <p:spPr bwMode="auto">
              <a:xfrm>
                <a:off x="3257" y="1606"/>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265" name="Freeform 242"/>
              <p:cNvSpPr>
                <a:spLocks noChangeAspect="1"/>
              </p:cNvSpPr>
              <p:nvPr/>
            </p:nvSpPr>
            <p:spPr bwMode="auto">
              <a:xfrm>
                <a:off x="3267" y="1650"/>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266" name="Freeform 243"/>
              <p:cNvSpPr>
                <a:spLocks noChangeAspect="1"/>
              </p:cNvSpPr>
              <p:nvPr/>
            </p:nvSpPr>
            <p:spPr bwMode="auto">
              <a:xfrm>
                <a:off x="3297" y="1608"/>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267" name="Freeform 244"/>
              <p:cNvSpPr>
                <a:spLocks noChangeAspect="1"/>
              </p:cNvSpPr>
              <p:nvPr/>
            </p:nvSpPr>
            <p:spPr bwMode="auto">
              <a:xfrm>
                <a:off x="3309" y="1632"/>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268" name="Freeform 245"/>
              <p:cNvSpPr>
                <a:spLocks noChangeAspect="1"/>
              </p:cNvSpPr>
              <p:nvPr/>
            </p:nvSpPr>
            <p:spPr bwMode="auto">
              <a:xfrm>
                <a:off x="3260" y="1607"/>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269" name="Freeform 246"/>
              <p:cNvSpPr>
                <a:spLocks noChangeAspect="1"/>
              </p:cNvSpPr>
              <p:nvPr/>
            </p:nvSpPr>
            <p:spPr bwMode="auto">
              <a:xfrm>
                <a:off x="3249" y="1631"/>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270" name="Freeform 247"/>
              <p:cNvSpPr>
                <a:spLocks noChangeAspect="1"/>
              </p:cNvSpPr>
              <p:nvPr/>
            </p:nvSpPr>
            <p:spPr bwMode="auto">
              <a:xfrm>
                <a:off x="3423" y="1636"/>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271" name="Freeform 248"/>
              <p:cNvSpPr>
                <a:spLocks noChangeAspect="1"/>
              </p:cNvSpPr>
              <p:nvPr/>
            </p:nvSpPr>
            <p:spPr bwMode="auto">
              <a:xfrm>
                <a:off x="3226" y="1697"/>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272" name="Freeform 249"/>
              <p:cNvSpPr>
                <a:spLocks noChangeAspect="1"/>
              </p:cNvSpPr>
              <p:nvPr/>
            </p:nvSpPr>
            <p:spPr bwMode="auto">
              <a:xfrm>
                <a:off x="3396" y="1692"/>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273" name="Freeform 250"/>
              <p:cNvSpPr>
                <a:spLocks noChangeAspect="1"/>
              </p:cNvSpPr>
              <p:nvPr/>
            </p:nvSpPr>
            <p:spPr bwMode="auto">
              <a:xfrm>
                <a:off x="3245" y="1893"/>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274" name="Freeform 251"/>
              <p:cNvSpPr>
                <a:spLocks noChangeAspect="1"/>
              </p:cNvSpPr>
              <p:nvPr/>
            </p:nvSpPr>
            <p:spPr bwMode="auto">
              <a:xfrm>
                <a:off x="3268" y="1759"/>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275" name="Freeform 252"/>
              <p:cNvSpPr>
                <a:spLocks noChangeAspect="1"/>
              </p:cNvSpPr>
              <p:nvPr/>
            </p:nvSpPr>
            <p:spPr bwMode="auto">
              <a:xfrm>
                <a:off x="3285" y="1752"/>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276" name="Freeform 253"/>
              <p:cNvSpPr>
                <a:spLocks noChangeAspect="1"/>
              </p:cNvSpPr>
              <p:nvPr/>
            </p:nvSpPr>
            <p:spPr bwMode="auto">
              <a:xfrm>
                <a:off x="3409" y="1759"/>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277" name="Freeform 254"/>
              <p:cNvSpPr>
                <a:spLocks noChangeAspect="1"/>
              </p:cNvSpPr>
              <p:nvPr/>
            </p:nvSpPr>
            <p:spPr bwMode="auto">
              <a:xfrm>
                <a:off x="3286" y="1859"/>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278" name="Freeform 255"/>
              <p:cNvSpPr>
                <a:spLocks noChangeAspect="1"/>
              </p:cNvSpPr>
              <p:nvPr/>
            </p:nvSpPr>
            <p:spPr bwMode="auto">
              <a:xfrm>
                <a:off x="3318" y="1799"/>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279" name="Freeform 256"/>
              <p:cNvSpPr>
                <a:spLocks noChangeAspect="1"/>
              </p:cNvSpPr>
              <p:nvPr/>
            </p:nvSpPr>
            <p:spPr bwMode="auto">
              <a:xfrm>
                <a:off x="3368" y="1621"/>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22" name="Group 257"/>
            <p:cNvGrpSpPr>
              <a:grpSpLocks noChangeAspect="1"/>
            </p:cNvGrpSpPr>
            <p:nvPr/>
          </p:nvGrpSpPr>
          <p:grpSpPr bwMode="auto">
            <a:xfrm>
              <a:off x="1624" y="2488"/>
              <a:ext cx="264" cy="344"/>
              <a:chOff x="3210" y="1981"/>
              <a:chExt cx="264" cy="344"/>
            </a:xfrm>
          </p:grpSpPr>
          <p:sp>
            <p:nvSpPr>
              <p:cNvPr id="238" name="Freeform 258"/>
              <p:cNvSpPr>
                <a:spLocks noChangeAspect="1"/>
              </p:cNvSpPr>
              <p:nvPr/>
            </p:nvSpPr>
            <p:spPr bwMode="auto">
              <a:xfrm>
                <a:off x="3216" y="2064"/>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00"/>
              </a:solidFill>
              <a:ln w="9525">
                <a:noFill/>
                <a:round/>
                <a:headEnd/>
                <a:tailEnd/>
              </a:ln>
            </p:spPr>
            <p:txBody>
              <a:bodyPr/>
              <a:lstStyle/>
              <a:p>
                <a:pPr algn="l" eaLnBrk="1" hangingPunct="1"/>
                <a:endParaRPr lang="en-US"/>
              </a:p>
            </p:txBody>
          </p:sp>
          <p:sp>
            <p:nvSpPr>
              <p:cNvPr id="239" name="Freeform 259"/>
              <p:cNvSpPr>
                <a:spLocks noChangeAspect="1"/>
              </p:cNvSpPr>
              <p:nvPr/>
            </p:nvSpPr>
            <p:spPr bwMode="auto">
              <a:xfrm>
                <a:off x="3248" y="2055"/>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800000"/>
              </a:solidFill>
              <a:ln w="9525">
                <a:noFill/>
                <a:round/>
                <a:headEnd/>
                <a:tailEnd/>
              </a:ln>
            </p:spPr>
            <p:txBody>
              <a:bodyPr/>
              <a:lstStyle/>
              <a:p>
                <a:pPr algn="l" eaLnBrk="1" hangingPunct="1"/>
                <a:endParaRPr lang="en-US"/>
              </a:p>
            </p:txBody>
          </p:sp>
          <p:sp>
            <p:nvSpPr>
              <p:cNvPr id="240" name="Freeform 260"/>
              <p:cNvSpPr>
                <a:spLocks noChangeAspect="1"/>
              </p:cNvSpPr>
              <p:nvPr/>
            </p:nvSpPr>
            <p:spPr bwMode="auto">
              <a:xfrm>
                <a:off x="3234" y="2097"/>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241" name="Freeform 261"/>
              <p:cNvSpPr>
                <a:spLocks noChangeAspect="1"/>
              </p:cNvSpPr>
              <p:nvPr/>
            </p:nvSpPr>
            <p:spPr bwMode="auto">
              <a:xfrm>
                <a:off x="3260" y="2135"/>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6EDEE6"/>
              </a:solidFill>
              <a:ln w="9525">
                <a:noFill/>
                <a:round/>
                <a:headEnd/>
                <a:tailEnd/>
              </a:ln>
            </p:spPr>
            <p:txBody>
              <a:bodyPr/>
              <a:lstStyle/>
              <a:p>
                <a:pPr algn="l" eaLnBrk="1" hangingPunct="1"/>
                <a:endParaRPr lang="en-US"/>
              </a:p>
            </p:txBody>
          </p:sp>
          <p:sp>
            <p:nvSpPr>
              <p:cNvPr id="242" name="Freeform 262"/>
              <p:cNvSpPr>
                <a:spLocks noChangeAspect="1"/>
              </p:cNvSpPr>
              <p:nvPr/>
            </p:nvSpPr>
            <p:spPr bwMode="auto">
              <a:xfrm>
                <a:off x="3262" y="2160"/>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A366"/>
              </a:solidFill>
              <a:ln w="9525">
                <a:noFill/>
                <a:round/>
                <a:headEnd/>
                <a:tailEnd/>
              </a:ln>
            </p:spPr>
            <p:txBody>
              <a:bodyPr/>
              <a:lstStyle/>
              <a:p>
                <a:pPr algn="l" eaLnBrk="1" hangingPunct="1"/>
                <a:endParaRPr lang="en-US"/>
              </a:p>
            </p:txBody>
          </p:sp>
          <p:sp>
            <p:nvSpPr>
              <p:cNvPr id="243" name="Freeform 263"/>
              <p:cNvSpPr>
                <a:spLocks noChangeAspect="1"/>
              </p:cNvSpPr>
              <p:nvPr/>
            </p:nvSpPr>
            <p:spPr bwMode="auto">
              <a:xfrm>
                <a:off x="3241" y="1981"/>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244" name="Freeform 264"/>
              <p:cNvSpPr>
                <a:spLocks noChangeAspect="1"/>
              </p:cNvSpPr>
              <p:nvPr/>
            </p:nvSpPr>
            <p:spPr bwMode="auto">
              <a:xfrm>
                <a:off x="3251" y="2025"/>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245" name="Freeform 265"/>
              <p:cNvSpPr>
                <a:spLocks noChangeAspect="1"/>
              </p:cNvSpPr>
              <p:nvPr/>
            </p:nvSpPr>
            <p:spPr bwMode="auto">
              <a:xfrm>
                <a:off x="3281" y="1983"/>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246" name="Freeform 266"/>
              <p:cNvSpPr>
                <a:spLocks noChangeAspect="1"/>
              </p:cNvSpPr>
              <p:nvPr/>
            </p:nvSpPr>
            <p:spPr bwMode="auto">
              <a:xfrm>
                <a:off x="3293" y="2007"/>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247" name="Freeform 267"/>
              <p:cNvSpPr>
                <a:spLocks noChangeAspect="1"/>
              </p:cNvSpPr>
              <p:nvPr/>
            </p:nvSpPr>
            <p:spPr bwMode="auto">
              <a:xfrm>
                <a:off x="3244" y="1982"/>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248" name="Freeform 268"/>
              <p:cNvSpPr>
                <a:spLocks noChangeAspect="1"/>
              </p:cNvSpPr>
              <p:nvPr/>
            </p:nvSpPr>
            <p:spPr bwMode="auto">
              <a:xfrm>
                <a:off x="3233" y="2006"/>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249" name="Freeform 269"/>
              <p:cNvSpPr>
                <a:spLocks noChangeAspect="1"/>
              </p:cNvSpPr>
              <p:nvPr/>
            </p:nvSpPr>
            <p:spPr bwMode="auto">
              <a:xfrm>
                <a:off x="3407" y="2011"/>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250" name="Freeform 270"/>
              <p:cNvSpPr>
                <a:spLocks noChangeAspect="1"/>
              </p:cNvSpPr>
              <p:nvPr/>
            </p:nvSpPr>
            <p:spPr bwMode="auto">
              <a:xfrm>
                <a:off x="3210" y="2072"/>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251" name="Freeform 271"/>
              <p:cNvSpPr>
                <a:spLocks noChangeAspect="1"/>
              </p:cNvSpPr>
              <p:nvPr/>
            </p:nvSpPr>
            <p:spPr bwMode="auto">
              <a:xfrm>
                <a:off x="3380" y="2067"/>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252" name="Freeform 272"/>
              <p:cNvSpPr>
                <a:spLocks noChangeAspect="1"/>
              </p:cNvSpPr>
              <p:nvPr/>
            </p:nvSpPr>
            <p:spPr bwMode="auto">
              <a:xfrm>
                <a:off x="3229" y="2268"/>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253" name="Freeform 273"/>
              <p:cNvSpPr>
                <a:spLocks noChangeAspect="1"/>
              </p:cNvSpPr>
              <p:nvPr/>
            </p:nvSpPr>
            <p:spPr bwMode="auto">
              <a:xfrm>
                <a:off x="3252" y="2134"/>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254" name="Freeform 274"/>
              <p:cNvSpPr>
                <a:spLocks noChangeAspect="1"/>
              </p:cNvSpPr>
              <p:nvPr/>
            </p:nvSpPr>
            <p:spPr bwMode="auto">
              <a:xfrm>
                <a:off x="3269" y="2127"/>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255" name="Freeform 275"/>
              <p:cNvSpPr>
                <a:spLocks noChangeAspect="1"/>
              </p:cNvSpPr>
              <p:nvPr/>
            </p:nvSpPr>
            <p:spPr bwMode="auto">
              <a:xfrm>
                <a:off x="3393" y="2134"/>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256" name="Freeform 276"/>
              <p:cNvSpPr>
                <a:spLocks noChangeAspect="1"/>
              </p:cNvSpPr>
              <p:nvPr/>
            </p:nvSpPr>
            <p:spPr bwMode="auto">
              <a:xfrm>
                <a:off x="3270" y="2234"/>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257" name="Freeform 277"/>
              <p:cNvSpPr>
                <a:spLocks noChangeAspect="1"/>
              </p:cNvSpPr>
              <p:nvPr/>
            </p:nvSpPr>
            <p:spPr bwMode="auto">
              <a:xfrm>
                <a:off x="3302" y="2174"/>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258" name="Freeform 278"/>
              <p:cNvSpPr>
                <a:spLocks noChangeAspect="1"/>
              </p:cNvSpPr>
              <p:nvPr/>
            </p:nvSpPr>
            <p:spPr bwMode="auto">
              <a:xfrm>
                <a:off x="3352" y="1996"/>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23" name="Group 279"/>
            <p:cNvGrpSpPr>
              <a:grpSpLocks noChangeAspect="1"/>
            </p:cNvGrpSpPr>
            <p:nvPr/>
          </p:nvGrpSpPr>
          <p:grpSpPr bwMode="auto">
            <a:xfrm>
              <a:off x="1768" y="2584"/>
              <a:ext cx="200" cy="357"/>
              <a:chOff x="3830" y="2172"/>
              <a:chExt cx="200" cy="357"/>
            </a:xfrm>
          </p:grpSpPr>
          <p:sp>
            <p:nvSpPr>
              <p:cNvPr id="216" name="Freeform 280"/>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217" name="Freeform 281"/>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218" name="Freeform 282"/>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219" name="Freeform 283"/>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220" name="Freeform 284"/>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221" name="Freeform 285"/>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222" name="Freeform 286"/>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223" name="Freeform 287"/>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224" name="Freeform 288"/>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225" name="Freeform 289"/>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226" name="Freeform 290"/>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227" name="Freeform 291"/>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228" name="Freeform 292"/>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229" name="Freeform 293"/>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230" name="Freeform 294"/>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231" name="Freeform 295"/>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232" name="Freeform 296"/>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233" name="Freeform 297"/>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234" name="Freeform 298"/>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235" name="Freeform 299"/>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236" name="Freeform 300"/>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237" name="Freeform 301"/>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24" name="Group 302"/>
            <p:cNvGrpSpPr>
              <a:grpSpLocks noChangeAspect="1"/>
            </p:cNvGrpSpPr>
            <p:nvPr/>
          </p:nvGrpSpPr>
          <p:grpSpPr bwMode="auto">
            <a:xfrm>
              <a:off x="1912" y="2728"/>
              <a:ext cx="264" cy="344"/>
              <a:chOff x="3226" y="2374"/>
              <a:chExt cx="264" cy="344"/>
            </a:xfrm>
          </p:grpSpPr>
          <p:sp>
            <p:nvSpPr>
              <p:cNvPr id="195" name="Freeform 303"/>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96" name="Freeform 304"/>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97" name="Freeform 305"/>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98" name="Freeform 306"/>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99" name="Freeform 307"/>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200" name="Freeform 308"/>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201" name="Freeform 309"/>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202" name="Freeform 310"/>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203" name="Freeform 311"/>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204" name="Freeform 312"/>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205" name="Freeform 313"/>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206" name="Freeform 314"/>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207" name="Freeform 315"/>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208" name="Freeform 316"/>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209" name="Freeform 317"/>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210" name="Freeform 318"/>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211" name="Freeform 319"/>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212" name="Freeform 320"/>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213" name="Freeform 321"/>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214" name="Freeform 322"/>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215" name="Freeform 323"/>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25" name="Group 324"/>
            <p:cNvGrpSpPr>
              <a:grpSpLocks noChangeAspect="1"/>
            </p:cNvGrpSpPr>
            <p:nvPr/>
          </p:nvGrpSpPr>
          <p:grpSpPr bwMode="auto">
            <a:xfrm>
              <a:off x="808" y="2488"/>
              <a:ext cx="274" cy="383"/>
              <a:chOff x="2730" y="1980"/>
              <a:chExt cx="274" cy="383"/>
            </a:xfrm>
          </p:grpSpPr>
          <p:sp>
            <p:nvSpPr>
              <p:cNvPr id="178" name="Freeform 325"/>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179" name="Freeform 326"/>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80" name="Freeform 327"/>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181" name="Freeform 328"/>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82" name="Freeform 329"/>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83" name="Freeform 330"/>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184" name="Freeform 331"/>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85" name="Freeform 332"/>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86" name="Freeform 333"/>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87" name="Freeform 334"/>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88" name="Freeform 335"/>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89" name="Freeform 336"/>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90" name="Freeform 337"/>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91" name="Freeform 338"/>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92" name="Freeform 339"/>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93" name="Freeform 340"/>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94" name="Freeform 341"/>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26" name="Group 342"/>
            <p:cNvGrpSpPr>
              <a:grpSpLocks noChangeAspect="1"/>
            </p:cNvGrpSpPr>
            <p:nvPr/>
          </p:nvGrpSpPr>
          <p:grpSpPr bwMode="auto">
            <a:xfrm>
              <a:off x="1528" y="2680"/>
              <a:ext cx="274" cy="383"/>
              <a:chOff x="2054" y="2093"/>
              <a:chExt cx="274" cy="383"/>
            </a:xfrm>
          </p:grpSpPr>
          <p:sp>
            <p:nvSpPr>
              <p:cNvPr id="161" name="Freeform 343"/>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62" name="Freeform 344"/>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63" name="Freeform 345"/>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64" name="Freeform 346"/>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65" name="Freeform 347"/>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66" name="Freeform 348"/>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67" name="Freeform 349"/>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68" name="Freeform 350"/>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69" name="Freeform 351"/>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70" name="Freeform 352"/>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71" name="Freeform 353"/>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72" name="Freeform 354"/>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73" name="Freeform 355"/>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74" name="Freeform 356"/>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75" name="Freeform 357"/>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76" name="Freeform 358"/>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77" name="Freeform 359"/>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27" name="Group 360"/>
            <p:cNvGrpSpPr>
              <a:grpSpLocks noChangeAspect="1"/>
            </p:cNvGrpSpPr>
            <p:nvPr/>
          </p:nvGrpSpPr>
          <p:grpSpPr bwMode="auto">
            <a:xfrm>
              <a:off x="712" y="2584"/>
              <a:ext cx="192" cy="344"/>
              <a:chOff x="3226" y="2374"/>
              <a:chExt cx="264" cy="344"/>
            </a:xfrm>
          </p:grpSpPr>
          <p:sp>
            <p:nvSpPr>
              <p:cNvPr id="140" name="Freeform 361"/>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41" name="Freeform 362"/>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42" name="Freeform 363"/>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43" name="Freeform 364"/>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44" name="Freeform 365"/>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45" name="Freeform 366"/>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46" name="Freeform 367"/>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47" name="Freeform 368"/>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48" name="Freeform 369"/>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49" name="Freeform 370"/>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50" name="Freeform 371"/>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51" name="Freeform 372"/>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52" name="Freeform 373"/>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53" name="Freeform 374"/>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54" name="Freeform 375"/>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55" name="Freeform 376"/>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56" name="Freeform 377"/>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57" name="Freeform 378"/>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58" name="Freeform 379"/>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59" name="Freeform 380"/>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60" name="Freeform 381"/>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28" name="Group 382"/>
            <p:cNvGrpSpPr>
              <a:grpSpLocks noChangeAspect="1"/>
            </p:cNvGrpSpPr>
            <p:nvPr/>
          </p:nvGrpSpPr>
          <p:grpSpPr bwMode="auto">
            <a:xfrm>
              <a:off x="1676" y="2924"/>
              <a:ext cx="288" cy="200"/>
              <a:chOff x="3226" y="1606"/>
              <a:chExt cx="264" cy="344"/>
            </a:xfrm>
          </p:grpSpPr>
          <p:sp>
            <p:nvSpPr>
              <p:cNvPr id="119" name="Freeform 383"/>
              <p:cNvSpPr>
                <a:spLocks noChangeAspect="1"/>
              </p:cNvSpPr>
              <p:nvPr/>
            </p:nvSpPr>
            <p:spPr bwMode="auto">
              <a:xfrm>
                <a:off x="3232" y="1689"/>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66"/>
              </a:solidFill>
              <a:ln w="9525">
                <a:noFill/>
                <a:round/>
                <a:headEnd/>
                <a:tailEnd/>
              </a:ln>
            </p:spPr>
            <p:txBody>
              <a:bodyPr/>
              <a:lstStyle/>
              <a:p>
                <a:pPr algn="l" eaLnBrk="1" hangingPunct="1"/>
                <a:endParaRPr lang="en-US"/>
              </a:p>
            </p:txBody>
          </p:sp>
          <p:sp>
            <p:nvSpPr>
              <p:cNvPr id="120" name="Freeform 384"/>
              <p:cNvSpPr>
                <a:spLocks noChangeAspect="1"/>
              </p:cNvSpPr>
              <p:nvPr/>
            </p:nvSpPr>
            <p:spPr bwMode="auto">
              <a:xfrm>
                <a:off x="3264" y="1680"/>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660066"/>
              </a:solidFill>
              <a:ln w="9525">
                <a:noFill/>
                <a:round/>
                <a:headEnd/>
                <a:tailEnd/>
              </a:ln>
            </p:spPr>
            <p:txBody>
              <a:bodyPr/>
              <a:lstStyle/>
              <a:p>
                <a:pPr algn="l" eaLnBrk="1" hangingPunct="1"/>
                <a:endParaRPr lang="en-US"/>
              </a:p>
            </p:txBody>
          </p:sp>
          <p:sp>
            <p:nvSpPr>
              <p:cNvPr id="121" name="Freeform 385"/>
              <p:cNvSpPr>
                <a:spLocks noChangeAspect="1"/>
              </p:cNvSpPr>
              <p:nvPr/>
            </p:nvSpPr>
            <p:spPr bwMode="auto">
              <a:xfrm>
                <a:off x="3250" y="1722"/>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CC99FF"/>
              </a:solidFill>
              <a:ln w="9525">
                <a:noFill/>
                <a:round/>
                <a:headEnd/>
                <a:tailEnd/>
              </a:ln>
            </p:spPr>
            <p:txBody>
              <a:bodyPr/>
              <a:lstStyle/>
              <a:p>
                <a:pPr algn="l" eaLnBrk="1" hangingPunct="1"/>
                <a:endParaRPr lang="en-US"/>
              </a:p>
            </p:txBody>
          </p:sp>
          <p:sp>
            <p:nvSpPr>
              <p:cNvPr id="122" name="Freeform 386"/>
              <p:cNvSpPr>
                <a:spLocks noChangeAspect="1"/>
              </p:cNvSpPr>
              <p:nvPr/>
            </p:nvSpPr>
            <p:spPr bwMode="auto">
              <a:xfrm>
                <a:off x="3276" y="1760"/>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FF9900"/>
              </a:solidFill>
              <a:ln w="9525">
                <a:noFill/>
                <a:round/>
                <a:headEnd/>
                <a:tailEnd/>
              </a:ln>
            </p:spPr>
            <p:txBody>
              <a:bodyPr/>
              <a:lstStyle/>
              <a:p>
                <a:pPr algn="l" eaLnBrk="1" hangingPunct="1"/>
                <a:endParaRPr lang="en-US"/>
              </a:p>
            </p:txBody>
          </p:sp>
          <p:sp>
            <p:nvSpPr>
              <p:cNvPr id="123" name="Freeform 387"/>
              <p:cNvSpPr>
                <a:spLocks noChangeAspect="1"/>
              </p:cNvSpPr>
              <p:nvPr/>
            </p:nvSpPr>
            <p:spPr bwMode="auto">
              <a:xfrm>
                <a:off x="3278" y="1785"/>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FF99"/>
              </a:solidFill>
              <a:ln w="9525">
                <a:noFill/>
                <a:round/>
                <a:headEnd/>
                <a:tailEnd/>
              </a:ln>
            </p:spPr>
            <p:txBody>
              <a:bodyPr/>
              <a:lstStyle/>
              <a:p>
                <a:pPr algn="l" eaLnBrk="1" hangingPunct="1"/>
                <a:endParaRPr lang="en-US"/>
              </a:p>
            </p:txBody>
          </p:sp>
          <p:sp>
            <p:nvSpPr>
              <p:cNvPr id="124" name="Freeform 388"/>
              <p:cNvSpPr>
                <a:spLocks noChangeAspect="1"/>
              </p:cNvSpPr>
              <p:nvPr/>
            </p:nvSpPr>
            <p:spPr bwMode="auto">
              <a:xfrm>
                <a:off x="3257" y="1606"/>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125" name="Freeform 389"/>
              <p:cNvSpPr>
                <a:spLocks noChangeAspect="1"/>
              </p:cNvSpPr>
              <p:nvPr/>
            </p:nvSpPr>
            <p:spPr bwMode="auto">
              <a:xfrm>
                <a:off x="3267" y="1650"/>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126" name="Freeform 390"/>
              <p:cNvSpPr>
                <a:spLocks noChangeAspect="1"/>
              </p:cNvSpPr>
              <p:nvPr/>
            </p:nvSpPr>
            <p:spPr bwMode="auto">
              <a:xfrm>
                <a:off x="3297" y="1608"/>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127" name="Freeform 391"/>
              <p:cNvSpPr>
                <a:spLocks noChangeAspect="1"/>
              </p:cNvSpPr>
              <p:nvPr/>
            </p:nvSpPr>
            <p:spPr bwMode="auto">
              <a:xfrm>
                <a:off x="3309" y="1632"/>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128" name="Freeform 392"/>
              <p:cNvSpPr>
                <a:spLocks noChangeAspect="1"/>
              </p:cNvSpPr>
              <p:nvPr/>
            </p:nvSpPr>
            <p:spPr bwMode="auto">
              <a:xfrm>
                <a:off x="3260" y="1607"/>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29" name="Freeform 393"/>
              <p:cNvSpPr>
                <a:spLocks noChangeAspect="1"/>
              </p:cNvSpPr>
              <p:nvPr/>
            </p:nvSpPr>
            <p:spPr bwMode="auto">
              <a:xfrm>
                <a:off x="3249" y="1631"/>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30" name="Freeform 394"/>
              <p:cNvSpPr>
                <a:spLocks noChangeAspect="1"/>
              </p:cNvSpPr>
              <p:nvPr/>
            </p:nvSpPr>
            <p:spPr bwMode="auto">
              <a:xfrm>
                <a:off x="3423" y="1636"/>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31" name="Freeform 395"/>
              <p:cNvSpPr>
                <a:spLocks noChangeAspect="1"/>
              </p:cNvSpPr>
              <p:nvPr/>
            </p:nvSpPr>
            <p:spPr bwMode="auto">
              <a:xfrm>
                <a:off x="3226" y="1697"/>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32" name="Freeform 396"/>
              <p:cNvSpPr>
                <a:spLocks noChangeAspect="1"/>
              </p:cNvSpPr>
              <p:nvPr/>
            </p:nvSpPr>
            <p:spPr bwMode="auto">
              <a:xfrm>
                <a:off x="3396" y="1692"/>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33" name="Freeform 397"/>
              <p:cNvSpPr>
                <a:spLocks noChangeAspect="1"/>
              </p:cNvSpPr>
              <p:nvPr/>
            </p:nvSpPr>
            <p:spPr bwMode="auto">
              <a:xfrm>
                <a:off x="3245" y="1893"/>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34" name="Freeform 398"/>
              <p:cNvSpPr>
                <a:spLocks noChangeAspect="1"/>
              </p:cNvSpPr>
              <p:nvPr/>
            </p:nvSpPr>
            <p:spPr bwMode="auto">
              <a:xfrm>
                <a:off x="3268" y="1759"/>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35" name="Freeform 399"/>
              <p:cNvSpPr>
                <a:spLocks noChangeAspect="1"/>
              </p:cNvSpPr>
              <p:nvPr/>
            </p:nvSpPr>
            <p:spPr bwMode="auto">
              <a:xfrm>
                <a:off x="3285" y="1752"/>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36" name="Freeform 400"/>
              <p:cNvSpPr>
                <a:spLocks noChangeAspect="1"/>
              </p:cNvSpPr>
              <p:nvPr/>
            </p:nvSpPr>
            <p:spPr bwMode="auto">
              <a:xfrm>
                <a:off x="3409" y="1759"/>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37" name="Freeform 401"/>
              <p:cNvSpPr>
                <a:spLocks noChangeAspect="1"/>
              </p:cNvSpPr>
              <p:nvPr/>
            </p:nvSpPr>
            <p:spPr bwMode="auto">
              <a:xfrm>
                <a:off x="3286" y="1859"/>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38" name="Freeform 402"/>
              <p:cNvSpPr>
                <a:spLocks noChangeAspect="1"/>
              </p:cNvSpPr>
              <p:nvPr/>
            </p:nvSpPr>
            <p:spPr bwMode="auto">
              <a:xfrm>
                <a:off x="3318" y="1799"/>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39" name="Freeform 403"/>
              <p:cNvSpPr>
                <a:spLocks noChangeAspect="1"/>
              </p:cNvSpPr>
              <p:nvPr/>
            </p:nvSpPr>
            <p:spPr bwMode="auto">
              <a:xfrm>
                <a:off x="3368" y="1621"/>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29" name="Group 404"/>
            <p:cNvGrpSpPr>
              <a:grpSpLocks noChangeAspect="1"/>
            </p:cNvGrpSpPr>
            <p:nvPr/>
          </p:nvGrpSpPr>
          <p:grpSpPr bwMode="auto">
            <a:xfrm>
              <a:off x="1412" y="2728"/>
              <a:ext cx="240" cy="357"/>
              <a:chOff x="3350" y="1980"/>
              <a:chExt cx="200" cy="357"/>
            </a:xfrm>
          </p:grpSpPr>
          <p:sp>
            <p:nvSpPr>
              <p:cNvPr id="97" name="Freeform 405"/>
              <p:cNvSpPr>
                <a:spLocks noChangeAspect="1"/>
              </p:cNvSpPr>
              <p:nvPr/>
            </p:nvSpPr>
            <p:spPr bwMode="auto">
              <a:xfrm>
                <a:off x="336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98" name="Freeform 406"/>
              <p:cNvSpPr>
                <a:spLocks noChangeAspect="1"/>
              </p:cNvSpPr>
              <p:nvPr/>
            </p:nvSpPr>
            <p:spPr bwMode="auto">
              <a:xfrm>
                <a:off x="336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FFB300"/>
              </a:solidFill>
              <a:ln w="9525">
                <a:noFill/>
                <a:round/>
                <a:headEnd/>
                <a:tailEnd/>
              </a:ln>
            </p:spPr>
            <p:txBody>
              <a:bodyPr/>
              <a:lstStyle/>
              <a:p>
                <a:pPr algn="l" eaLnBrk="1" hangingPunct="1"/>
                <a:endParaRPr lang="en-US"/>
              </a:p>
            </p:txBody>
          </p:sp>
          <p:sp>
            <p:nvSpPr>
              <p:cNvPr id="99" name="Freeform 407"/>
              <p:cNvSpPr>
                <a:spLocks noChangeAspect="1"/>
              </p:cNvSpPr>
              <p:nvPr/>
            </p:nvSpPr>
            <p:spPr bwMode="auto">
              <a:xfrm>
                <a:off x="338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00" name="Freeform 408"/>
              <p:cNvSpPr>
                <a:spLocks noChangeAspect="1"/>
              </p:cNvSpPr>
              <p:nvPr/>
            </p:nvSpPr>
            <p:spPr bwMode="auto">
              <a:xfrm>
                <a:off x="339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B84D"/>
              </a:solidFill>
              <a:ln w="9525">
                <a:noFill/>
                <a:round/>
                <a:headEnd/>
                <a:tailEnd/>
              </a:ln>
            </p:spPr>
            <p:txBody>
              <a:bodyPr/>
              <a:lstStyle/>
              <a:p>
                <a:pPr algn="l" eaLnBrk="1" hangingPunct="1"/>
                <a:endParaRPr lang="en-US"/>
              </a:p>
            </p:txBody>
          </p:sp>
          <p:sp>
            <p:nvSpPr>
              <p:cNvPr id="101" name="Freeform 409"/>
              <p:cNvSpPr>
                <a:spLocks noChangeAspect="1"/>
              </p:cNvSpPr>
              <p:nvPr/>
            </p:nvSpPr>
            <p:spPr bwMode="auto">
              <a:xfrm>
                <a:off x="340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02" name="Freeform 410"/>
              <p:cNvSpPr>
                <a:spLocks noChangeAspect="1"/>
              </p:cNvSpPr>
              <p:nvPr/>
            </p:nvSpPr>
            <p:spPr bwMode="auto">
              <a:xfrm>
                <a:off x="340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103" name="Freeform 411"/>
              <p:cNvSpPr>
                <a:spLocks noChangeAspect="1"/>
              </p:cNvSpPr>
              <p:nvPr/>
            </p:nvSpPr>
            <p:spPr bwMode="auto">
              <a:xfrm>
                <a:off x="341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FF9900"/>
              </a:solidFill>
              <a:ln w="9525">
                <a:noFill/>
                <a:round/>
                <a:headEnd/>
                <a:tailEnd/>
              </a:ln>
            </p:spPr>
            <p:txBody>
              <a:bodyPr/>
              <a:lstStyle/>
              <a:p>
                <a:pPr algn="l" eaLnBrk="1" hangingPunct="1"/>
                <a:endParaRPr lang="en-US"/>
              </a:p>
            </p:txBody>
          </p:sp>
          <p:sp>
            <p:nvSpPr>
              <p:cNvPr id="104" name="Freeform 412"/>
              <p:cNvSpPr>
                <a:spLocks noChangeAspect="1"/>
              </p:cNvSpPr>
              <p:nvPr/>
            </p:nvSpPr>
            <p:spPr bwMode="auto">
              <a:xfrm>
                <a:off x="337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105" name="Freeform 413"/>
              <p:cNvSpPr>
                <a:spLocks noChangeAspect="1"/>
              </p:cNvSpPr>
              <p:nvPr/>
            </p:nvSpPr>
            <p:spPr bwMode="auto">
              <a:xfrm>
                <a:off x="339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06" name="Freeform 414"/>
              <p:cNvSpPr>
                <a:spLocks noChangeAspect="1"/>
              </p:cNvSpPr>
              <p:nvPr/>
            </p:nvSpPr>
            <p:spPr bwMode="auto">
              <a:xfrm>
                <a:off x="346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07" name="Freeform 415"/>
              <p:cNvSpPr>
                <a:spLocks noChangeAspect="1"/>
              </p:cNvSpPr>
              <p:nvPr/>
            </p:nvSpPr>
            <p:spPr bwMode="auto">
              <a:xfrm>
                <a:off x="339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08" name="Freeform 416"/>
              <p:cNvSpPr>
                <a:spLocks noChangeAspect="1"/>
              </p:cNvSpPr>
              <p:nvPr/>
            </p:nvSpPr>
            <p:spPr bwMode="auto">
              <a:xfrm>
                <a:off x="335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09" name="Freeform 417"/>
              <p:cNvSpPr>
                <a:spLocks noChangeAspect="1"/>
              </p:cNvSpPr>
              <p:nvPr/>
            </p:nvSpPr>
            <p:spPr bwMode="auto">
              <a:xfrm>
                <a:off x="346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10" name="Freeform 418"/>
              <p:cNvSpPr>
                <a:spLocks noChangeAspect="1"/>
              </p:cNvSpPr>
              <p:nvPr/>
            </p:nvSpPr>
            <p:spPr bwMode="auto">
              <a:xfrm>
                <a:off x="338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11" name="Freeform 419"/>
              <p:cNvSpPr>
                <a:spLocks noChangeAspect="1"/>
              </p:cNvSpPr>
              <p:nvPr/>
            </p:nvSpPr>
            <p:spPr bwMode="auto">
              <a:xfrm>
                <a:off x="337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12" name="Freeform 420"/>
              <p:cNvSpPr>
                <a:spLocks noChangeAspect="1"/>
              </p:cNvSpPr>
              <p:nvPr/>
            </p:nvSpPr>
            <p:spPr bwMode="auto">
              <a:xfrm>
                <a:off x="338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13" name="Freeform 421"/>
              <p:cNvSpPr>
                <a:spLocks noChangeAspect="1"/>
              </p:cNvSpPr>
              <p:nvPr/>
            </p:nvSpPr>
            <p:spPr bwMode="auto">
              <a:xfrm>
                <a:off x="343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14" name="Freeform 422"/>
              <p:cNvSpPr>
                <a:spLocks noChangeAspect="1"/>
              </p:cNvSpPr>
              <p:nvPr/>
            </p:nvSpPr>
            <p:spPr bwMode="auto">
              <a:xfrm>
                <a:off x="349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5" name="Freeform 423"/>
              <p:cNvSpPr>
                <a:spLocks noChangeAspect="1"/>
              </p:cNvSpPr>
              <p:nvPr/>
            </p:nvSpPr>
            <p:spPr bwMode="auto">
              <a:xfrm>
                <a:off x="340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6" name="Freeform 424"/>
              <p:cNvSpPr>
                <a:spLocks noChangeAspect="1"/>
              </p:cNvSpPr>
              <p:nvPr/>
            </p:nvSpPr>
            <p:spPr bwMode="auto">
              <a:xfrm>
                <a:off x="347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7" name="Freeform 425"/>
              <p:cNvSpPr>
                <a:spLocks noChangeAspect="1"/>
              </p:cNvSpPr>
              <p:nvPr/>
            </p:nvSpPr>
            <p:spPr bwMode="auto">
              <a:xfrm>
                <a:off x="340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18" name="Freeform 426"/>
              <p:cNvSpPr>
                <a:spLocks noChangeAspect="1"/>
              </p:cNvSpPr>
              <p:nvPr/>
            </p:nvSpPr>
            <p:spPr bwMode="auto">
              <a:xfrm>
                <a:off x="341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30" name="Group 427"/>
            <p:cNvGrpSpPr>
              <a:grpSpLocks noChangeAspect="1"/>
            </p:cNvGrpSpPr>
            <p:nvPr/>
          </p:nvGrpSpPr>
          <p:grpSpPr bwMode="auto">
            <a:xfrm>
              <a:off x="856" y="2680"/>
              <a:ext cx="264" cy="344"/>
              <a:chOff x="3658" y="2422"/>
              <a:chExt cx="264" cy="344"/>
            </a:xfrm>
          </p:grpSpPr>
          <p:sp>
            <p:nvSpPr>
              <p:cNvPr id="76" name="Freeform 428"/>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77" name="Freeform 429"/>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78" name="Freeform 430"/>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79" name="Freeform 431"/>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80" name="Freeform 432"/>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81" name="Freeform 433"/>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82" name="Freeform 434"/>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83" name="Freeform 435"/>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84" name="Freeform 436"/>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85" name="Freeform 437"/>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86" name="Freeform 438"/>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87" name="Freeform 439"/>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88" name="Freeform 440"/>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89" name="Freeform 441"/>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90" name="Freeform 442"/>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91" name="Freeform 443"/>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92" name="Freeform 444"/>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93" name="Freeform 445"/>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94" name="Freeform 446"/>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95" name="Freeform 447"/>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96" name="Freeform 448"/>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31" name="Group 449"/>
            <p:cNvGrpSpPr>
              <a:grpSpLocks noChangeAspect="1"/>
            </p:cNvGrpSpPr>
            <p:nvPr/>
          </p:nvGrpSpPr>
          <p:grpSpPr bwMode="auto">
            <a:xfrm>
              <a:off x="1132" y="2680"/>
              <a:ext cx="200" cy="357"/>
              <a:chOff x="3590" y="1980"/>
              <a:chExt cx="200" cy="357"/>
            </a:xfrm>
          </p:grpSpPr>
          <p:sp>
            <p:nvSpPr>
              <p:cNvPr id="54" name="Freeform 450"/>
              <p:cNvSpPr>
                <a:spLocks noChangeAspect="1"/>
              </p:cNvSpPr>
              <p:nvPr/>
            </p:nvSpPr>
            <p:spPr bwMode="auto">
              <a:xfrm>
                <a:off x="360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55" name="Freeform 451"/>
              <p:cNvSpPr>
                <a:spLocks noChangeAspect="1"/>
              </p:cNvSpPr>
              <p:nvPr/>
            </p:nvSpPr>
            <p:spPr bwMode="auto">
              <a:xfrm>
                <a:off x="360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008000"/>
              </a:solidFill>
              <a:ln w="9525">
                <a:noFill/>
                <a:round/>
                <a:headEnd/>
                <a:tailEnd/>
              </a:ln>
            </p:spPr>
            <p:txBody>
              <a:bodyPr/>
              <a:lstStyle/>
              <a:p>
                <a:pPr algn="l" eaLnBrk="1" hangingPunct="1"/>
                <a:endParaRPr lang="en-US"/>
              </a:p>
            </p:txBody>
          </p:sp>
          <p:sp>
            <p:nvSpPr>
              <p:cNvPr id="56" name="Freeform 452"/>
              <p:cNvSpPr>
                <a:spLocks noChangeAspect="1"/>
              </p:cNvSpPr>
              <p:nvPr/>
            </p:nvSpPr>
            <p:spPr bwMode="auto">
              <a:xfrm>
                <a:off x="362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57" name="Freeform 453"/>
              <p:cNvSpPr>
                <a:spLocks noChangeAspect="1"/>
              </p:cNvSpPr>
              <p:nvPr/>
            </p:nvSpPr>
            <p:spPr bwMode="auto">
              <a:xfrm>
                <a:off x="363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58" name="Freeform 454"/>
              <p:cNvSpPr>
                <a:spLocks noChangeAspect="1"/>
              </p:cNvSpPr>
              <p:nvPr/>
            </p:nvSpPr>
            <p:spPr bwMode="auto">
              <a:xfrm>
                <a:off x="364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59" name="Freeform 455"/>
              <p:cNvSpPr>
                <a:spLocks noChangeAspect="1"/>
              </p:cNvSpPr>
              <p:nvPr/>
            </p:nvSpPr>
            <p:spPr bwMode="auto">
              <a:xfrm>
                <a:off x="364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CCFFCC"/>
              </a:solidFill>
              <a:ln w="9525">
                <a:noFill/>
                <a:round/>
                <a:headEnd/>
                <a:tailEnd/>
              </a:ln>
            </p:spPr>
            <p:txBody>
              <a:bodyPr/>
              <a:lstStyle/>
              <a:p>
                <a:pPr algn="l" eaLnBrk="1" hangingPunct="1"/>
                <a:endParaRPr lang="en-US"/>
              </a:p>
            </p:txBody>
          </p:sp>
          <p:sp>
            <p:nvSpPr>
              <p:cNvPr id="60" name="Freeform 456"/>
              <p:cNvSpPr>
                <a:spLocks noChangeAspect="1"/>
              </p:cNvSpPr>
              <p:nvPr/>
            </p:nvSpPr>
            <p:spPr bwMode="auto">
              <a:xfrm>
                <a:off x="365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61" name="Freeform 457"/>
              <p:cNvSpPr>
                <a:spLocks noChangeAspect="1"/>
              </p:cNvSpPr>
              <p:nvPr/>
            </p:nvSpPr>
            <p:spPr bwMode="auto">
              <a:xfrm>
                <a:off x="361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CCFFCC"/>
              </a:solidFill>
              <a:ln w="9525">
                <a:noFill/>
                <a:round/>
                <a:headEnd/>
                <a:tailEnd/>
              </a:ln>
            </p:spPr>
            <p:txBody>
              <a:bodyPr/>
              <a:lstStyle/>
              <a:p>
                <a:pPr algn="l" eaLnBrk="1" hangingPunct="1"/>
                <a:endParaRPr lang="en-US"/>
              </a:p>
            </p:txBody>
          </p:sp>
          <p:sp>
            <p:nvSpPr>
              <p:cNvPr id="62" name="Freeform 458"/>
              <p:cNvSpPr>
                <a:spLocks noChangeAspect="1"/>
              </p:cNvSpPr>
              <p:nvPr/>
            </p:nvSpPr>
            <p:spPr bwMode="auto">
              <a:xfrm>
                <a:off x="363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63" name="Freeform 459"/>
              <p:cNvSpPr>
                <a:spLocks noChangeAspect="1"/>
              </p:cNvSpPr>
              <p:nvPr/>
            </p:nvSpPr>
            <p:spPr bwMode="auto">
              <a:xfrm>
                <a:off x="370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64" name="Freeform 460"/>
              <p:cNvSpPr>
                <a:spLocks noChangeAspect="1"/>
              </p:cNvSpPr>
              <p:nvPr/>
            </p:nvSpPr>
            <p:spPr bwMode="auto">
              <a:xfrm>
                <a:off x="363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65" name="Freeform 461"/>
              <p:cNvSpPr>
                <a:spLocks noChangeAspect="1"/>
              </p:cNvSpPr>
              <p:nvPr/>
            </p:nvSpPr>
            <p:spPr bwMode="auto">
              <a:xfrm>
                <a:off x="359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66" name="Freeform 462"/>
              <p:cNvSpPr>
                <a:spLocks noChangeAspect="1"/>
              </p:cNvSpPr>
              <p:nvPr/>
            </p:nvSpPr>
            <p:spPr bwMode="auto">
              <a:xfrm>
                <a:off x="370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67" name="Freeform 463"/>
              <p:cNvSpPr>
                <a:spLocks noChangeAspect="1"/>
              </p:cNvSpPr>
              <p:nvPr/>
            </p:nvSpPr>
            <p:spPr bwMode="auto">
              <a:xfrm>
                <a:off x="362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68" name="Freeform 464"/>
              <p:cNvSpPr>
                <a:spLocks noChangeAspect="1"/>
              </p:cNvSpPr>
              <p:nvPr/>
            </p:nvSpPr>
            <p:spPr bwMode="auto">
              <a:xfrm>
                <a:off x="361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69" name="Freeform 465"/>
              <p:cNvSpPr>
                <a:spLocks noChangeAspect="1"/>
              </p:cNvSpPr>
              <p:nvPr/>
            </p:nvSpPr>
            <p:spPr bwMode="auto">
              <a:xfrm>
                <a:off x="362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70" name="Freeform 466"/>
              <p:cNvSpPr>
                <a:spLocks noChangeAspect="1"/>
              </p:cNvSpPr>
              <p:nvPr/>
            </p:nvSpPr>
            <p:spPr bwMode="auto">
              <a:xfrm>
                <a:off x="367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71" name="Freeform 467"/>
              <p:cNvSpPr>
                <a:spLocks noChangeAspect="1"/>
              </p:cNvSpPr>
              <p:nvPr/>
            </p:nvSpPr>
            <p:spPr bwMode="auto">
              <a:xfrm>
                <a:off x="373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2" name="Freeform 468"/>
              <p:cNvSpPr>
                <a:spLocks noChangeAspect="1"/>
              </p:cNvSpPr>
              <p:nvPr/>
            </p:nvSpPr>
            <p:spPr bwMode="auto">
              <a:xfrm>
                <a:off x="364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3" name="Freeform 469"/>
              <p:cNvSpPr>
                <a:spLocks noChangeAspect="1"/>
              </p:cNvSpPr>
              <p:nvPr/>
            </p:nvSpPr>
            <p:spPr bwMode="auto">
              <a:xfrm>
                <a:off x="371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4" name="Freeform 470"/>
              <p:cNvSpPr>
                <a:spLocks noChangeAspect="1"/>
              </p:cNvSpPr>
              <p:nvPr/>
            </p:nvSpPr>
            <p:spPr bwMode="auto">
              <a:xfrm>
                <a:off x="364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75" name="Freeform 471"/>
              <p:cNvSpPr>
                <a:spLocks noChangeAspect="1"/>
              </p:cNvSpPr>
              <p:nvPr/>
            </p:nvSpPr>
            <p:spPr bwMode="auto">
              <a:xfrm>
                <a:off x="365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32" name="Group 472"/>
            <p:cNvGrpSpPr>
              <a:grpSpLocks noChangeAspect="1"/>
            </p:cNvGrpSpPr>
            <p:nvPr/>
          </p:nvGrpSpPr>
          <p:grpSpPr bwMode="auto">
            <a:xfrm>
              <a:off x="1240" y="2920"/>
              <a:ext cx="240" cy="192"/>
              <a:chOff x="3210" y="1981"/>
              <a:chExt cx="264" cy="344"/>
            </a:xfrm>
          </p:grpSpPr>
          <p:sp>
            <p:nvSpPr>
              <p:cNvPr id="33" name="Freeform 473"/>
              <p:cNvSpPr>
                <a:spLocks noChangeAspect="1"/>
              </p:cNvSpPr>
              <p:nvPr/>
            </p:nvSpPr>
            <p:spPr bwMode="auto">
              <a:xfrm>
                <a:off x="3216" y="2064"/>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00"/>
              </a:solidFill>
              <a:ln w="9525">
                <a:noFill/>
                <a:round/>
                <a:headEnd/>
                <a:tailEnd/>
              </a:ln>
            </p:spPr>
            <p:txBody>
              <a:bodyPr/>
              <a:lstStyle/>
              <a:p>
                <a:pPr algn="l" eaLnBrk="1" hangingPunct="1"/>
                <a:endParaRPr lang="en-US"/>
              </a:p>
            </p:txBody>
          </p:sp>
          <p:sp>
            <p:nvSpPr>
              <p:cNvPr id="34" name="Freeform 474"/>
              <p:cNvSpPr>
                <a:spLocks noChangeAspect="1"/>
              </p:cNvSpPr>
              <p:nvPr/>
            </p:nvSpPr>
            <p:spPr bwMode="auto">
              <a:xfrm>
                <a:off x="3248" y="2055"/>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800000"/>
              </a:solidFill>
              <a:ln w="9525">
                <a:noFill/>
                <a:round/>
                <a:headEnd/>
                <a:tailEnd/>
              </a:ln>
            </p:spPr>
            <p:txBody>
              <a:bodyPr/>
              <a:lstStyle/>
              <a:p>
                <a:pPr algn="l" eaLnBrk="1" hangingPunct="1"/>
                <a:endParaRPr lang="en-US"/>
              </a:p>
            </p:txBody>
          </p:sp>
          <p:sp>
            <p:nvSpPr>
              <p:cNvPr id="35" name="Freeform 475"/>
              <p:cNvSpPr>
                <a:spLocks noChangeAspect="1"/>
              </p:cNvSpPr>
              <p:nvPr/>
            </p:nvSpPr>
            <p:spPr bwMode="auto">
              <a:xfrm>
                <a:off x="3234" y="2097"/>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36" name="Freeform 476"/>
              <p:cNvSpPr>
                <a:spLocks noChangeAspect="1"/>
              </p:cNvSpPr>
              <p:nvPr/>
            </p:nvSpPr>
            <p:spPr bwMode="auto">
              <a:xfrm>
                <a:off x="3260" y="2135"/>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6EDEE6"/>
              </a:solidFill>
              <a:ln w="9525">
                <a:noFill/>
                <a:round/>
                <a:headEnd/>
                <a:tailEnd/>
              </a:ln>
            </p:spPr>
            <p:txBody>
              <a:bodyPr/>
              <a:lstStyle/>
              <a:p>
                <a:pPr algn="l" eaLnBrk="1" hangingPunct="1"/>
                <a:endParaRPr lang="en-US"/>
              </a:p>
            </p:txBody>
          </p:sp>
          <p:sp>
            <p:nvSpPr>
              <p:cNvPr id="37" name="Freeform 477"/>
              <p:cNvSpPr>
                <a:spLocks noChangeAspect="1"/>
              </p:cNvSpPr>
              <p:nvPr/>
            </p:nvSpPr>
            <p:spPr bwMode="auto">
              <a:xfrm>
                <a:off x="3262" y="2160"/>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A366"/>
              </a:solidFill>
              <a:ln w="9525">
                <a:noFill/>
                <a:round/>
                <a:headEnd/>
                <a:tailEnd/>
              </a:ln>
            </p:spPr>
            <p:txBody>
              <a:bodyPr/>
              <a:lstStyle/>
              <a:p>
                <a:pPr algn="l" eaLnBrk="1" hangingPunct="1"/>
                <a:endParaRPr lang="en-US"/>
              </a:p>
            </p:txBody>
          </p:sp>
          <p:sp>
            <p:nvSpPr>
              <p:cNvPr id="38" name="Freeform 478"/>
              <p:cNvSpPr>
                <a:spLocks noChangeAspect="1"/>
              </p:cNvSpPr>
              <p:nvPr/>
            </p:nvSpPr>
            <p:spPr bwMode="auto">
              <a:xfrm>
                <a:off x="3241" y="1981"/>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39" name="Freeform 479"/>
              <p:cNvSpPr>
                <a:spLocks noChangeAspect="1"/>
              </p:cNvSpPr>
              <p:nvPr/>
            </p:nvSpPr>
            <p:spPr bwMode="auto">
              <a:xfrm>
                <a:off x="3251" y="2025"/>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40" name="Freeform 480"/>
              <p:cNvSpPr>
                <a:spLocks noChangeAspect="1"/>
              </p:cNvSpPr>
              <p:nvPr/>
            </p:nvSpPr>
            <p:spPr bwMode="auto">
              <a:xfrm>
                <a:off x="3281" y="1983"/>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41" name="Freeform 481"/>
              <p:cNvSpPr>
                <a:spLocks noChangeAspect="1"/>
              </p:cNvSpPr>
              <p:nvPr/>
            </p:nvSpPr>
            <p:spPr bwMode="auto">
              <a:xfrm>
                <a:off x="3293" y="2007"/>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42" name="Freeform 482"/>
              <p:cNvSpPr>
                <a:spLocks noChangeAspect="1"/>
              </p:cNvSpPr>
              <p:nvPr/>
            </p:nvSpPr>
            <p:spPr bwMode="auto">
              <a:xfrm>
                <a:off x="3244" y="1982"/>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43" name="Freeform 483"/>
              <p:cNvSpPr>
                <a:spLocks noChangeAspect="1"/>
              </p:cNvSpPr>
              <p:nvPr/>
            </p:nvSpPr>
            <p:spPr bwMode="auto">
              <a:xfrm>
                <a:off x="3233" y="2006"/>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44" name="Freeform 484"/>
              <p:cNvSpPr>
                <a:spLocks noChangeAspect="1"/>
              </p:cNvSpPr>
              <p:nvPr/>
            </p:nvSpPr>
            <p:spPr bwMode="auto">
              <a:xfrm>
                <a:off x="3407" y="2011"/>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45" name="Freeform 485"/>
              <p:cNvSpPr>
                <a:spLocks noChangeAspect="1"/>
              </p:cNvSpPr>
              <p:nvPr/>
            </p:nvSpPr>
            <p:spPr bwMode="auto">
              <a:xfrm>
                <a:off x="3210" y="2072"/>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46" name="Freeform 486"/>
              <p:cNvSpPr>
                <a:spLocks noChangeAspect="1"/>
              </p:cNvSpPr>
              <p:nvPr/>
            </p:nvSpPr>
            <p:spPr bwMode="auto">
              <a:xfrm>
                <a:off x="3380" y="2067"/>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47" name="Freeform 487"/>
              <p:cNvSpPr>
                <a:spLocks noChangeAspect="1"/>
              </p:cNvSpPr>
              <p:nvPr/>
            </p:nvSpPr>
            <p:spPr bwMode="auto">
              <a:xfrm>
                <a:off x="3229" y="2268"/>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48" name="Freeform 488"/>
              <p:cNvSpPr>
                <a:spLocks noChangeAspect="1"/>
              </p:cNvSpPr>
              <p:nvPr/>
            </p:nvSpPr>
            <p:spPr bwMode="auto">
              <a:xfrm>
                <a:off x="3252" y="2134"/>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49" name="Freeform 489"/>
              <p:cNvSpPr>
                <a:spLocks noChangeAspect="1"/>
              </p:cNvSpPr>
              <p:nvPr/>
            </p:nvSpPr>
            <p:spPr bwMode="auto">
              <a:xfrm>
                <a:off x="3269" y="2127"/>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50" name="Freeform 490"/>
              <p:cNvSpPr>
                <a:spLocks noChangeAspect="1"/>
              </p:cNvSpPr>
              <p:nvPr/>
            </p:nvSpPr>
            <p:spPr bwMode="auto">
              <a:xfrm>
                <a:off x="3393" y="2134"/>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51" name="Freeform 491"/>
              <p:cNvSpPr>
                <a:spLocks noChangeAspect="1"/>
              </p:cNvSpPr>
              <p:nvPr/>
            </p:nvSpPr>
            <p:spPr bwMode="auto">
              <a:xfrm>
                <a:off x="3270" y="2234"/>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52" name="Freeform 492"/>
              <p:cNvSpPr>
                <a:spLocks noChangeAspect="1"/>
              </p:cNvSpPr>
              <p:nvPr/>
            </p:nvSpPr>
            <p:spPr bwMode="auto">
              <a:xfrm>
                <a:off x="3302" y="2174"/>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53" name="Freeform 493"/>
              <p:cNvSpPr>
                <a:spLocks noChangeAspect="1"/>
              </p:cNvSpPr>
              <p:nvPr/>
            </p:nvSpPr>
            <p:spPr bwMode="auto">
              <a:xfrm>
                <a:off x="3352" y="1996"/>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sp>
        <p:nvSpPr>
          <p:cNvPr id="500" name="Text Box 777"/>
          <p:cNvSpPr txBox="1">
            <a:spLocks noChangeArrowheads="1"/>
          </p:cNvSpPr>
          <p:nvPr/>
        </p:nvSpPr>
        <p:spPr bwMode="auto">
          <a:xfrm>
            <a:off x="1631950" y="1628775"/>
            <a:ext cx="1727200" cy="338554"/>
          </a:xfrm>
          <a:prstGeom prst="rect">
            <a:avLst/>
          </a:prstGeom>
          <a:noFill/>
          <a:ln w="9525">
            <a:noFill/>
            <a:miter lim="800000"/>
            <a:headEnd/>
            <a:tailEnd/>
          </a:ln>
        </p:spPr>
        <p:txBody>
          <a:bodyPr>
            <a:spAutoFit/>
          </a:bodyPr>
          <a:lstStyle/>
          <a:p>
            <a:pPr eaLnBrk="1" hangingPunct="1">
              <a:spcBef>
                <a:spcPct val="50000"/>
              </a:spcBef>
            </a:pPr>
            <a:r>
              <a:rPr lang="en-GB" sz="1600"/>
              <a:t>Product Universe</a:t>
            </a:r>
          </a:p>
        </p:txBody>
      </p:sp>
      <p:sp>
        <p:nvSpPr>
          <p:cNvPr id="501" name="Text Box 779"/>
          <p:cNvSpPr txBox="1">
            <a:spLocks noChangeArrowheads="1"/>
          </p:cNvSpPr>
          <p:nvPr/>
        </p:nvSpPr>
        <p:spPr bwMode="auto">
          <a:xfrm>
            <a:off x="5638801" y="1628776"/>
            <a:ext cx="1528763" cy="581025"/>
          </a:xfrm>
          <a:prstGeom prst="rect">
            <a:avLst/>
          </a:prstGeom>
          <a:noFill/>
          <a:ln w="9525">
            <a:noFill/>
            <a:miter lim="800000"/>
            <a:headEnd/>
            <a:tailEnd/>
          </a:ln>
        </p:spPr>
        <p:txBody>
          <a:bodyPr>
            <a:spAutoFit/>
          </a:bodyPr>
          <a:lstStyle/>
          <a:p>
            <a:pPr eaLnBrk="1" hangingPunct="1">
              <a:spcBef>
                <a:spcPct val="50000"/>
              </a:spcBef>
            </a:pPr>
            <a:r>
              <a:rPr lang="en-GB" sz="1600"/>
              <a:t>Space limited Assortment</a:t>
            </a:r>
          </a:p>
        </p:txBody>
      </p:sp>
      <p:sp>
        <p:nvSpPr>
          <p:cNvPr id="502" name="Text Box 786"/>
          <p:cNvSpPr txBox="1">
            <a:spLocks noChangeArrowheads="1"/>
          </p:cNvSpPr>
          <p:nvPr/>
        </p:nvSpPr>
        <p:spPr bwMode="auto">
          <a:xfrm>
            <a:off x="3276601" y="2133601"/>
            <a:ext cx="709613" cy="481013"/>
          </a:xfrm>
          <a:prstGeom prst="rect">
            <a:avLst/>
          </a:prstGeom>
          <a:solidFill>
            <a:srgbClr val="FFFF00"/>
          </a:solidFill>
          <a:ln w="9525">
            <a:miter lim="800000"/>
            <a:headEnd/>
            <a:tailEnd/>
          </a:ln>
          <a:scene3d>
            <a:camera prst="legacyPerspectiveTop"/>
            <a:lightRig rig="legacyFlat3" dir="b"/>
          </a:scene3d>
          <a:sp3d extrusionH="887400" prstMaterial="legacyMatte">
            <a:bevelT w="13500" h="13500" prst="angle"/>
            <a:bevelB w="13500" h="13500" prst="angle"/>
            <a:extrusionClr>
              <a:srgbClr val="FFFF00"/>
            </a:extrusionClr>
          </a:sp3d>
        </p:spPr>
        <p:txBody>
          <a:bodyPr anchor="ctr" anchorCtr="1">
            <a:flatTx/>
          </a:bodyPr>
          <a:lstStyle/>
          <a:p>
            <a:pPr algn="l" eaLnBrk="1" hangingPunct="1">
              <a:spcBef>
                <a:spcPct val="50000"/>
              </a:spcBef>
            </a:pPr>
            <a:r>
              <a:rPr lang="en-GB" sz="2400" dirty="0">
                <a:solidFill>
                  <a:schemeClr val="accent2"/>
                </a:solidFill>
              </a:rPr>
              <a:t>AO</a:t>
            </a:r>
          </a:p>
        </p:txBody>
      </p:sp>
      <p:grpSp>
        <p:nvGrpSpPr>
          <p:cNvPr id="503" name="Group 497"/>
          <p:cNvGrpSpPr>
            <a:grpSpLocks/>
          </p:cNvGrpSpPr>
          <p:nvPr/>
        </p:nvGrpSpPr>
        <p:grpSpPr bwMode="auto">
          <a:xfrm>
            <a:off x="8610600" y="1676401"/>
            <a:ext cx="1676400" cy="1952625"/>
            <a:chOff x="4464" y="1056"/>
            <a:chExt cx="1056" cy="1230"/>
          </a:xfrm>
        </p:grpSpPr>
        <p:sp>
          <p:nvSpPr>
            <p:cNvPr id="504" name="Text Box 781"/>
            <p:cNvSpPr txBox="1">
              <a:spLocks noChangeArrowheads="1"/>
            </p:cNvSpPr>
            <p:nvPr/>
          </p:nvSpPr>
          <p:spPr bwMode="auto">
            <a:xfrm>
              <a:off x="4608" y="1920"/>
              <a:ext cx="912" cy="366"/>
            </a:xfrm>
            <a:prstGeom prst="rect">
              <a:avLst/>
            </a:prstGeom>
            <a:noFill/>
            <a:ln w="9525">
              <a:noFill/>
              <a:miter lim="800000"/>
              <a:headEnd/>
              <a:tailEnd/>
            </a:ln>
          </p:spPr>
          <p:txBody>
            <a:bodyPr>
              <a:spAutoFit/>
            </a:bodyPr>
            <a:lstStyle/>
            <a:p>
              <a:pPr eaLnBrk="1" hangingPunct="1">
                <a:spcBef>
                  <a:spcPct val="50000"/>
                </a:spcBef>
              </a:pPr>
              <a:r>
                <a:rPr lang="en-GB" sz="1600"/>
                <a:t>Cluster/ Store Specific</a:t>
              </a:r>
            </a:p>
          </p:txBody>
        </p:sp>
        <p:sp>
          <p:nvSpPr>
            <p:cNvPr id="505" name="Text Box 785"/>
            <p:cNvSpPr txBox="1">
              <a:spLocks noChangeArrowheads="1"/>
            </p:cNvSpPr>
            <p:nvPr/>
          </p:nvSpPr>
          <p:spPr bwMode="auto">
            <a:xfrm>
              <a:off x="4608" y="1056"/>
              <a:ext cx="912" cy="207"/>
            </a:xfrm>
            <a:prstGeom prst="rect">
              <a:avLst/>
            </a:prstGeom>
            <a:solidFill>
              <a:schemeClr val="accent1"/>
            </a:solidFill>
            <a:ln w="9525">
              <a:miter lim="800000"/>
              <a:headEnd/>
              <a:tailEnd/>
            </a:ln>
            <a:scene3d>
              <a:camera prst="legacyPerspectiveTop"/>
              <a:lightRig rig="legacyFlat3" dir="b"/>
            </a:scene3d>
            <a:sp3d extrusionH="887400" prstMaterial="legacyMatte">
              <a:bevelT w="13500" h="13500" prst="angle"/>
              <a:bevelB w="13500" h="13500" prst="angle"/>
              <a:extrusionClr>
                <a:schemeClr val="accent1"/>
              </a:extrusionClr>
            </a:sp3d>
          </p:spPr>
          <p:txBody>
            <a:bodyPr anchor="ctr" anchorCtr="1">
              <a:flatTx/>
            </a:bodyPr>
            <a:lstStyle/>
            <a:p>
              <a:pPr eaLnBrk="1" hangingPunct="1">
                <a:spcBef>
                  <a:spcPct val="50000"/>
                </a:spcBef>
              </a:pPr>
              <a:r>
                <a:rPr lang="en-GB" sz="1400">
                  <a:solidFill>
                    <a:schemeClr val="bg1"/>
                  </a:solidFill>
                </a:rPr>
                <a:t>Planogram Generation</a:t>
              </a:r>
            </a:p>
          </p:txBody>
        </p:sp>
        <p:grpSp>
          <p:nvGrpSpPr>
            <p:cNvPr id="506" name="Group 787"/>
            <p:cNvGrpSpPr>
              <a:grpSpLocks noChangeAspect="1"/>
            </p:cNvGrpSpPr>
            <p:nvPr/>
          </p:nvGrpSpPr>
          <p:grpSpPr bwMode="auto">
            <a:xfrm>
              <a:off x="5088" y="1344"/>
              <a:ext cx="336" cy="528"/>
              <a:chOff x="4286" y="1964"/>
              <a:chExt cx="910" cy="1433"/>
            </a:xfrm>
          </p:grpSpPr>
          <p:grpSp>
            <p:nvGrpSpPr>
              <p:cNvPr id="906" name="Group 788"/>
              <p:cNvGrpSpPr>
                <a:grpSpLocks noChangeAspect="1"/>
              </p:cNvGrpSpPr>
              <p:nvPr/>
            </p:nvGrpSpPr>
            <p:grpSpPr bwMode="auto">
              <a:xfrm>
                <a:off x="4312" y="1964"/>
                <a:ext cx="884" cy="1340"/>
                <a:chOff x="4312" y="1964"/>
                <a:chExt cx="884" cy="1340"/>
              </a:xfrm>
            </p:grpSpPr>
            <p:sp>
              <p:nvSpPr>
                <p:cNvPr id="911" name="Freeform 789"/>
                <p:cNvSpPr>
                  <a:spLocks noChangeAspect="1"/>
                </p:cNvSpPr>
                <p:nvPr/>
              </p:nvSpPr>
              <p:spPr bwMode="auto">
                <a:xfrm>
                  <a:off x="4468" y="2024"/>
                  <a:ext cx="728" cy="1280"/>
                </a:xfrm>
                <a:custGeom>
                  <a:avLst/>
                  <a:gdLst>
                    <a:gd name="T0" fmla="*/ 44 w 728"/>
                    <a:gd name="T1" fmla="*/ 40 h 1100"/>
                    <a:gd name="T2" fmla="*/ 52 w 728"/>
                    <a:gd name="T3" fmla="*/ 980 h 1100"/>
                    <a:gd name="T4" fmla="*/ 696 w 728"/>
                    <a:gd name="T5" fmla="*/ 1100 h 1100"/>
                    <a:gd name="T6" fmla="*/ 700 w 728"/>
                    <a:gd name="T7" fmla="*/ 52 h 1100"/>
                    <a:gd name="T8" fmla="*/ 44 w 728"/>
                    <a:gd name="T9" fmla="*/ 40 h 1100"/>
                    <a:gd name="T10" fmla="*/ 0 60000 65536"/>
                    <a:gd name="T11" fmla="*/ 0 60000 65536"/>
                    <a:gd name="T12" fmla="*/ 0 60000 65536"/>
                    <a:gd name="T13" fmla="*/ 0 60000 65536"/>
                    <a:gd name="T14" fmla="*/ 0 60000 65536"/>
                    <a:gd name="T15" fmla="*/ 0 w 728"/>
                    <a:gd name="T16" fmla="*/ 0 h 1100"/>
                    <a:gd name="T17" fmla="*/ 728 w 728"/>
                    <a:gd name="T18" fmla="*/ 1100 h 1100"/>
                  </a:gdLst>
                  <a:ahLst/>
                  <a:cxnLst>
                    <a:cxn ang="T10">
                      <a:pos x="T0" y="T1"/>
                    </a:cxn>
                    <a:cxn ang="T11">
                      <a:pos x="T2" y="T3"/>
                    </a:cxn>
                    <a:cxn ang="T12">
                      <a:pos x="T4" y="T5"/>
                    </a:cxn>
                    <a:cxn ang="T13">
                      <a:pos x="T6" y="T7"/>
                    </a:cxn>
                    <a:cxn ang="T14">
                      <a:pos x="T8" y="T9"/>
                    </a:cxn>
                  </a:cxnLst>
                  <a:rect l="T15" t="T16" r="T17" b="T18"/>
                  <a:pathLst>
                    <a:path w="728" h="1100">
                      <a:moveTo>
                        <a:pt x="44" y="40"/>
                      </a:moveTo>
                      <a:cubicBezTo>
                        <a:pt x="0" y="372"/>
                        <a:pt x="28" y="728"/>
                        <a:pt x="52" y="980"/>
                      </a:cubicBezTo>
                      <a:cubicBezTo>
                        <a:pt x="308" y="1044"/>
                        <a:pt x="516" y="1072"/>
                        <a:pt x="696" y="1100"/>
                      </a:cubicBezTo>
                      <a:cubicBezTo>
                        <a:pt x="708" y="872"/>
                        <a:pt x="728" y="244"/>
                        <a:pt x="700" y="52"/>
                      </a:cubicBezTo>
                      <a:cubicBezTo>
                        <a:pt x="472" y="44"/>
                        <a:pt x="280" y="0"/>
                        <a:pt x="44" y="40"/>
                      </a:cubicBezTo>
                      <a:close/>
                    </a:path>
                  </a:pathLst>
                </a:custGeom>
                <a:solidFill>
                  <a:srgbClr val="FFFFCC"/>
                </a:solidFill>
                <a:ln w="9525">
                  <a:solidFill>
                    <a:schemeClr val="tx1"/>
                  </a:solidFill>
                  <a:round/>
                  <a:headEnd/>
                  <a:tailEnd/>
                </a:ln>
              </p:spPr>
              <p:txBody>
                <a:bodyPr/>
                <a:lstStyle/>
                <a:p>
                  <a:pPr algn="l" eaLnBrk="1" hangingPunct="1"/>
                  <a:endParaRPr lang="en-US"/>
                </a:p>
              </p:txBody>
            </p:sp>
            <p:grpSp>
              <p:nvGrpSpPr>
                <p:cNvPr id="912" name="Group 790"/>
                <p:cNvGrpSpPr>
                  <a:grpSpLocks noChangeAspect="1"/>
                </p:cNvGrpSpPr>
                <p:nvPr/>
              </p:nvGrpSpPr>
              <p:grpSpPr bwMode="auto">
                <a:xfrm>
                  <a:off x="4312" y="2248"/>
                  <a:ext cx="878" cy="194"/>
                  <a:chOff x="4320" y="2559"/>
                  <a:chExt cx="878" cy="194"/>
                </a:xfrm>
              </p:grpSpPr>
              <p:sp>
                <p:nvSpPr>
                  <p:cNvPr id="1101" name="Freeform 791"/>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1102" name="Freeform 792"/>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1103" name="Freeform 793"/>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913" name="Group 794"/>
                <p:cNvGrpSpPr>
                  <a:grpSpLocks noChangeAspect="1"/>
                </p:cNvGrpSpPr>
                <p:nvPr/>
              </p:nvGrpSpPr>
              <p:grpSpPr bwMode="auto">
                <a:xfrm>
                  <a:off x="4312" y="2680"/>
                  <a:ext cx="878" cy="194"/>
                  <a:chOff x="4320" y="2559"/>
                  <a:chExt cx="878" cy="194"/>
                </a:xfrm>
              </p:grpSpPr>
              <p:sp>
                <p:nvSpPr>
                  <p:cNvPr id="1098" name="Freeform 795"/>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1099" name="Freeform 796"/>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1100" name="Freeform 797"/>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914" name="Group 798"/>
                <p:cNvGrpSpPr>
                  <a:grpSpLocks noChangeAspect="1"/>
                </p:cNvGrpSpPr>
                <p:nvPr/>
              </p:nvGrpSpPr>
              <p:grpSpPr bwMode="auto">
                <a:xfrm>
                  <a:off x="4408" y="2408"/>
                  <a:ext cx="264" cy="344"/>
                  <a:chOff x="3226" y="2374"/>
                  <a:chExt cx="264" cy="344"/>
                </a:xfrm>
              </p:grpSpPr>
              <p:sp>
                <p:nvSpPr>
                  <p:cNvPr id="1077" name="Freeform 799"/>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078" name="Freeform 800"/>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079" name="Freeform 801"/>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080" name="Freeform 802"/>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081" name="Freeform 803"/>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082" name="Freeform 804"/>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083" name="Freeform 805"/>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084" name="Freeform 806"/>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085" name="Freeform 807"/>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086" name="Freeform 808"/>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087" name="Freeform 809"/>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088" name="Freeform 810"/>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089" name="Freeform 811"/>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090" name="Freeform 812"/>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091" name="Freeform 813"/>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092" name="Freeform 814"/>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093" name="Freeform 815"/>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094" name="Freeform 816"/>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095" name="Freeform 817"/>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096" name="Freeform 818"/>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097" name="Freeform 819"/>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915" name="Group 820"/>
                <p:cNvGrpSpPr>
                  <a:grpSpLocks noChangeAspect="1"/>
                </p:cNvGrpSpPr>
                <p:nvPr/>
              </p:nvGrpSpPr>
              <p:grpSpPr bwMode="auto">
                <a:xfrm>
                  <a:off x="4600" y="2440"/>
                  <a:ext cx="264" cy="344"/>
                  <a:chOff x="3226" y="2374"/>
                  <a:chExt cx="264" cy="344"/>
                </a:xfrm>
              </p:grpSpPr>
              <p:sp>
                <p:nvSpPr>
                  <p:cNvPr id="1056" name="Freeform 821"/>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057" name="Freeform 822"/>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058" name="Freeform 823"/>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059" name="Freeform 824"/>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060" name="Freeform 825"/>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061" name="Freeform 826"/>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062" name="Freeform 827"/>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063" name="Freeform 828"/>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064" name="Freeform 829"/>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065" name="Freeform 830"/>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066" name="Freeform 831"/>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067" name="Freeform 832"/>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068" name="Freeform 833"/>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069" name="Freeform 834"/>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070" name="Freeform 835"/>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071" name="Freeform 836"/>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072" name="Freeform 837"/>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073" name="Freeform 838"/>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074" name="Freeform 839"/>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075" name="Freeform 840"/>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076" name="Freeform 841"/>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916" name="Group 842"/>
                <p:cNvGrpSpPr>
                  <a:grpSpLocks noChangeAspect="1"/>
                </p:cNvGrpSpPr>
                <p:nvPr/>
              </p:nvGrpSpPr>
              <p:grpSpPr bwMode="auto">
                <a:xfrm>
                  <a:off x="4792" y="2440"/>
                  <a:ext cx="274" cy="383"/>
                  <a:chOff x="2730" y="1980"/>
                  <a:chExt cx="274" cy="383"/>
                </a:xfrm>
              </p:grpSpPr>
              <p:sp>
                <p:nvSpPr>
                  <p:cNvPr id="1039" name="Freeform 843"/>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1040" name="Freeform 844"/>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041" name="Freeform 845"/>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1042" name="Freeform 846"/>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043" name="Freeform 847"/>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044" name="Freeform 848"/>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1045" name="Freeform 849"/>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046" name="Freeform 850"/>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047" name="Freeform 851"/>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048" name="Freeform 852"/>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049" name="Freeform 853"/>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050" name="Freeform 854"/>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051" name="Freeform 855"/>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052" name="Freeform 856"/>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053" name="Freeform 857"/>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054" name="Freeform 858"/>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055" name="Freeform 859"/>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917" name="Group 860"/>
                <p:cNvGrpSpPr>
                  <a:grpSpLocks noChangeAspect="1"/>
                </p:cNvGrpSpPr>
                <p:nvPr/>
              </p:nvGrpSpPr>
              <p:grpSpPr bwMode="auto">
                <a:xfrm>
                  <a:off x="4408" y="1964"/>
                  <a:ext cx="264" cy="344"/>
                  <a:chOff x="3658" y="2422"/>
                  <a:chExt cx="264" cy="344"/>
                </a:xfrm>
              </p:grpSpPr>
              <p:sp>
                <p:nvSpPr>
                  <p:cNvPr id="1018" name="Freeform 861"/>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1019" name="Freeform 862"/>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1020" name="Freeform 863"/>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1021" name="Freeform 864"/>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1022" name="Freeform 865"/>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023" name="Freeform 866"/>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1024" name="Freeform 867"/>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1025" name="Freeform 868"/>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1026" name="Freeform 869"/>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1027" name="Freeform 870"/>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028" name="Freeform 871"/>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029" name="Freeform 872"/>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030" name="Freeform 873"/>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031" name="Freeform 874"/>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032" name="Freeform 875"/>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033" name="Freeform 876"/>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034" name="Freeform 877"/>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035" name="Freeform 878"/>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036" name="Freeform 879"/>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037" name="Freeform 880"/>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038" name="Freeform 881"/>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918" name="Group 882"/>
                <p:cNvGrpSpPr>
                  <a:grpSpLocks noChangeAspect="1"/>
                </p:cNvGrpSpPr>
                <p:nvPr/>
              </p:nvGrpSpPr>
              <p:grpSpPr bwMode="auto">
                <a:xfrm>
                  <a:off x="4368" y="2844"/>
                  <a:ext cx="274" cy="383"/>
                  <a:chOff x="2054" y="2093"/>
                  <a:chExt cx="274" cy="383"/>
                </a:xfrm>
              </p:grpSpPr>
              <p:sp>
                <p:nvSpPr>
                  <p:cNvPr id="1001" name="Freeform 883"/>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002" name="Freeform 884"/>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003" name="Freeform 885"/>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004" name="Freeform 886"/>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005" name="Freeform 887"/>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006" name="Freeform 888"/>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007" name="Freeform 889"/>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008" name="Freeform 890"/>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009" name="Freeform 891"/>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010" name="Freeform 892"/>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011" name="Freeform 893"/>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012" name="Freeform 894"/>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013" name="Freeform 895"/>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014" name="Freeform 896"/>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015" name="Freeform 897"/>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016" name="Freeform 898"/>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017" name="Freeform 899"/>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919" name="Group 900"/>
                <p:cNvGrpSpPr>
                  <a:grpSpLocks noChangeAspect="1"/>
                </p:cNvGrpSpPr>
                <p:nvPr/>
              </p:nvGrpSpPr>
              <p:grpSpPr bwMode="auto">
                <a:xfrm>
                  <a:off x="4640" y="1976"/>
                  <a:ext cx="200" cy="357"/>
                  <a:chOff x="3830" y="2172"/>
                  <a:chExt cx="200" cy="357"/>
                </a:xfrm>
              </p:grpSpPr>
              <p:sp>
                <p:nvSpPr>
                  <p:cNvPr id="979" name="Freeform 901"/>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980" name="Freeform 902"/>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981" name="Freeform 903"/>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982" name="Freeform 904"/>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983" name="Freeform 905"/>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984" name="Freeform 906"/>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985" name="Freeform 907"/>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986" name="Freeform 908"/>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987" name="Freeform 909"/>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988" name="Freeform 910"/>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989" name="Freeform 911"/>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990" name="Freeform 912"/>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991" name="Freeform 913"/>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992" name="Freeform 914"/>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993" name="Freeform 915"/>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994" name="Freeform 916"/>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995" name="Freeform 917"/>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996" name="Freeform 918"/>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97" name="Freeform 919"/>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98" name="Freeform 920"/>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99" name="Freeform 921"/>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000" name="Freeform 922"/>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920" name="Group 923"/>
                <p:cNvGrpSpPr>
                  <a:grpSpLocks noChangeAspect="1"/>
                </p:cNvGrpSpPr>
                <p:nvPr/>
              </p:nvGrpSpPr>
              <p:grpSpPr bwMode="auto">
                <a:xfrm>
                  <a:off x="4824" y="2012"/>
                  <a:ext cx="200" cy="357"/>
                  <a:chOff x="3830" y="2172"/>
                  <a:chExt cx="200" cy="357"/>
                </a:xfrm>
              </p:grpSpPr>
              <p:sp>
                <p:nvSpPr>
                  <p:cNvPr id="957" name="Freeform 924"/>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958" name="Freeform 925"/>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959" name="Freeform 926"/>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960" name="Freeform 927"/>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961" name="Freeform 928"/>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962" name="Freeform 929"/>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963" name="Freeform 930"/>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964" name="Freeform 931"/>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965" name="Freeform 932"/>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966" name="Freeform 933"/>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967" name="Freeform 934"/>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968" name="Freeform 935"/>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969" name="Freeform 936"/>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970" name="Freeform 937"/>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971" name="Freeform 938"/>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972" name="Freeform 939"/>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973" name="Freeform 940"/>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974" name="Freeform 941"/>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75" name="Freeform 942"/>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76" name="Freeform 943"/>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977" name="Freeform 944"/>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978" name="Freeform 945"/>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921" name="Group 946"/>
                <p:cNvGrpSpPr>
                  <a:grpSpLocks noChangeAspect="1"/>
                </p:cNvGrpSpPr>
                <p:nvPr/>
              </p:nvGrpSpPr>
              <p:grpSpPr bwMode="auto">
                <a:xfrm>
                  <a:off x="4560" y="2876"/>
                  <a:ext cx="274" cy="383"/>
                  <a:chOff x="2054" y="2093"/>
                  <a:chExt cx="274" cy="383"/>
                </a:xfrm>
              </p:grpSpPr>
              <p:sp>
                <p:nvSpPr>
                  <p:cNvPr id="940" name="Freeform 947"/>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941" name="Freeform 948"/>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942" name="Freeform 949"/>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943" name="Freeform 950"/>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944" name="Freeform 951"/>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945" name="Freeform 952"/>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946" name="Freeform 953"/>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947" name="Freeform 954"/>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948" name="Freeform 955"/>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949" name="Freeform 956"/>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950" name="Freeform 957"/>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951" name="Freeform 958"/>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952" name="Freeform 959"/>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953" name="Freeform 960"/>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954" name="Freeform 961"/>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955" name="Freeform 962"/>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956" name="Freeform 963"/>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922" name="Group 964"/>
                <p:cNvGrpSpPr>
                  <a:grpSpLocks noChangeAspect="1"/>
                </p:cNvGrpSpPr>
                <p:nvPr/>
              </p:nvGrpSpPr>
              <p:grpSpPr bwMode="auto">
                <a:xfrm>
                  <a:off x="4748" y="2920"/>
                  <a:ext cx="274" cy="383"/>
                  <a:chOff x="2054" y="2093"/>
                  <a:chExt cx="274" cy="383"/>
                </a:xfrm>
              </p:grpSpPr>
              <p:sp>
                <p:nvSpPr>
                  <p:cNvPr id="923" name="Freeform 965"/>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924" name="Freeform 966"/>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925" name="Freeform 967"/>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926" name="Freeform 968"/>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927" name="Freeform 969"/>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928" name="Freeform 970"/>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929" name="Freeform 971"/>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930" name="Freeform 972"/>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931" name="Freeform 973"/>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932" name="Freeform 974"/>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933" name="Freeform 975"/>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934" name="Freeform 976"/>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935" name="Freeform 977"/>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936" name="Freeform 978"/>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937" name="Freeform 979"/>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938" name="Freeform 980"/>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939" name="Freeform 981"/>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grpSp>
            <p:nvGrpSpPr>
              <p:cNvPr id="907" name="Group 982"/>
              <p:cNvGrpSpPr>
                <a:grpSpLocks noChangeAspect="1"/>
              </p:cNvGrpSpPr>
              <p:nvPr/>
            </p:nvGrpSpPr>
            <p:grpSpPr bwMode="auto">
              <a:xfrm>
                <a:off x="4286" y="3203"/>
                <a:ext cx="878" cy="194"/>
                <a:chOff x="4320" y="2559"/>
                <a:chExt cx="878" cy="194"/>
              </a:xfrm>
            </p:grpSpPr>
            <p:sp>
              <p:nvSpPr>
                <p:cNvPr id="908" name="Freeform 983"/>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909" name="Freeform 984"/>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910" name="Freeform 985"/>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grpSp>
          <p:nvGrpSpPr>
            <p:cNvPr id="507" name="Group 986"/>
            <p:cNvGrpSpPr>
              <a:grpSpLocks/>
            </p:cNvGrpSpPr>
            <p:nvPr/>
          </p:nvGrpSpPr>
          <p:grpSpPr bwMode="auto">
            <a:xfrm>
              <a:off x="4848" y="1344"/>
              <a:ext cx="240" cy="576"/>
              <a:chOff x="4513" y="1706"/>
              <a:chExt cx="682" cy="1073"/>
            </a:xfrm>
          </p:grpSpPr>
          <p:sp>
            <p:nvSpPr>
              <p:cNvPr id="705" name="Freeform 987"/>
              <p:cNvSpPr>
                <a:spLocks noChangeAspect="1"/>
              </p:cNvSpPr>
              <p:nvPr/>
            </p:nvSpPr>
            <p:spPr bwMode="auto">
              <a:xfrm>
                <a:off x="4649" y="1751"/>
                <a:ext cx="546" cy="958"/>
              </a:xfrm>
              <a:custGeom>
                <a:avLst/>
                <a:gdLst>
                  <a:gd name="T0" fmla="*/ 44 w 728"/>
                  <a:gd name="T1" fmla="*/ 40 h 1100"/>
                  <a:gd name="T2" fmla="*/ 52 w 728"/>
                  <a:gd name="T3" fmla="*/ 980 h 1100"/>
                  <a:gd name="T4" fmla="*/ 696 w 728"/>
                  <a:gd name="T5" fmla="*/ 1100 h 1100"/>
                  <a:gd name="T6" fmla="*/ 700 w 728"/>
                  <a:gd name="T7" fmla="*/ 52 h 1100"/>
                  <a:gd name="T8" fmla="*/ 44 w 728"/>
                  <a:gd name="T9" fmla="*/ 40 h 1100"/>
                  <a:gd name="T10" fmla="*/ 0 60000 65536"/>
                  <a:gd name="T11" fmla="*/ 0 60000 65536"/>
                  <a:gd name="T12" fmla="*/ 0 60000 65536"/>
                  <a:gd name="T13" fmla="*/ 0 60000 65536"/>
                  <a:gd name="T14" fmla="*/ 0 60000 65536"/>
                  <a:gd name="T15" fmla="*/ 0 w 728"/>
                  <a:gd name="T16" fmla="*/ 0 h 1100"/>
                  <a:gd name="T17" fmla="*/ 728 w 728"/>
                  <a:gd name="T18" fmla="*/ 1100 h 1100"/>
                </a:gdLst>
                <a:ahLst/>
                <a:cxnLst>
                  <a:cxn ang="T10">
                    <a:pos x="T0" y="T1"/>
                  </a:cxn>
                  <a:cxn ang="T11">
                    <a:pos x="T2" y="T3"/>
                  </a:cxn>
                  <a:cxn ang="T12">
                    <a:pos x="T4" y="T5"/>
                  </a:cxn>
                  <a:cxn ang="T13">
                    <a:pos x="T6" y="T7"/>
                  </a:cxn>
                  <a:cxn ang="T14">
                    <a:pos x="T8" y="T9"/>
                  </a:cxn>
                </a:cxnLst>
                <a:rect l="T15" t="T16" r="T17" b="T18"/>
                <a:pathLst>
                  <a:path w="728" h="1100">
                    <a:moveTo>
                      <a:pt x="44" y="40"/>
                    </a:moveTo>
                    <a:cubicBezTo>
                      <a:pt x="0" y="372"/>
                      <a:pt x="28" y="728"/>
                      <a:pt x="52" y="980"/>
                    </a:cubicBezTo>
                    <a:cubicBezTo>
                      <a:pt x="308" y="1044"/>
                      <a:pt x="516" y="1072"/>
                      <a:pt x="696" y="1100"/>
                    </a:cubicBezTo>
                    <a:cubicBezTo>
                      <a:pt x="708" y="872"/>
                      <a:pt x="728" y="244"/>
                      <a:pt x="700" y="52"/>
                    </a:cubicBezTo>
                    <a:cubicBezTo>
                      <a:pt x="472" y="44"/>
                      <a:pt x="280" y="0"/>
                      <a:pt x="44" y="40"/>
                    </a:cubicBezTo>
                    <a:close/>
                  </a:path>
                </a:pathLst>
              </a:custGeom>
              <a:solidFill>
                <a:srgbClr val="FFFFCC"/>
              </a:solidFill>
              <a:ln w="9525">
                <a:solidFill>
                  <a:schemeClr val="tx1"/>
                </a:solidFill>
                <a:round/>
                <a:headEnd/>
                <a:tailEnd/>
              </a:ln>
            </p:spPr>
            <p:txBody>
              <a:bodyPr/>
              <a:lstStyle/>
              <a:p>
                <a:pPr algn="l" eaLnBrk="1" hangingPunct="1"/>
                <a:endParaRPr lang="en-US"/>
              </a:p>
            </p:txBody>
          </p:sp>
          <p:grpSp>
            <p:nvGrpSpPr>
              <p:cNvPr id="706" name="Group 988"/>
              <p:cNvGrpSpPr>
                <a:grpSpLocks noChangeAspect="1"/>
              </p:cNvGrpSpPr>
              <p:nvPr/>
            </p:nvGrpSpPr>
            <p:grpSpPr bwMode="auto">
              <a:xfrm>
                <a:off x="4532" y="1919"/>
                <a:ext cx="659" cy="145"/>
                <a:chOff x="4320" y="2559"/>
                <a:chExt cx="878" cy="194"/>
              </a:xfrm>
            </p:grpSpPr>
            <p:sp>
              <p:nvSpPr>
                <p:cNvPr id="903" name="Freeform 989"/>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904" name="Freeform 990"/>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905" name="Freeform 991"/>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707" name="Group 992"/>
              <p:cNvGrpSpPr>
                <a:grpSpLocks noChangeAspect="1"/>
              </p:cNvGrpSpPr>
              <p:nvPr/>
            </p:nvGrpSpPr>
            <p:grpSpPr bwMode="auto">
              <a:xfrm>
                <a:off x="4532" y="2242"/>
                <a:ext cx="659" cy="145"/>
                <a:chOff x="4320" y="2559"/>
                <a:chExt cx="878" cy="194"/>
              </a:xfrm>
            </p:grpSpPr>
            <p:sp>
              <p:nvSpPr>
                <p:cNvPr id="900" name="Freeform 993"/>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901" name="Freeform 994"/>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902" name="Freeform 995"/>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708" name="Group 996"/>
              <p:cNvGrpSpPr>
                <a:grpSpLocks noChangeAspect="1"/>
              </p:cNvGrpSpPr>
              <p:nvPr/>
            </p:nvGrpSpPr>
            <p:grpSpPr bwMode="auto">
              <a:xfrm>
                <a:off x="4604" y="2038"/>
                <a:ext cx="198" cy="258"/>
                <a:chOff x="3226" y="2374"/>
                <a:chExt cx="264" cy="344"/>
              </a:xfrm>
            </p:grpSpPr>
            <p:sp>
              <p:nvSpPr>
                <p:cNvPr id="879" name="Freeform 997"/>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880" name="Freeform 998"/>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881" name="Freeform 999"/>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882" name="Freeform 1000"/>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883" name="Freeform 1001"/>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884" name="Freeform 1002"/>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885" name="Freeform 1003"/>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886" name="Freeform 1004"/>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887" name="Freeform 1005"/>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888" name="Freeform 1006"/>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889" name="Freeform 1007"/>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890" name="Freeform 1008"/>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891" name="Freeform 1009"/>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892" name="Freeform 1010"/>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893" name="Freeform 1011"/>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894" name="Freeform 1012"/>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895" name="Freeform 1013"/>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896" name="Freeform 1014"/>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897" name="Freeform 1015"/>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898" name="Freeform 1016"/>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899" name="Freeform 1017"/>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709" name="Group 1018"/>
              <p:cNvGrpSpPr>
                <a:grpSpLocks noChangeAspect="1"/>
              </p:cNvGrpSpPr>
              <p:nvPr/>
            </p:nvGrpSpPr>
            <p:grpSpPr bwMode="auto">
              <a:xfrm>
                <a:off x="4748" y="2062"/>
                <a:ext cx="198" cy="258"/>
                <a:chOff x="3226" y="2374"/>
                <a:chExt cx="264" cy="344"/>
              </a:xfrm>
            </p:grpSpPr>
            <p:sp>
              <p:nvSpPr>
                <p:cNvPr id="858" name="Freeform 1019"/>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859" name="Freeform 1020"/>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860" name="Freeform 1021"/>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861" name="Freeform 1022"/>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862" name="Freeform 1023"/>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863" name="Freeform 1024"/>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864" name="Freeform 1025"/>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865" name="Freeform 1026"/>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866" name="Freeform 1027"/>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867" name="Freeform 1028"/>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868" name="Freeform 1029"/>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869" name="Freeform 1030"/>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870" name="Freeform 1031"/>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871" name="Freeform 1032"/>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872" name="Freeform 1033"/>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873" name="Freeform 1034"/>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874" name="Freeform 1035"/>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875" name="Freeform 1036"/>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876" name="Freeform 1037"/>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877" name="Freeform 1038"/>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878" name="Freeform 1039"/>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710" name="Group 1040"/>
              <p:cNvGrpSpPr>
                <a:grpSpLocks noChangeAspect="1"/>
              </p:cNvGrpSpPr>
              <p:nvPr/>
            </p:nvGrpSpPr>
            <p:grpSpPr bwMode="auto">
              <a:xfrm>
                <a:off x="4604" y="1706"/>
                <a:ext cx="198" cy="257"/>
                <a:chOff x="3658" y="2422"/>
                <a:chExt cx="264" cy="344"/>
              </a:xfrm>
            </p:grpSpPr>
            <p:sp>
              <p:nvSpPr>
                <p:cNvPr id="837" name="Freeform 1041"/>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838" name="Freeform 1042"/>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839" name="Freeform 1043"/>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840" name="Freeform 1044"/>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841" name="Freeform 1045"/>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842" name="Freeform 1046"/>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843" name="Freeform 1047"/>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844" name="Freeform 1048"/>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845" name="Freeform 1049"/>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846" name="Freeform 1050"/>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847" name="Freeform 1051"/>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848" name="Freeform 1052"/>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849" name="Freeform 1053"/>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850" name="Freeform 1054"/>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851" name="Freeform 1055"/>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852" name="Freeform 1056"/>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853" name="Freeform 1057"/>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854" name="Freeform 1058"/>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855" name="Freeform 1059"/>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856" name="Freeform 1060"/>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857" name="Freeform 1061"/>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711" name="Group 1062"/>
              <p:cNvGrpSpPr>
                <a:grpSpLocks noChangeAspect="1"/>
              </p:cNvGrpSpPr>
              <p:nvPr/>
            </p:nvGrpSpPr>
            <p:grpSpPr bwMode="auto">
              <a:xfrm>
                <a:off x="4574" y="2365"/>
                <a:ext cx="206" cy="286"/>
                <a:chOff x="2054" y="2093"/>
                <a:chExt cx="274" cy="383"/>
              </a:xfrm>
            </p:grpSpPr>
            <p:sp>
              <p:nvSpPr>
                <p:cNvPr id="820" name="Freeform 1063"/>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821" name="Freeform 1064"/>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822" name="Freeform 1065"/>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823" name="Freeform 1066"/>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824" name="Freeform 1067"/>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825" name="Freeform 1068"/>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826" name="Freeform 1069"/>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827" name="Freeform 1070"/>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828" name="Freeform 1071"/>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829" name="Freeform 1072"/>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830" name="Freeform 1073"/>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831" name="Freeform 1074"/>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832" name="Freeform 1075"/>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833" name="Freeform 1076"/>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834" name="Freeform 1077"/>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835" name="Freeform 1078"/>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836" name="Freeform 1079"/>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712" name="Group 1080"/>
              <p:cNvGrpSpPr>
                <a:grpSpLocks noChangeAspect="1"/>
              </p:cNvGrpSpPr>
              <p:nvPr/>
            </p:nvGrpSpPr>
            <p:grpSpPr bwMode="auto">
              <a:xfrm>
                <a:off x="4778" y="1715"/>
                <a:ext cx="150" cy="267"/>
                <a:chOff x="3830" y="2172"/>
                <a:chExt cx="200" cy="357"/>
              </a:xfrm>
            </p:grpSpPr>
            <p:sp>
              <p:nvSpPr>
                <p:cNvPr id="798" name="Freeform 1081"/>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799" name="Freeform 1082"/>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800" name="Freeform 1083"/>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801" name="Freeform 1084"/>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802" name="Freeform 1085"/>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803" name="Freeform 1086"/>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804" name="Freeform 1087"/>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805" name="Freeform 1088"/>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806" name="Freeform 1089"/>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807" name="Freeform 1090"/>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808" name="Freeform 1091"/>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809" name="Freeform 1092"/>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810" name="Freeform 1093"/>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811" name="Freeform 1094"/>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812" name="Freeform 1095"/>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813" name="Freeform 1096"/>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814" name="Freeform 1097"/>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815" name="Freeform 1098"/>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816" name="Freeform 1099"/>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817" name="Freeform 1100"/>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818" name="Freeform 1101"/>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819" name="Freeform 1102"/>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713" name="Group 1103"/>
              <p:cNvGrpSpPr>
                <a:grpSpLocks noChangeAspect="1"/>
              </p:cNvGrpSpPr>
              <p:nvPr/>
            </p:nvGrpSpPr>
            <p:grpSpPr bwMode="auto">
              <a:xfrm>
                <a:off x="4916" y="1742"/>
                <a:ext cx="150" cy="267"/>
                <a:chOff x="3830" y="2172"/>
                <a:chExt cx="200" cy="357"/>
              </a:xfrm>
            </p:grpSpPr>
            <p:sp>
              <p:nvSpPr>
                <p:cNvPr id="776" name="Freeform 1104"/>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777" name="Freeform 1105"/>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778" name="Freeform 1106"/>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779" name="Freeform 1107"/>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780" name="Freeform 1108"/>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781" name="Freeform 1109"/>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782" name="Freeform 1110"/>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783" name="Freeform 1111"/>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784" name="Freeform 1112"/>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785" name="Freeform 1113"/>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786" name="Freeform 1114"/>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787" name="Freeform 1115"/>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788" name="Freeform 1116"/>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789" name="Freeform 1117"/>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790" name="Freeform 1118"/>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791" name="Freeform 1119"/>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792" name="Freeform 1120"/>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793" name="Freeform 1121"/>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94" name="Freeform 1122"/>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95" name="Freeform 1123"/>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796" name="Freeform 1124"/>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797" name="Freeform 1125"/>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714" name="Group 1126"/>
              <p:cNvGrpSpPr>
                <a:grpSpLocks noChangeAspect="1"/>
              </p:cNvGrpSpPr>
              <p:nvPr/>
            </p:nvGrpSpPr>
            <p:grpSpPr bwMode="auto">
              <a:xfrm>
                <a:off x="4718" y="2389"/>
                <a:ext cx="206" cy="286"/>
                <a:chOff x="2054" y="2093"/>
                <a:chExt cx="274" cy="383"/>
              </a:xfrm>
            </p:grpSpPr>
            <p:sp>
              <p:nvSpPr>
                <p:cNvPr id="759" name="Freeform 1127"/>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760" name="Freeform 1128"/>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761" name="Freeform 1129"/>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762" name="Freeform 1130"/>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763" name="Freeform 1131"/>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764" name="Freeform 1132"/>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765" name="Freeform 1133"/>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766" name="Freeform 1134"/>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767" name="Freeform 1135"/>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768" name="Freeform 1136"/>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769" name="Freeform 1137"/>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770" name="Freeform 1138"/>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771" name="Freeform 1139"/>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772" name="Freeform 1140"/>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773" name="Freeform 1141"/>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774" name="Freeform 1142"/>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775" name="Freeform 1143"/>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715" name="Group 1144"/>
              <p:cNvGrpSpPr>
                <a:grpSpLocks noChangeAspect="1"/>
              </p:cNvGrpSpPr>
              <p:nvPr/>
            </p:nvGrpSpPr>
            <p:grpSpPr bwMode="auto">
              <a:xfrm>
                <a:off x="4513" y="2634"/>
                <a:ext cx="658" cy="145"/>
                <a:chOff x="4320" y="2559"/>
                <a:chExt cx="878" cy="194"/>
              </a:xfrm>
            </p:grpSpPr>
            <p:sp>
              <p:nvSpPr>
                <p:cNvPr id="756" name="Freeform 1145"/>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757" name="Freeform 1146"/>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758" name="Freeform 1147"/>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716" name="Group 1148"/>
              <p:cNvGrpSpPr>
                <a:grpSpLocks noChangeAspect="1"/>
              </p:cNvGrpSpPr>
              <p:nvPr/>
            </p:nvGrpSpPr>
            <p:grpSpPr bwMode="auto">
              <a:xfrm>
                <a:off x="4876" y="2423"/>
                <a:ext cx="206" cy="287"/>
                <a:chOff x="2730" y="1980"/>
                <a:chExt cx="274" cy="383"/>
              </a:xfrm>
            </p:grpSpPr>
            <p:sp>
              <p:nvSpPr>
                <p:cNvPr id="739" name="Freeform 1149"/>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740" name="Freeform 1150"/>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741" name="Freeform 1151"/>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742" name="Freeform 1152"/>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743" name="Freeform 1153"/>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744" name="Freeform 1154"/>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745" name="Freeform 1155"/>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746" name="Freeform 1156"/>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747" name="Freeform 1157"/>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748" name="Freeform 1158"/>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749" name="Freeform 1159"/>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750" name="Freeform 1160"/>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751" name="Freeform 1161"/>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752" name="Freeform 1162"/>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753" name="Freeform 1163"/>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754" name="Freeform 1164"/>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755" name="Freeform 1165"/>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717" name="Group 1166"/>
              <p:cNvGrpSpPr>
                <a:grpSpLocks noChangeAspect="1"/>
              </p:cNvGrpSpPr>
              <p:nvPr/>
            </p:nvGrpSpPr>
            <p:grpSpPr bwMode="auto">
              <a:xfrm>
                <a:off x="4902" y="2092"/>
                <a:ext cx="198" cy="258"/>
                <a:chOff x="3226" y="2374"/>
                <a:chExt cx="264" cy="344"/>
              </a:xfrm>
            </p:grpSpPr>
            <p:sp>
              <p:nvSpPr>
                <p:cNvPr id="718" name="Freeform 1167"/>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719" name="Freeform 1168"/>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720" name="Freeform 1169"/>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721" name="Freeform 1170"/>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722" name="Freeform 1171"/>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723" name="Freeform 1172"/>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724" name="Freeform 1173"/>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725" name="Freeform 1174"/>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726" name="Freeform 1175"/>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727" name="Freeform 1176"/>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728" name="Freeform 1177"/>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729" name="Freeform 1178"/>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730" name="Freeform 1179"/>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731" name="Freeform 1180"/>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732" name="Freeform 1181"/>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733" name="Freeform 1182"/>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734" name="Freeform 1183"/>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735" name="Freeform 1184"/>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736" name="Freeform 1185"/>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737" name="Freeform 1186"/>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738" name="Freeform 1187"/>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grpSp>
          <p:nvGrpSpPr>
            <p:cNvPr id="508" name="Group 1188"/>
            <p:cNvGrpSpPr>
              <a:grpSpLocks/>
            </p:cNvGrpSpPr>
            <p:nvPr/>
          </p:nvGrpSpPr>
          <p:grpSpPr bwMode="auto">
            <a:xfrm>
              <a:off x="4464" y="1392"/>
              <a:ext cx="336" cy="480"/>
              <a:chOff x="4059" y="1706"/>
              <a:chExt cx="682" cy="1073"/>
            </a:xfrm>
          </p:grpSpPr>
          <p:sp>
            <p:nvSpPr>
              <p:cNvPr id="509" name="Freeform 1189"/>
              <p:cNvSpPr>
                <a:spLocks noChangeAspect="1"/>
              </p:cNvSpPr>
              <p:nvPr/>
            </p:nvSpPr>
            <p:spPr bwMode="auto">
              <a:xfrm>
                <a:off x="4195" y="1751"/>
                <a:ext cx="546" cy="958"/>
              </a:xfrm>
              <a:custGeom>
                <a:avLst/>
                <a:gdLst>
                  <a:gd name="T0" fmla="*/ 44 w 728"/>
                  <a:gd name="T1" fmla="*/ 40 h 1100"/>
                  <a:gd name="T2" fmla="*/ 52 w 728"/>
                  <a:gd name="T3" fmla="*/ 980 h 1100"/>
                  <a:gd name="T4" fmla="*/ 696 w 728"/>
                  <a:gd name="T5" fmla="*/ 1100 h 1100"/>
                  <a:gd name="T6" fmla="*/ 700 w 728"/>
                  <a:gd name="T7" fmla="*/ 52 h 1100"/>
                  <a:gd name="T8" fmla="*/ 44 w 728"/>
                  <a:gd name="T9" fmla="*/ 40 h 1100"/>
                  <a:gd name="T10" fmla="*/ 0 60000 65536"/>
                  <a:gd name="T11" fmla="*/ 0 60000 65536"/>
                  <a:gd name="T12" fmla="*/ 0 60000 65536"/>
                  <a:gd name="T13" fmla="*/ 0 60000 65536"/>
                  <a:gd name="T14" fmla="*/ 0 60000 65536"/>
                  <a:gd name="T15" fmla="*/ 0 w 728"/>
                  <a:gd name="T16" fmla="*/ 0 h 1100"/>
                  <a:gd name="T17" fmla="*/ 728 w 728"/>
                  <a:gd name="T18" fmla="*/ 1100 h 1100"/>
                </a:gdLst>
                <a:ahLst/>
                <a:cxnLst>
                  <a:cxn ang="T10">
                    <a:pos x="T0" y="T1"/>
                  </a:cxn>
                  <a:cxn ang="T11">
                    <a:pos x="T2" y="T3"/>
                  </a:cxn>
                  <a:cxn ang="T12">
                    <a:pos x="T4" y="T5"/>
                  </a:cxn>
                  <a:cxn ang="T13">
                    <a:pos x="T6" y="T7"/>
                  </a:cxn>
                  <a:cxn ang="T14">
                    <a:pos x="T8" y="T9"/>
                  </a:cxn>
                </a:cxnLst>
                <a:rect l="T15" t="T16" r="T17" b="T18"/>
                <a:pathLst>
                  <a:path w="728" h="1100">
                    <a:moveTo>
                      <a:pt x="44" y="40"/>
                    </a:moveTo>
                    <a:cubicBezTo>
                      <a:pt x="0" y="372"/>
                      <a:pt x="28" y="728"/>
                      <a:pt x="52" y="980"/>
                    </a:cubicBezTo>
                    <a:cubicBezTo>
                      <a:pt x="308" y="1044"/>
                      <a:pt x="516" y="1072"/>
                      <a:pt x="696" y="1100"/>
                    </a:cubicBezTo>
                    <a:cubicBezTo>
                      <a:pt x="708" y="872"/>
                      <a:pt x="728" y="244"/>
                      <a:pt x="700" y="52"/>
                    </a:cubicBezTo>
                    <a:cubicBezTo>
                      <a:pt x="472" y="44"/>
                      <a:pt x="280" y="0"/>
                      <a:pt x="44" y="40"/>
                    </a:cubicBezTo>
                    <a:close/>
                  </a:path>
                </a:pathLst>
              </a:custGeom>
              <a:solidFill>
                <a:srgbClr val="FFFFCC"/>
              </a:solidFill>
              <a:ln w="9525">
                <a:solidFill>
                  <a:schemeClr val="tx1"/>
                </a:solidFill>
                <a:round/>
                <a:headEnd/>
                <a:tailEnd/>
              </a:ln>
            </p:spPr>
            <p:txBody>
              <a:bodyPr/>
              <a:lstStyle/>
              <a:p>
                <a:pPr algn="l" eaLnBrk="1" hangingPunct="1"/>
                <a:endParaRPr lang="en-US"/>
              </a:p>
            </p:txBody>
          </p:sp>
          <p:grpSp>
            <p:nvGrpSpPr>
              <p:cNvPr id="510" name="Group 1190"/>
              <p:cNvGrpSpPr>
                <a:grpSpLocks noChangeAspect="1"/>
              </p:cNvGrpSpPr>
              <p:nvPr/>
            </p:nvGrpSpPr>
            <p:grpSpPr bwMode="auto">
              <a:xfrm>
                <a:off x="4078" y="1919"/>
                <a:ext cx="659" cy="145"/>
                <a:chOff x="4320" y="2559"/>
                <a:chExt cx="878" cy="194"/>
              </a:xfrm>
            </p:grpSpPr>
            <p:sp>
              <p:nvSpPr>
                <p:cNvPr id="702" name="Freeform 1191"/>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703" name="Freeform 1192"/>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704" name="Freeform 1193"/>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511" name="Group 1194"/>
              <p:cNvGrpSpPr>
                <a:grpSpLocks noChangeAspect="1"/>
              </p:cNvGrpSpPr>
              <p:nvPr/>
            </p:nvGrpSpPr>
            <p:grpSpPr bwMode="auto">
              <a:xfrm>
                <a:off x="4078" y="2242"/>
                <a:ext cx="659" cy="145"/>
                <a:chOff x="4320" y="2559"/>
                <a:chExt cx="878" cy="194"/>
              </a:xfrm>
            </p:grpSpPr>
            <p:sp>
              <p:nvSpPr>
                <p:cNvPr id="699" name="Freeform 1195"/>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700" name="Freeform 1196"/>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701" name="Freeform 1197"/>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512" name="Group 1198"/>
              <p:cNvGrpSpPr>
                <a:grpSpLocks noChangeAspect="1"/>
              </p:cNvGrpSpPr>
              <p:nvPr/>
            </p:nvGrpSpPr>
            <p:grpSpPr bwMode="auto">
              <a:xfrm>
                <a:off x="4150" y="2038"/>
                <a:ext cx="198" cy="258"/>
                <a:chOff x="3226" y="2374"/>
                <a:chExt cx="264" cy="344"/>
              </a:xfrm>
            </p:grpSpPr>
            <p:sp>
              <p:nvSpPr>
                <p:cNvPr id="678" name="Freeform 1199"/>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679" name="Freeform 1200"/>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680" name="Freeform 1201"/>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681" name="Freeform 1202"/>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682" name="Freeform 1203"/>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683" name="Freeform 1204"/>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684" name="Freeform 1205"/>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685" name="Freeform 1206"/>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686" name="Freeform 1207"/>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687" name="Freeform 1208"/>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688" name="Freeform 1209"/>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689" name="Freeform 1210"/>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690" name="Freeform 1211"/>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691" name="Freeform 1212"/>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692" name="Freeform 1213"/>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693" name="Freeform 1214"/>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694" name="Freeform 1215"/>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695" name="Freeform 1216"/>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696" name="Freeform 1217"/>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697" name="Freeform 1218"/>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698" name="Freeform 1219"/>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513" name="Group 1220"/>
              <p:cNvGrpSpPr>
                <a:grpSpLocks noChangeAspect="1"/>
              </p:cNvGrpSpPr>
              <p:nvPr/>
            </p:nvGrpSpPr>
            <p:grpSpPr bwMode="auto">
              <a:xfrm>
                <a:off x="4294" y="2062"/>
                <a:ext cx="198" cy="258"/>
                <a:chOff x="3226" y="2374"/>
                <a:chExt cx="264" cy="344"/>
              </a:xfrm>
            </p:grpSpPr>
            <p:sp>
              <p:nvSpPr>
                <p:cNvPr id="657" name="Freeform 1221"/>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658" name="Freeform 1222"/>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659" name="Freeform 1223"/>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660" name="Freeform 1224"/>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661" name="Freeform 1225"/>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662" name="Freeform 1226"/>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663" name="Freeform 1227"/>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664" name="Freeform 1228"/>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665" name="Freeform 1229"/>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666" name="Freeform 1230"/>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667" name="Freeform 1231"/>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668" name="Freeform 1232"/>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669" name="Freeform 1233"/>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670" name="Freeform 1234"/>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671" name="Freeform 1235"/>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672" name="Freeform 1236"/>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673" name="Freeform 1237"/>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674" name="Freeform 1238"/>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675" name="Freeform 1239"/>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676" name="Freeform 1240"/>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677" name="Freeform 1241"/>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514" name="Group 1242"/>
              <p:cNvGrpSpPr>
                <a:grpSpLocks noChangeAspect="1"/>
              </p:cNvGrpSpPr>
              <p:nvPr/>
            </p:nvGrpSpPr>
            <p:grpSpPr bwMode="auto">
              <a:xfrm>
                <a:off x="4438" y="2062"/>
                <a:ext cx="206" cy="287"/>
                <a:chOff x="2730" y="1980"/>
                <a:chExt cx="274" cy="383"/>
              </a:xfrm>
            </p:grpSpPr>
            <p:sp>
              <p:nvSpPr>
                <p:cNvPr id="640" name="Freeform 1243"/>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641" name="Freeform 1244"/>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642" name="Freeform 1245"/>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643" name="Freeform 1246"/>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644" name="Freeform 1247"/>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645" name="Freeform 1248"/>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646" name="Freeform 1249"/>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647" name="Freeform 1250"/>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648" name="Freeform 1251"/>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649" name="Freeform 1252"/>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650" name="Freeform 1253"/>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651" name="Freeform 1254"/>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652" name="Freeform 1255"/>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653" name="Freeform 1256"/>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654" name="Freeform 1257"/>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655" name="Freeform 1258"/>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656" name="Freeform 1259"/>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515" name="Group 1260"/>
              <p:cNvGrpSpPr>
                <a:grpSpLocks noChangeAspect="1"/>
              </p:cNvGrpSpPr>
              <p:nvPr/>
            </p:nvGrpSpPr>
            <p:grpSpPr bwMode="auto">
              <a:xfrm>
                <a:off x="4150" y="1706"/>
                <a:ext cx="198" cy="257"/>
                <a:chOff x="3658" y="2422"/>
                <a:chExt cx="264" cy="344"/>
              </a:xfrm>
            </p:grpSpPr>
            <p:sp>
              <p:nvSpPr>
                <p:cNvPr id="619" name="Freeform 1261"/>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620" name="Freeform 1262"/>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621" name="Freeform 1263"/>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622" name="Freeform 1264"/>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623" name="Freeform 1265"/>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624" name="Freeform 1266"/>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625" name="Freeform 1267"/>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626" name="Freeform 1268"/>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627" name="Freeform 1269"/>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628" name="Freeform 1270"/>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629" name="Freeform 1271"/>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630" name="Freeform 1272"/>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631" name="Freeform 1273"/>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632" name="Freeform 1274"/>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633" name="Freeform 1275"/>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634" name="Freeform 1276"/>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635" name="Freeform 1277"/>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636" name="Freeform 1278"/>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637" name="Freeform 1279"/>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638" name="Freeform 1280"/>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639" name="Freeform 1281"/>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516" name="Group 1282"/>
              <p:cNvGrpSpPr>
                <a:grpSpLocks noChangeAspect="1"/>
              </p:cNvGrpSpPr>
              <p:nvPr/>
            </p:nvGrpSpPr>
            <p:grpSpPr bwMode="auto">
              <a:xfrm>
                <a:off x="4120" y="2365"/>
                <a:ext cx="206" cy="286"/>
                <a:chOff x="2054" y="2093"/>
                <a:chExt cx="274" cy="383"/>
              </a:xfrm>
            </p:grpSpPr>
            <p:sp>
              <p:nvSpPr>
                <p:cNvPr id="602" name="Freeform 1283"/>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603" name="Freeform 1284"/>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604" name="Freeform 1285"/>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605" name="Freeform 1286"/>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606" name="Freeform 1287"/>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607" name="Freeform 1288"/>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608" name="Freeform 1289"/>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609" name="Freeform 1290"/>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610" name="Freeform 1291"/>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611" name="Freeform 1292"/>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612" name="Freeform 1293"/>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613" name="Freeform 1294"/>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614" name="Freeform 1295"/>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615" name="Freeform 1296"/>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616" name="Freeform 1297"/>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617" name="Freeform 1298"/>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618" name="Freeform 1299"/>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517" name="Group 1300"/>
              <p:cNvGrpSpPr>
                <a:grpSpLocks noChangeAspect="1"/>
              </p:cNvGrpSpPr>
              <p:nvPr/>
            </p:nvGrpSpPr>
            <p:grpSpPr bwMode="auto">
              <a:xfrm>
                <a:off x="4264" y="2389"/>
                <a:ext cx="206" cy="286"/>
                <a:chOff x="2054" y="2093"/>
                <a:chExt cx="274" cy="383"/>
              </a:xfrm>
            </p:grpSpPr>
            <p:sp>
              <p:nvSpPr>
                <p:cNvPr id="585" name="Freeform 1301"/>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586" name="Freeform 1302"/>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587" name="Freeform 1303"/>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588" name="Freeform 1304"/>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589" name="Freeform 1305"/>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590" name="Freeform 1306"/>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591" name="Freeform 1307"/>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592" name="Freeform 1308"/>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593" name="Freeform 1309"/>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594" name="Freeform 1310"/>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595" name="Freeform 1311"/>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596" name="Freeform 1312"/>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597" name="Freeform 1313"/>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598" name="Freeform 1314"/>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599" name="Freeform 1315"/>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600" name="Freeform 1316"/>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601" name="Freeform 1317"/>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518" name="Group 1318"/>
              <p:cNvGrpSpPr>
                <a:grpSpLocks noChangeAspect="1"/>
              </p:cNvGrpSpPr>
              <p:nvPr/>
            </p:nvGrpSpPr>
            <p:grpSpPr bwMode="auto">
              <a:xfrm>
                <a:off x="4405" y="2422"/>
                <a:ext cx="206" cy="286"/>
                <a:chOff x="2054" y="2093"/>
                <a:chExt cx="274" cy="383"/>
              </a:xfrm>
            </p:grpSpPr>
            <p:sp>
              <p:nvSpPr>
                <p:cNvPr id="568" name="Freeform 1319"/>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569" name="Freeform 1320"/>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570" name="Freeform 1321"/>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571" name="Freeform 1322"/>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572" name="Freeform 1323"/>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573" name="Freeform 1324"/>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574" name="Freeform 1325"/>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575" name="Freeform 1326"/>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576" name="Freeform 1327"/>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577" name="Freeform 1328"/>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578" name="Freeform 1329"/>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579" name="Freeform 1330"/>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580" name="Freeform 1331"/>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581" name="Freeform 1332"/>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582" name="Freeform 1333"/>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583" name="Freeform 1334"/>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584" name="Freeform 1335"/>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519" name="Group 1336"/>
              <p:cNvGrpSpPr>
                <a:grpSpLocks noChangeAspect="1"/>
              </p:cNvGrpSpPr>
              <p:nvPr/>
            </p:nvGrpSpPr>
            <p:grpSpPr bwMode="auto">
              <a:xfrm>
                <a:off x="4059" y="2634"/>
                <a:ext cx="658" cy="145"/>
                <a:chOff x="4320" y="2559"/>
                <a:chExt cx="878" cy="194"/>
              </a:xfrm>
            </p:grpSpPr>
            <p:sp>
              <p:nvSpPr>
                <p:cNvPr id="565" name="Freeform 1337"/>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566" name="Freeform 1338"/>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567" name="Freeform 1339"/>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520" name="Group 1340"/>
              <p:cNvGrpSpPr>
                <a:grpSpLocks noChangeAspect="1"/>
              </p:cNvGrpSpPr>
              <p:nvPr/>
            </p:nvGrpSpPr>
            <p:grpSpPr bwMode="auto">
              <a:xfrm>
                <a:off x="4321" y="1730"/>
                <a:ext cx="198" cy="257"/>
                <a:chOff x="3658" y="2422"/>
                <a:chExt cx="264" cy="344"/>
              </a:xfrm>
            </p:grpSpPr>
            <p:sp>
              <p:nvSpPr>
                <p:cNvPr id="544" name="Freeform 1341"/>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545" name="Freeform 1342"/>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546" name="Freeform 1343"/>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547" name="Freeform 1344"/>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548" name="Freeform 1345"/>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549" name="Freeform 1346"/>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550" name="Freeform 1347"/>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551" name="Freeform 1348"/>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552" name="Freeform 1349"/>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553" name="Freeform 1350"/>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554" name="Freeform 1351"/>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555" name="Freeform 1352"/>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556" name="Freeform 1353"/>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557" name="Freeform 1354"/>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558" name="Freeform 1355"/>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559" name="Freeform 1356"/>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560" name="Freeform 1357"/>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561" name="Freeform 1358"/>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562" name="Freeform 1359"/>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563" name="Freeform 1360"/>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564" name="Freeform 1361"/>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521" name="Group 1362"/>
              <p:cNvGrpSpPr>
                <a:grpSpLocks noChangeAspect="1"/>
              </p:cNvGrpSpPr>
              <p:nvPr/>
            </p:nvGrpSpPr>
            <p:grpSpPr bwMode="auto">
              <a:xfrm>
                <a:off x="4480" y="1742"/>
                <a:ext cx="150" cy="267"/>
                <a:chOff x="3830" y="2172"/>
                <a:chExt cx="200" cy="357"/>
              </a:xfrm>
            </p:grpSpPr>
            <p:sp>
              <p:nvSpPr>
                <p:cNvPr id="522" name="Freeform 1363"/>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523" name="Freeform 1364"/>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524" name="Freeform 1365"/>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525" name="Freeform 1366"/>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526" name="Freeform 1367"/>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527" name="Freeform 1368"/>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528" name="Freeform 1369"/>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529" name="Freeform 1370"/>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530" name="Freeform 1371"/>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531" name="Freeform 1372"/>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532" name="Freeform 1373"/>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533" name="Freeform 1374"/>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534" name="Freeform 1375"/>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535" name="Freeform 1376"/>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536" name="Freeform 1377"/>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537" name="Freeform 1378"/>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538" name="Freeform 1379"/>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539" name="Freeform 1380"/>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540" name="Freeform 1381"/>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541" name="Freeform 1382"/>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542" name="Freeform 1383"/>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543" name="Freeform 1384"/>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grpSp>
      <p:grpSp>
        <p:nvGrpSpPr>
          <p:cNvPr id="1104" name="Group 1385"/>
          <p:cNvGrpSpPr>
            <a:grpSpLocks/>
          </p:cNvGrpSpPr>
          <p:nvPr/>
        </p:nvGrpSpPr>
        <p:grpSpPr bwMode="auto">
          <a:xfrm>
            <a:off x="6176963" y="2133600"/>
            <a:ext cx="609600" cy="838200"/>
            <a:chOff x="3152" y="1616"/>
            <a:chExt cx="864" cy="1219"/>
          </a:xfrm>
        </p:grpSpPr>
        <p:grpSp>
          <p:nvGrpSpPr>
            <p:cNvPr id="1105" name="Group 1386"/>
            <p:cNvGrpSpPr>
              <a:grpSpLocks noChangeAspect="1"/>
            </p:cNvGrpSpPr>
            <p:nvPr/>
          </p:nvGrpSpPr>
          <p:grpSpPr bwMode="auto">
            <a:xfrm>
              <a:off x="3288" y="2387"/>
              <a:ext cx="206" cy="286"/>
              <a:chOff x="2054" y="2093"/>
              <a:chExt cx="274" cy="383"/>
            </a:xfrm>
          </p:grpSpPr>
          <p:sp>
            <p:nvSpPr>
              <p:cNvPr id="1304" name="Freeform 1387"/>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305" name="Freeform 1388"/>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306" name="Freeform 1389"/>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307" name="Freeform 1390"/>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308" name="Freeform 1391"/>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309" name="Freeform 1392"/>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310" name="Freeform 1393"/>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311" name="Freeform 1394"/>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312" name="Freeform 1395"/>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313" name="Freeform 1396"/>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314" name="Freeform 1397"/>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315" name="Freeform 1398"/>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316" name="Freeform 1399"/>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317" name="Freeform 1400"/>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318" name="Freeform 1401"/>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319" name="Freeform 1402"/>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320" name="Freeform 1403"/>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106" name="Group 1404"/>
            <p:cNvGrpSpPr>
              <a:grpSpLocks/>
            </p:cNvGrpSpPr>
            <p:nvPr/>
          </p:nvGrpSpPr>
          <p:grpSpPr bwMode="auto">
            <a:xfrm>
              <a:off x="3334" y="1616"/>
              <a:ext cx="682" cy="1028"/>
              <a:chOff x="3107" y="1706"/>
              <a:chExt cx="682" cy="1028"/>
            </a:xfrm>
          </p:grpSpPr>
          <p:sp>
            <p:nvSpPr>
              <p:cNvPr id="1291" name="Freeform 1405"/>
              <p:cNvSpPr>
                <a:spLocks noChangeAspect="1"/>
              </p:cNvSpPr>
              <p:nvPr/>
            </p:nvSpPr>
            <p:spPr bwMode="auto">
              <a:xfrm>
                <a:off x="3243" y="1706"/>
                <a:ext cx="546" cy="958"/>
              </a:xfrm>
              <a:custGeom>
                <a:avLst/>
                <a:gdLst>
                  <a:gd name="T0" fmla="*/ 44 w 728"/>
                  <a:gd name="T1" fmla="*/ 40 h 1100"/>
                  <a:gd name="T2" fmla="*/ 52 w 728"/>
                  <a:gd name="T3" fmla="*/ 980 h 1100"/>
                  <a:gd name="T4" fmla="*/ 696 w 728"/>
                  <a:gd name="T5" fmla="*/ 1100 h 1100"/>
                  <a:gd name="T6" fmla="*/ 700 w 728"/>
                  <a:gd name="T7" fmla="*/ 52 h 1100"/>
                  <a:gd name="T8" fmla="*/ 44 w 728"/>
                  <a:gd name="T9" fmla="*/ 40 h 1100"/>
                  <a:gd name="T10" fmla="*/ 0 60000 65536"/>
                  <a:gd name="T11" fmla="*/ 0 60000 65536"/>
                  <a:gd name="T12" fmla="*/ 0 60000 65536"/>
                  <a:gd name="T13" fmla="*/ 0 60000 65536"/>
                  <a:gd name="T14" fmla="*/ 0 60000 65536"/>
                  <a:gd name="T15" fmla="*/ 0 w 728"/>
                  <a:gd name="T16" fmla="*/ 0 h 1100"/>
                  <a:gd name="T17" fmla="*/ 728 w 728"/>
                  <a:gd name="T18" fmla="*/ 1100 h 1100"/>
                </a:gdLst>
                <a:ahLst/>
                <a:cxnLst>
                  <a:cxn ang="T10">
                    <a:pos x="T0" y="T1"/>
                  </a:cxn>
                  <a:cxn ang="T11">
                    <a:pos x="T2" y="T3"/>
                  </a:cxn>
                  <a:cxn ang="T12">
                    <a:pos x="T4" y="T5"/>
                  </a:cxn>
                  <a:cxn ang="T13">
                    <a:pos x="T6" y="T7"/>
                  </a:cxn>
                  <a:cxn ang="T14">
                    <a:pos x="T8" y="T9"/>
                  </a:cxn>
                </a:cxnLst>
                <a:rect l="T15" t="T16" r="T17" b="T18"/>
                <a:pathLst>
                  <a:path w="728" h="1100">
                    <a:moveTo>
                      <a:pt x="44" y="40"/>
                    </a:moveTo>
                    <a:cubicBezTo>
                      <a:pt x="0" y="372"/>
                      <a:pt x="28" y="728"/>
                      <a:pt x="52" y="980"/>
                    </a:cubicBezTo>
                    <a:cubicBezTo>
                      <a:pt x="308" y="1044"/>
                      <a:pt x="516" y="1072"/>
                      <a:pt x="696" y="1100"/>
                    </a:cubicBezTo>
                    <a:cubicBezTo>
                      <a:pt x="708" y="872"/>
                      <a:pt x="728" y="244"/>
                      <a:pt x="700" y="52"/>
                    </a:cubicBezTo>
                    <a:cubicBezTo>
                      <a:pt x="472" y="44"/>
                      <a:pt x="280" y="0"/>
                      <a:pt x="44" y="40"/>
                    </a:cubicBezTo>
                    <a:close/>
                  </a:path>
                </a:pathLst>
              </a:custGeom>
              <a:solidFill>
                <a:srgbClr val="FFFFCC"/>
              </a:solidFill>
              <a:ln w="9525">
                <a:solidFill>
                  <a:schemeClr val="tx1"/>
                </a:solidFill>
                <a:round/>
                <a:headEnd/>
                <a:tailEnd/>
              </a:ln>
            </p:spPr>
            <p:txBody>
              <a:bodyPr/>
              <a:lstStyle/>
              <a:p>
                <a:pPr algn="l" eaLnBrk="1" hangingPunct="1"/>
                <a:endParaRPr lang="en-US"/>
              </a:p>
            </p:txBody>
          </p:sp>
          <p:grpSp>
            <p:nvGrpSpPr>
              <p:cNvPr id="1292" name="Group 1406"/>
              <p:cNvGrpSpPr>
                <a:grpSpLocks noChangeAspect="1"/>
              </p:cNvGrpSpPr>
              <p:nvPr/>
            </p:nvGrpSpPr>
            <p:grpSpPr bwMode="auto">
              <a:xfrm>
                <a:off x="3126" y="1874"/>
                <a:ext cx="659" cy="145"/>
                <a:chOff x="4320" y="2559"/>
                <a:chExt cx="878" cy="194"/>
              </a:xfrm>
            </p:grpSpPr>
            <p:sp>
              <p:nvSpPr>
                <p:cNvPr id="1301" name="Freeform 1407"/>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1302" name="Freeform 1408"/>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1303" name="Freeform 1409"/>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1293" name="Group 1410"/>
              <p:cNvGrpSpPr>
                <a:grpSpLocks noChangeAspect="1"/>
              </p:cNvGrpSpPr>
              <p:nvPr/>
            </p:nvGrpSpPr>
            <p:grpSpPr bwMode="auto">
              <a:xfrm>
                <a:off x="3126" y="2197"/>
                <a:ext cx="659" cy="145"/>
                <a:chOff x="4320" y="2559"/>
                <a:chExt cx="878" cy="194"/>
              </a:xfrm>
            </p:grpSpPr>
            <p:sp>
              <p:nvSpPr>
                <p:cNvPr id="1298" name="Freeform 1411"/>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1299" name="Freeform 1412"/>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1300" name="Freeform 1413"/>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nvGrpSpPr>
              <p:cNvPr id="1294" name="Group 1414"/>
              <p:cNvGrpSpPr>
                <a:grpSpLocks noChangeAspect="1"/>
              </p:cNvGrpSpPr>
              <p:nvPr/>
            </p:nvGrpSpPr>
            <p:grpSpPr bwMode="auto">
              <a:xfrm>
                <a:off x="3107" y="2589"/>
                <a:ext cx="658" cy="145"/>
                <a:chOff x="4320" y="2559"/>
                <a:chExt cx="878" cy="194"/>
              </a:xfrm>
            </p:grpSpPr>
            <p:sp>
              <p:nvSpPr>
                <p:cNvPr id="1295" name="Freeform 1415"/>
                <p:cNvSpPr>
                  <a:spLocks noChangeAspect="1"/>
                </p:cNvSpPr>
                <p:nvPr/>
              </p:nvSpPr>
              <p:spPr bwMode="auto">
                <a:xfrm>
                  <a:off x="4320" y="2559"/>
                  <a:ext cx="840" cy="177"/>
                </a:xfrm>
                <a:custGeom>
                  <a:avLst/>
                  <a:gdLst>
                    <a:gd name="T0" fmla="*/ 0 w 840"/>
                    <a:gd name="T1" fmla="*/ 81 h 177"/>
                    <a:gd name="T2" fmla="*/ 292 w 840"/>
                    <a:gd name="T3" fmla="*/ 1 h 177"/>
                    <a:gd name="T4" fmla="*/ 840 w 840"/>
                    <a:gd name="T5" fmla="*/ 77 h 177"/>
                    <a:gd name="T6" fmla="*/ 624 w 840"/>
                    <a:gd name="T7" fmla="*/ 177 h 177"/>
                    <a:gd name="T8" fmla="*/ 0 w 840"/>
                    <a:gd name="T9" fmla="*/ 81 h 177"/>
                    <a:gd name="T10" fmla="*/ 0 60000 65536"/>
                    <a:gd name="T11" fmla="*/ 0 60000 65536"/>
                    <a:gd name="T12" fmla="*/ 0 60000 65536"/>
                    <a:gd name="T13" fmla="*/ 0 60000 65536"/>
                    <a:gd name="T14" fmla="*/ 0 60000 65536"/>
                    <a:gd name="T15" fmla="*/ 0 w 840"/>
                    <a:gd name="T16" fmla="*/ 0 h 177"/>
                    <a:gd name="T17" fmla="*/ 840 w 840"/>
                    <a:gd name="T18" fmla="*/ 177 h 177"/>
                  </a:gdLst>
                  <a:ahLst/>
                  <a:cxnLst>
                    <a:cxn ang="T10">
                      <a:pos x="T0" y="T1"/>
                    </a:cxn>
                    <a:cxn ang="T11">
                      <a:pos x="T2" y="T3"/>
                    </a:cxn>
                    <a:cxn ang="T12">
                      <a:pos x="T4" y="T5"/>
                    </a:cxn>
                    <a:cxn ang="T13">
                      <a:pos x="T6" y="T7"/>
                    </a:cxn>
                    <a:cxn ang="T14">
                      <a:pos x="T8" y="T9"/>
                    </a:cxn>
                  </a:cxnLst>
                  <a:rect l="T15" t="T16" r="T17" b="T18"/>
                  <a:pathLst>
                    <a:path w="840" h="177">
                      <a:moveTo>
                        <a:pt x="0" y="81"/>
                      </a:moveTo>
                      <a:cubicBezTo>
                        <a:pt x="160" y="5"/>
                        <a:pt x="152" y="2"/>
                        <a:pt x="292" y="1"/>
                      </a:cubicBezTo>
                      <a:cubicBezTo>
                        <a:pt x="432" y="0"/>
                        <a:pt x="785" y="48"/>
                        <a:pt x="840" y="77"/>
                      </a:cubicBezTo>
                      <a:cubicBezTo>
                        <a:pt x="736" y="121"/>
                        <a:pt x="720" y="109"/>
                        <a:pt x="624" y="177"/>
                      </a:cubicBezTo>
                      <a:cubicBezTo>
                        <a:pt x="400" y="97"/>
                        <a:pt x="240" y="85"/>
                        <a:pt x="0" y="81"/>
                      </a:cubicBezTo>
                      <a:close/>
                    </a:path>
                  </a:pathLst>
                </a:custGeom>
                <a:solidFill>
                  <a:schemeClr val="accent1"/>
                </a:solidFill>
                <a:ln w="9525">
                  <a:noFill/>
                  <a:round/>
                  <a:headEnd/>
                  <a:tailEnd/>
                </a:ln>
              </p:spPr>
              <p:txBody>
                <a:bodyPr/>
                <a:lstStyle/>
                <a:p>
                  <a:pPr algn="l" eaLnBrk="1" hangingPunct="1"/>
                  <a:endParaRPr lang="en-US"/>
                </a:p>
              </p:txBody>
            </p:sp>
            <p:sp>
              <p:nvSpPr>
                <p:cNvPr id="1296" name="Freeform 1416"/>
                <p:cNvSpPr>
                  <a:spLocks noChangeAspect="1"/>
                </p:cNvSpPr>
                <p:nvPr/>
              </p:nvSpPr>
              <p:spPr bwMode="auto">
                <a:xfrm>
                  <a:off x="4320" y="2640"/>
                  <a:ext cx="658"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sp>
              <p:nvSpPr>
                <p:cNvPr id="1297" name="Freeform 1417"/>
                <p:cNvSpPr>
                  <a:spLocks noChangeAspect="1"/>
                </p:cNvSpPr>
                <p:nvPr/>
              </p:nvSpPr>
              <p:spPr bwMode="auto">
                <a:xfrm flipH="1">
                  <a:off x="4944" y="2640"/>
                  <a:ext cx="254" cy="113"/>
                </a:xfrm>
                <a:custGeom>
                  <a:avLst/>
                  <a:gdLst>
                    <a:gd name="T0" fmla="*/ 2 w 658"/>
                    <a:gd name="T1" fmla="*/ 8 h 113"/>
                    <a:gd name="T2" fmla="*/ 23 w 658"/>
                    <a:gd name="T3" fmla="*/ 8 h 113"/>
                    <a:gd name="T4" fmla="*/ 62 w 658"/>
                    <a:gd name="T5" fmla="*/ 10 h 113"/>
                    <a:gd name="T6" fmla="*/ 113 w 658"/>
                    <a:gd name="T7" fmla="*/ 15 h 113"/>
                    <a:gd name="T8" fmla="*/ 177 w 658"/>
                    <a:gd name="T9" fmla="*/ 19 h 113"/>
                    <a:gd name="T10" fmla="*/ 245 w 658"/>
                    <a:gd name="T11" fmla="*/ 27 h 113"/>
                    <a:gd name="T12" fmla="*/ 318 w 658"/>
                    <a:gd name="T13" fmla="*/ 36 h 113"/>
                    <a:gd name="T14" fmla="*/ 391 w 658"/>
                    <a:gd name="T15" fmla="*/ 51 h 113"/>
                    <a:gd name="T16" fmla="*/ 457 w 658"/>
                    <a:gd name="T17" fmla="*/ 66 h 113"/>
                    <a:gd name="T18" fmla="*/ 510 w 658"/>
                    <a:gd name="T19" fmla="*/ 79 h 113"/>
                    <a:gd name="T20" fmla="*/ 555 w 658"/>
                    <a:gd name="T21" fmla="*/ 89 h 113"/>
                    <a:gd name="T22" fmla="*/ 590 w 658"/>
                    <a:gd name="T23" fmla="*/ 98 h 113"/>
                    <a:gd name="T24" fmla="*/ 615 w 658"/>
                    <a:gd name="T25" fmla="*/ 104 h 113"/>
                    <a:gd name="T26" fmla="*/ 632 w 658"/>
                    <a:gd name="T27" fmla="*/ 109 h 113"/>
                    <a:gd name="T28" fmla="*/ 643 w 658"/>
                    <a:gd name="T29" fmla="*/ 111 h 113"/>
                    <a:gd name="T30" fmla="*/ 647 w 658"/>
                    <a:gd name="T31" fmla="*/ 113 h 113"/>
                    <a:gd name="T32" fmla="*/ 658 w 658"/>
                    <a:gd name="T33" fmla="*/ 87 h 113"/>
                    <a:gd name="T34" fmla="*/ 652 w 658"/>
                    <a:gd name="T35" fmla="*/ 83 h 113"/>
                    <a:gd name="T36" fmla="*/ 630 w 658"/>
                    <a:gd name="T37" fmla="*/ 77 h 113"/>
                    <a:gd name="T38" fmla="*/ 598 w 658"/>
                    <a:gd name="T39" fmla="*/ 66 h 113"/>
                    <a:gd name="T40" fmla="*/ 555 w 658"/>
                    <a:gd name="T41" fmla="*/ 55 h 113"/>
                    <a:gd name="T42" fmla="*/ 500 w 658"/>
                    <a:gd name="T43" fmla="*/ 42 h 113"/>
                    <a:gd name="T44" fmla="*/ 438 w 658"/>
                    <a:gd name="T45" fmla="*/ 30 h 113"/>
                    <a:gd name="T46" fmla="*/ 367 w 658"/>
                    <a:gd name="T47" fmla="*/ 19 h 113"/>
                    <a:gd name="T48" fmla="*/ 290 w 658"/>
                    <a:gd name="T49" fmla="*/ 10 h 113"/>
                    <a:gd name="T50" fmla="*/ 213 w 658"/>
                    <a:gd name="T51" fmla="*/ 4 h 113"/>
                    <a:gd name="T52" fmla="*/ 151 w 658"/>
                    <a:gd name="T53" fmla="*/ 0 h 113"/>
                    <a:gd name="T54" fmla="*/ 102 w 658"/>
                    <a:gd name="T55" fmla="*/ 0 h 113"/>
                    <a:gd name="T56" fmla="*/ 62 w 658"/>
                    <a:gd name="T57" fmla="*/ 0 h 113"/>
                    <a:gd name="T58" fmla="*/ 34 w 658"/>
                    <a:gd name="T59" fmla="*/ 2 h 113"/>
                    <a:gd name="T60" fmla="*/ 13 w 658"/>
                    <a:gd name="T61" fmla="*/ 4 h 113"/>
                    <a:gd name="T62" fmla="*/ 2 w 658"/>
                    <a:gd name="T63" fmla="*/ 6 h 113"/>
                    <a:gd name="T64" fmla="*/ 0 w 658"/>
                    <a:gd name="T65" fmla="*/ 8 h 1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8"/>
                    <a:gd name="T100" fmla="*/ 0 h 113"/>
                    <a:gd name="T101" fmla="*/ 658 w 658"/>
                    <a:gd name="T102" fmla="*/ 113 h 1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8" h="113">
                      <a:moveTo>
                        <a:pt x="0" y="8"/>
                      </a:moveTo>
                      <a:lnTo>
                        <a:pt x="2" y="8"/>
                      </a:lnTo>
                      <a:lnTo>
                        <a:pt x="10" y="8"/>
                      </a:lnTo>
                      <a:lnTo>
                        <a:pt x="23" y="8"/>
                      </a:lnTo>
                      <a:lnTo>
                        <a:pt x="40" y="10"/>
                      </a:lnTo>
                      <a:lnTo>
                        <a:pt x="62" y="10"/>
                      </a:lnTo>
                      <a:lnTo>
                        <a:pt x="87" y="12"/>
                      </a:lnTo>
                      <a:lnTo>
                        <a:pt x="113" y="15"/>
                      </a:lnTo>
                      <a:lnTo>
                        <a:pt x="145" y="17"/>
                      </a:lnTo>
                      <a:lnTo>
                        <a:pt x="177" y="19"/>
                      </a:lnTo>
                      <a:lnTo>
                        <a:pt x="211" y="23"/>
                      </a:lnTo>
                      <a:lnTo>
                        <a:pt x="245" y="27"/>
                      </a:lnTo>
                      <a:lnTo>
                        <a:pt x="282" y="32"/>
                      </a:lnTo>
                      <a:lnTo>
                        <a:pt x="318" y="36"/>
                      </a:lnTo>
                      <a:lnTo>
                        <a:pt x="354" y="42"/>
                      </a:lnTo>
                      <a:lnTo>
                        <a:pt x="391" y="51"/>
                      </a:lnTo>
                      <a:lnTo>
                        <a:pt x="425" y="59"/>
                      </a:lnTo>
                      <a:lnTo>
                        <a:pt x="457" y="66"/>
                      </a:lnTo>
                      <a:lnTo>
                        <a:pt x="485" y="72"/>
                      </a:lnTo>
                      <a:lnTo>
                        <a:pt x="510" y="79"/>
                      </a:lnTo>
                      <a:lnTo>
                        <a:pt x="536" y="85"/>
                      </a:lnTo>
                      <a:lnTo>
                        <a:pt x="555" y="89"/>
                      </a:lnTo>
                      <a:lnTo>
                        <a:pt x="575" y="94"/>
                      </a:lnTo>
                      <a:lnTo>
                        <a:pt x="590" y="98"/>
                      </a:lnTo>
                      <a:lnTo>
                        <a:pt x="605" y="102"/>
                      </a:lnTo>
                      <a:lnTo>
                        <a:pt x="615" y="104"/>
                      </a:lnTo>
                      <a:lnTo>
                        <a:pt x="624" y="107"/>
                      </a:lnTo>
                      <a:lnTo>
                        <a:pt x="632" y="109"/>
                      </a:lnTo>
                      <a:lnTo>
                        <a:pt x="639" y="111"/>
                      </a:lnTo>
                      <a:lnTo>
                        <a:pt x="643" y="111"/>
                      </a:lnTo>
                      <a:lnTo>
                        <a:pt x="645" y="113"/>
                      </a:lnTo>
                      <a:lnTo>
                        <a:pt x="647" y="113"/>
                      </a:lnTo>
                      <a:lnTo>
                        <a:pt x="649" y="113"/>
                      </a:lnTo>
                      <a:lnTo>
                        <a:pt x="658" y="87"/>
                      </a:lnTo>
                      <a:lnTo>
                        <a:pt x="656" y="85"/>
                      </a:lnTo>
                      <a:lnTo>
                        <a:pt x="652" y="83"/>
                      </a:lnTo>
                      <a:lnTo>
                        <a:pt x="641" y="81"/>
                      </a:lnTo>
                      <a:lnTo>
                        <a:pt x="630" y="77"/>
                      </a:lnTo>
                      <a:lnTo>
                        <a:pt x="615" y="72"/>
                      </a:lnTo>
                      <a:lnTo>
                        <a:pt x="598" y="66"/>
                      </a:lnTo>
                      <a:lnTo>
                        <a:pt x="577" y="62"/>
                      </a:lnTo>
                      <a:lnTo>
                        <a:pt x="555" y="55"/>
                      </a:lnTo>
                      <a:lnTo>
                        <a:pt x="528" y="49"/>
                      </a:lnTo>
                      <a:lnTo>
                        <a:pt x="500" y="42"/>
                      </a:lnTo>
                      <a:lnTo>
                        <a:pt x="470" y="36"/>
                      </a:lnTo>
                      <a:lnTo>
                        <a:pt x="438" y="30"/>
                      </a:lnTo>
                      <a:lnTo>
                        <a:pt x="404" y="23"/>
                      </a:lnTo>
                      <a:lnTo>
                        <a:pt x="367" y="19"/>
                      </a:lnTo>
                      <a:lnTo>
                        <a:pt x="329" y="12"/>
                      </a:lnTo>
                      <a:lnTo>
                        <a:pt x="290" y="10"/>
                      </a:lnTo>
                      <a:lnTo>
                        <a:pt x="250" y="6"/>
                      </a:lnTo>
                      <a:lnTo>
                        <a:pt x="213" y="4"/>
                      </a:lnTo>
                      <a:lnTo>
                        <a:pt x="181" y="0"/>
                      </a:lnTo>
                      <a:lnTo>
                        <a:pt x="151" y="0"/>
                      </a:lnTo>
                      <a:lnTo>
                        <a:pt x="126" y="0"/>
                      </a:lnTo>
                      <a:lnTo>
                        <a:pt x="102" y="0"/>
                      </a:lnTo>
                      <a:lnTo>
                        <a:pt x="81" y="0"/>
                      </a:lnTo>
                      <a:lnTo>
                        <a:pt x="62" y="0"/>
                      </a:lnTo>
                      <a:lnTo>
                        <a:pt x="47" y="0"/>
                      </a:lnTo>
                      <a:lnTo>
                        <a:pt x="34" y="2"/>
                      </a:lnTo>
                      <a:lnTo>
                        <a:pt x="21" y="4"/>
                      </a:lnTo>
                      <a:lnTo>
                        <a:pt x="13" y="4"/>
                      </a:lnTo>
                      <a:lnTo>
                        <a:pt x="6" y="6"/>
                      </a:lnTo>
                      <a:lnTo>
                        <a:pt x="2" y="6"/>
                      </a:lnTo>
                      <a:lnTo>
                        <a:pt x="0" y="6"/>
                      </a:lnTo>
                      <a:lnTo>
                        <a:pt x="0" y="8"/>
                      </a:lnTo>
                      <a:close/>
                    </a:path>
                  </a:pathLst>
                </a:custGeom>
                <a:solidFill>
                  <a:srgbClr val="000000"/>
                </a:solidFill>
                <a:ln w="9525">
                  <a:noFill/>
                  <a:round/>
                  <a:headEnd/>
                  <a:tailEnd/>
                </a:ln>
              </p:spPr>
              <p:txBody>
                <a:bodyPr/>
                <a:lstStyle/>
                <a:p>
                  <a:pPr algn="l" eaLnBrk="1" hangingPunct="1"/>
                  <a:endParaRPr lang="en-US"/>
                </a:p>
              </p:txBody>
            </p:sp>
          </p:grpSp>
        </p:grpSp>
        <p:grpSp>
          <p:nvGrpSpPr>
            <p:cNvPr id="1107" name="Group 1418"/>
            <p:cNvGrpSpPr>
              <a:grpSpLocks noChangeAspect="1"/>
            </p:cNvGrpSpPr>
            <p:nvPr/>
          </p:nvGrpSpPr>
          <p:grpSpPr bwMode="auto">
            <a:xfrm>
              <a:off x="3152" y="2341"/>
              <a:ext cx="206" cy="286"/>
              <a:chOff x="2054" y="2093"/>
              <a:chExt cx="274" cy="383"/>
            </a:xfrm>
          </p:grpSpPr>
          <p:sp>
            <p:nvSpPr>
              <p:cNvPr id="1274" name="Freeform 1419"/>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275" name="Freeform 1420"/>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276" name="Freeform 1421"/>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277" name="Freeform 1422"/>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278" name="Freeform 1423"/>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279" name="Freeform 1424"/>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280" name="Freeform 1425"/>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281" name="Freeform 1426"/>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282" name="Freeform 1427"/>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283" name="Freeform 1428"/>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284" name="Freeform 1429"/>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285" name="Freeform 1430"/>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286" name="Freeform 1431"/>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287" name="Freeform 1432"/>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288" name="Freeform 1433"/>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289" name="Freeform 1434"/>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290" name="Freeform 1435"/>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108" name="Group 1436"/>
            <p:cNvGrpSpPr>
              <a:grpSpLocks noChangeAspect="1"/>
            </p:cNvGrpSpPr>
            <p:nvPr/>
          </p:nvGrpSpPr>
          <p:grpSpPr bwMode="auto">
            <a:xfrm>
              <a:off x="3292" y="2375"/>
              <a:ext cx="206" cy="286"/>
              <a:chOff x="2054" y="2093"/>
              <a:chExt cx="274" cy="383"/>
            </a:xfrm>
          </p:grpSpPr>
          <p:sp>
            <p:nvSpPr>
              <p:cNvPr id="1257" name="Freeform 1437"/>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258" name="Freeform 1438"/>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259" name="Freeform 1439"/>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260" name="Freeform 1440"/>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261" name="Freeform 1441"/>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262" name="Freeform 1442"/>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263" name="Freeform 1443"/>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264" name="Freeform 1444"/>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265" name="Freeform 1445"/>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266" name="Freeform 1446"/>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267" name="Freeform 1447"/>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268" name="Freeform 1448"/>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269" name="Freeform 1449"/>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270" name="Freeform 1450"/>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271" name="Freeform 1451"/>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272" name="Freeform 1452"/>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273" name="Freeform 1453"/>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109" name="Group 1454"/>
            <p:cNvGrpSpPr>
              <a:grpSpLocks noChangeAspect="1"/>
            </p:cNvGrpSpPr>
            <p:nvPr/>
          </p:nvGrpSpPr>
          <p:grpSpPr bwMode="auto">
            <a:xfrm>
              <a:off x="3420" y="2408"/>
              <a:ext cx="206" cy="286"/>
              <a:chOff x="2054" y="2093"/>
              <a:chExt cx="274" cy="383"/>
            </a:xfrm>
          </p:grpSpPr>
          <p:sp>
            <p:nvSpPr>
              <p:cNvPr id="1240" name="Freeform 1455"/>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241" name="Freeform 1456"/>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242" name="Freeform 1457"/>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243" name="Freeform 1458"/>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244" name="Freeform 1459"/>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245" name="Freeform 1460"/>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246" name="Freeform 1461"/>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247" name="Freeform 1462"/>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248" name="Freeform 1463"/>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249" name="Freeform 1464"/>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250" name="Freeform 1465"/>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251" name="Freeform 1466"/>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252" name="Freeform 1467"/>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253" name="Freeform 1468"/>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254" name="Freeform 1469"/>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255" name="Freeform 1470"/>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256" name="Freeform 1471"/>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110" name="Group 1472"/>
            <p:cNvGrpSpPr>
              <a:grpSpLocks noChangeAspect="1"/>
            </p:cNvGrpSpPr>
            <p:nvPr/>
          </p:nvGrpSpPr>
          <p:grpSpPr bwMode="auto">
            <a:xfrm>
              <a:off x="3560" y="2432"/>
              <a:ext cx="206" cy="287"/>
              <a:chOff x="2730" y="1980"/>
              <a:chExt cx="274" cy="383"/>
            </a:xfrm>
          </p:grpSpPr>
          <p:sp>
            <p:nvSpPr>
              <p:cNvPr id="1223" name="Freeform 1473"/>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1224" name="Freeform 1474"/>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225" name="Freeform 1475"/>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1226" name="Freeform 1476"/>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227" name="Freeform 1477"/>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228" name="Freeform 1478"/>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1229" name="Freeform 1479"/>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230" name="Freeform 1480"/>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231" name="Freeform 1481"/>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232" name="Freeform 1482"/>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233" name="Freeform 1483"/>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234" name="Freeform 1484"/>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235" name="Freeform 1485"/>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236" name="Freeform 1486"/>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237" name="Freeform 1487"/>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238" name="Freeform 1488"/>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239" name="Freeform 1489"/>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111" name="Group 1490"/>
            <p:cNvGrpSpPr>
              <a:grpSpLocks noChangeAspect="1"/>
            </p:cNvGrpSpPr>
            <p:nvPr/>
          </p:nvGrpSpPr>
          <p:grpSpPr bwMode="auto">
            <a:xfrm>
              <a:off x="3696" y="2478"/>
              <a:ext cx="150" cy="267"/>
              <a:chOff x="3830" y="2172"/>
              <a:chExt cx="200" cy="357"/>
            </a:xfrm>
          </p:grpSpPr>
          <p:sp>
            <p:nvSpPr>
              <p:cNvPr id="1201" name="Freeform 1491"/>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1202" name="Freeform 1492"/>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1203" name="Freeform 1493"/>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204" name="Freeform 1494"/>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1205" name="Freeform 1495"/>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206" name="Freeform 1496"/>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1207" name="Freeform 1497"/>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1208" name="Freeform 1498"/>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1209" name="Freeform 1499"/>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210" name="Freeform 1500"/>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211" name="Freeform 1501"/>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212" name="Freeform 1502"/>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213" name="Freeform 1503"/>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214" name="Freeform 1504"/>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215" name="Freeform 1505"/>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216" name="Freeform 1506"/>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217" name="Freeform 1507"/>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218" name="Freeform 1508"/>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219" name="Freeform 1509"/>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220" name="Freeform 1510"/>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221" name="Freeform 1511"/>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222" name="Freeform 1512"/>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112" name="Group 1513"/>
            <p:cNvGrpSpPr>
              <a:grpSpLocks noChangeAspect="1"/>
            </p:cNvGrpSpPr>
            <p:nvPr/>
          </p:nvGrpSpPr>
          <p:grpSpPr bwMode="auto">
            <a:xfrm>
              <a:off x="3651" y="2568"/>
              <a:ext cx="150" cy="267"/>
              <a:chOff x="3830" y="2172"/>
              <a:chExt cx="200" cy="357"/>
            </a:xfrm>
          </p:grpSpPr>
          <p:sp>
            <p:nvSpPr>
              <p:cNvPr id="1179" name="Freeform 1514"/>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1180" name="Freeform 1515"/>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1181" name="Freeform 1516"/>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182" name="Freeform 1517"/>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1183" name="Freeform 1518"/>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184" name="Freeform 1519"/>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1185" name="Freeform 1520"/>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1186" name="Freeform 1521"/>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1187" name="Freeform 1522"/>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188" name="Freeform 1523"/>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189" name="Freeform 1524"/>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190" name="Freeform 1525"/>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191" name="Freeform 1526"/>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192" name="Freeform 1527"/>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193" name="Freeform 1528"/>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194" name="Freeform 1529"/>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195" name="Freeform 1530"/>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196" name="Freeform 1531"/>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97" name="Freeform 1532"/>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98" name="Freeform 1533"/>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199" name="Freeform 1534"/>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200" name="Freeform 1535"/>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113" name="Group 1536"/>
            <p:cNvGrpSpPr>
              <a:grpSpLocks noChangeAspect="1"/>
            </p:cNvGrpSpPr>
            <p:nvPr/>
          </p:nvGrpSpPr>
          <p:grpSpPr bwMode="auto">
            <a:xfrm>
              <a:off x="3152" y="2478"/>
              <a:ext cx="198" cy="258"/>
              <a:chOff x="3226" y="2374"/>
              <a:chExt cx="264" cy="344"/>
            </a:xfrm>
          </p:grpSpPr>
          <p:sp>
            <p:nvSpPr>
              <p:cNvPr id="1158" name="Freeform 1537"/>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159" name="Freeform 1538"/>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160" name="Freeform 1539"/>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161" name="Freeform 1540"/>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162" name="Freeform 1541"/>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163" name="Freeform 1542"/>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164" name="Freeform 1543"/>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165" name="Freeform 1544"/>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166" name="Freeform 1545"/>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167" name="Freeform 1546"/>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168" name="Freeform 1547"/>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169" name="Freeform 1548"/>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170" name="Freeform 1549"/>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171" name="Freeform 1550"/>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172" name="Freeform 1551"/>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173" name="Freeform 1552"/>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174" name="Freeform 1553"/>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175" name="Freeform 1554"/>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176" name="Freeform 1555"/>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177" name="Freeform 1556"/>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178" name="Freeform 1557"/>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1114" name="Group 1558"/>
            <p:cNvGrpSpPr>
              <a:grpSpLocks noChangeAspect="1"/>
            </p:cNvGrpSpPr>
            <p:nvPr/>
          </p:nvGrpSpPr>
          <p:grpSpPr bwMode="auto">
            <a:xfrm>
              <a:off x="3288" y="2523"/>
              <a:ext cx="198" cy="258"/>
              <a:chOff x="3226" y="2374"/>
              <a:chExt cx="264" cy="344"/>
            </a:xfrm>
          </p:grpSpPr>
          <p:sp>
            <p:nvSpPr>
              <p:cNvPr id="1137" name="Freeform 1559"/>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138" name="Freeform 1560"/>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139" name="Freeform 1561"/>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140" name="Freeform 1562"/>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141" name="Freeform 1563"/>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142" name="Freeform 1564"/>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143" name="Freeform 1565"/>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144" name="Freeform 1566"/>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145" name="Freeform 1567"/>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146" name="Freeform 1568"/>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147" name="Freeform 1569"/>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148" name="Freeform 1570"/>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149" name="Freeform 1571"/>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150" name="Freeform 1572"/>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151" name="Freeform 1573"/>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152" name="Freeform 1574"/>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153" name="Freeform 1575"/>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154" name="Freeform 1576"/>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155" name="Freeform 1577"/>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156" name="Freeform 1578"/>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157" name="Freeform 1579"/>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1115" name="Group 1580"/>
            <p:cNvGrpSpPr>
              <a:grpSpLocks noChangeAspect="1"/>
            </p:cNvGrpSpPr>
            <p:nvPr/>
          </p:nvGrpSpPr>
          <p:grpSpPr bwMode="auto">
            <a:xfrm>
              <a:off x="3470" y="2568"/>
              <a:ext cx="198" cy="257"/>
              <a:chOff x="3658" y="2422"/>
              <a:chExt cx="264" cy="344"/>
            </a:xfrm>
          </p:grpSpPr>
          <p:sp>
            <p:nvSpPr>
              <p:cNvPr id="1116" name="Freeform 1581"/>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1117" name="Freeform 1582"/>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1118" name="Freeform 1583"/>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1119" name="Freeform 1584"/>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1120" name="Freeform 1585"/>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121" name="Freeform 1586"/>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1122" name="Freeform 1587"/>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1123" name="Freeform 1588"/>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1124" name="Freeform 1589"/>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1125" name="Freeform 1590"/>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126" name="Freeform 1591"/>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127" name="Freeform 1592"/>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128" name="Freeform 1593"/>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129" name="Freeform 1594"/>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130" name="Freeform 1595"/>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131" name="Freeform 1596"/>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132" name="Freeform 1597"/>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133" name="Freeform 1598"/>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134" name="Freeform 1599"/>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135" name="Freeform 1600"/>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136" name="Freeform 1601"/>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pic>
        <p:nvPicPr>
          <p:cNvPr id="1321" name="Picture 1315" descr="IKB_DatabasePNG"/>
          <p:cNvPicPr>
            <a:picLocks noChangeAspect="1" noChangeArrowheads="1"/>
          </p:cNvPicPr>
          <p:nvPr/>
        </p:nvPicPr>
        <p:blipFill>
          <a:blip r:embed="rId2" cstate="print"/>
          <a:srcRect/>
          <a:stretch>
            <a:fillRect/>
          </a:stretch>
        </p:blipFill>
        <p:spPr bwMode="auto">
          <a:xfrm>
            <a:off x="5943600" y="4191000"/>
            <a:ext cx="2135188" cy="2209800"/>
          </a:xfrm>
          <a:prstGeom prst="rect">
            <a:avLst/>
          </a:prstGeom>
          <a:noFill/>
        </p:spPr>
      </p:pic>
      <p:pic>
        <p:nvPicPr>
          <p:cNvPr id="1322" name="Picture 1316" descr="profusion_graphic"/>
          <p:cNvPicPr>
            <a:picLocks noChangeAspect="1" noChangeArrowheads="1"/>
          </p:cNvPicPr>
          <p:nvPr/>
        </p:nvPicPr>
        <p:blipFill>
          <a:blip r:embed="rId3" cstate="print"/>
          <a:srcRect/>
          <a:stretch>
            <a:fillRect/>
          </a:stretch>
        </p:blipFill>
        <p:spPr bwMode="auto">
          <a:xfrm>
            <a:off x="6781800" y="4572000"/>
            <a:ext cx="533400" cy="533400"/>
          </a:xfrm>
          <a:prstGeom prst="rect">
            <a:avLst/>
          </a:prstGeom>
          <a:noFill/>
        </p:spPr>
      </p:pic>
      <p:grpSp>
        <p:nvGrpSpPr>
          <p:cNvPr id="1323" name="Group 1317"/>
          <p:cNvGrpSpPr>
            <a:grpSpLocks/>
          </p:cNvGrpSpPr>
          <p:nvPr/>
        </p:nvGrpSpPr>
        <p:grpSpPr bwMode="auto">
          <a:xfrm>
            <a:off x="3733800" y="1628776"/>
            <a:ext cx="2001838" cy="1724025"/>
            <a:chOff x="1392" y="1026"/>
            <a:chExt cx="1261" cy="1086"/>
          </a:xfrm>
        </p:grpSpPr>
        <p:grpSp>
          <p:nvGrpSpPr>
            <p:cNvPr id="1324" name="Group 494"/>
            <p:cNvGrpSpPr>
              <a:grpSpLocks noChangeAspect="1"/>
            </p:cNvGrpSpPr>
            <p:nvPr/>
          </p:nvGrpSpPr>
          <p:grpSpPr bwMode="auto">
            <a:xfrm>
              <a:off x="1920" y="1440"/>
              <a:ext cx="592" cy="432"/>
              <a:chOff x="2187" y="1178"/>
              <a:chExt cx="1464" cy="1068"/>
            </a:xfrm>
          </p:grpSpPr>
          <p:grpSp>
            <p:nvGrpSpPr>
              <p:cNvPr id="1327" name="Group 495"/>
              <p:cNvGrpSpPr>
                <a:grpSpLocks noChangeAspect="1"/>
              </p:cNvGrpSpPr>
              <p:nvPr/>
            </p:nvGrpSpPr>
            <p:grpSpPr bwMode="auto">
              <a:xfrm>
                <a:off x="2571" y="1178"/>
                <a:ext cx="200" cy="741"/>
                <a:chOff x="3590" y="1980"/>
                <a:chExt cx="200" cy="357"/>
              </a:xfrm>
            </p:grpSpPr>
            <p:sp>
              <p:nvSpPr>
                <p:cNvPr id="1587" name="Freeform 496"/>
                <p:cNvSpPr>
                  <a:spLocks noChangeAspect="1"/>
                </p:cNvSpPr>
                <p:nvPr/>
              </p:nvSpPr>
              <p:spPr bwMode="auto">
                <a:xfrm>
                  <a:off x="360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1588" name="Freeform 497"/>
                <p:cNvSpPr>
                  <a:spLocks noChangeAspect="1"/>
                </p:cNvSpPr>
                <p:nvPr/>
              </p:nvSpPr>
              <p:spPr bwMode="auto">
                <a:xfrm>
                  <a:off x="360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008000"/>
                </a:solidFill>
                <a:ln w="9525">
                  <a:noFill/>
                  <a:round/>
                  <a:headEnd/>
                  <a:tailEnd/>
                </a:ln>
              </p:spPr>
              <p:txBody>
                <a:bodyPr/>
                <a:lstStyle/>
                <a:p>
                  <a:pPr algn="l" eaLnBrk="1" hangingPunct="1"/>
                  <a:endParaRPr lang="en-US"/>
                </a:p>
              </p:txBody>
            </p:sp>
            <p:sp>
              <p:nvSpPr>
                <p:cNvPr id="1589" name="Freeform 498"/>
                <p:cNvSpPr>
                  <a:spLocks noChangeAspect="1"/>
                </p:cNvSpPr>
                <p:nvPr/>
              </p:nvSpPr>
              <p:spPr bwMode="auto">
                <a:xfrm>
                  <a:off x="362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590" name="Freeform 499"/>
                <p:cNvSpPr>
                  <a:spLocks noChangeAspect="1"/>
                </p:cNvSpPr>
                <p:nvPr/>
              </p:nvSpPr>
              <p:spPr bwMode="auto">
                <a:xfrm>
                  <a:off x="363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1591" name="Freeform 500"/>
                <p:cNvSpPr>
                  <a:spLocks noChangeAspect="1"/>
                </p:cNvSpPr>
                <p:nvPr/>
              </p:nvSpPr>
              <p:spPr bwMode="auto">
                <a:xfrm>
                  <a:off x="364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592" name="Freeform 501"/>
                <p:cNvSpPr>
                  <a:spLocks noChangeAspect="1"/>
                </p:cNvSpPr>
                <p:nvPr/>
              </p:nvSpPr>
              <p:spPr bwMode="auto">
                <a:xfrm>
                  <a:off x="364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CCFFCC"/>
                </a:solidFill>
                <a:ln w="9525">
                  <a:noFill/>
                  <a:round/>
                  <a:headEnd/>
                  <a:tailEnd/>
                </a:ln>
              </p:spPr>
              <p:txBody>
                <a:bodyPr/>
                <a:lstStyle/>
                <a:p>
                  <a:pPr algn="l" eaLnBrk="1" hangingPunct="1"/>
                  <a:endParaRPr lang="en-US"/>
                </a:p>
              </p:txBody>
            </p:sp>
            <p:sp>
              <p:nvSpPr>
                <p:cNvPr id="1593" name="Freeform 502"/>
                <p:cNvSpPr>
                  <a:spLocks noChangeAspect="1"/>
                </p:cNvSpPr>
                <p:nvPr/>
              </p:nvSpPr>
              <p:spPr bwMode="auto">
                <a:xfrm>
                  <a:off x="365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1594" name="Freeform 503"/>
                <p:cNvSpPr>
                  <a:spLocks noChangeAspect="1"/>
                </p:cNvSpPr>
                <p:nvPr/>
              </p:nvSpPr>
              <p:spPr bwMode="auto">
                <a:xfrm>
                  <a:off x="361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CCFFCC"/>
                </a:solidFill>
                <a:ln w="9525">
                  <a:noFill/>
                  <a:round/>
                  <a:headEnd/>
                  <a:tailEnd/>
                </a:ln>
              </p:spPr>
              <p:txBody>
                <a:bodyPr/>
                <a:lstStyle/>
                <a:p>
                  <a:pPr algn="l" eaLnBrk="1" hangingPunct="1"/>
                  <a:endParaRPr lang="en-US"/>
                </a:p>
              </p:txBody>
            </p:sp>
            <p:sp>
              <p:nvSpPr>
                <p:cNvPr id="1595" name="Freeform 504"/>
                <p:cNvSpPr>
                  <a:spLocks noChangeAspect="1"/>
                </p:cNvSpPr>
                <p:nvPr/>
              </p:nvSpPr>
              <p:spPr bwMode="auto">
                <a:xfrm>
                  <a:off x="363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596" name="Freeform 505"/>
                <p:cNvSpPr>
                  <a:spLocks noChangeAspect="1"/>
                </p:cNvSpPr>
                <p:nvPr/>
              </p:nvSpPr>
              <p:spPr bwMode="auto">
                <a:xfrm>
                  <a:off x="370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597" name="Freeform 506"/>
                <p:cNvSpPr>
                  <a:spLocks noChangeAspect="1"/>
                </p:cNvSpPr>
                <p:nvPr/>
              </p:nvSpPr>
              <p:spPr bwMode="auto">
                <a:xfrm>
                  <a:off x="363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598" name="Freeform 507"/>
                <p:cNvSpPr>
                  <a:spLocks noChangeAspect="1"/>
                </p:cNvSpPr>
                <p:nvPr/>
              </p:nvSpPr>
              <p:spPr bwMode="auto">
                <a:xfrm>
                  <a:off x="359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599" name="Freeform 508"/>
                <p:cNvSpPr>
                  <a:spLocks noChangeAspect="1"/>
                </p:cNvSpPr>
                <p:nvPr/>
              </p:nvSpPr>
              <p:spPr bwMode="auto">
                <a:xfrm>
                  <a:off x="370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600" name="Freeform 509"/>
                <p:cNvSpPr>
                  <a:spLocks noChangeAspect="1"/>
                </p:cNvSpPr>
                <p:nvPr/>
              </p:nvSpPr>
              <p:spPr bwMode="auto">
                <a:xfrm>
                  <a:off x="362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601" name="Freeform 510"/>
                <p:cNvSpPr>
                  <a:spLocks noChangeAspect="1"/>
                </p:cNvSpPr>
                <p:nvPr/>
              </p:nvSpPr>
              <p:spPr bwMode="auto">
                <a:xfrm>
                  <a:off x="361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602" name="Freeform 511"/>
                <p:cNvSpPr>
                  <a:spLocks noChangeAspect="1"/>
                </p:cNvSpPr>
                <p:nvPr/>
              </p:nvSpPr>
              <p:spPr bwMode="auto">
                <a:xfrm>
                  <a:off x="362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603" name="Freeform 512"/>
                <p:cNvSpPr>
                  <a:spLocks noChangeAspect="1"/>
                </p:cNvSpPr>
                <p:nvPr/>
              </p:nvSpPr>
              <p:spPr bwMode="auto">
                <a:xfrm>
                  <a:off x="367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604" name="Freeform 513"/>
                <p:cNvSpPr>
                  <a:spLocks noChangeAspect="1"/>
                </p:cNvSpPr>
                <p:nvPr/>
              </p:nvSpPr>
              <p:spPr bwMode="auto">
                <a:xfrm>
                  <a:off x="373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605" name="Freeform 514"/>
                <p:cNvSpPr>
                  <a:spLocks noChangeAspect="1"/>
                </p:cNvSpPr>
                <p:nvPr/>
              </p:nvSpPr>
              <p:spPr bwMode="auto">
                <a:xfrm>
                  <a:off x="364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606" name="Freeform 515"/>
                <p:cNvSpPr>
                  <a:spLocks noChangeAspect="1"/>
                </p:cNvSpPr>
                <p:nvPr/>
              </p:nvSpPr>
              <p:spPr bwMode="auto">
                <a:xfrm>
                  <a:off x="371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607" name="Freeform 516"/>
                <p:cNvSpPr>
                  <a:spLocks noChangeAspect="1"/>
                </p:cNvSpPr>
                <p:nvPr/>
              </p:nvSpPr>
              <p:spPr bwMode="auto">
                <a:xfrm>
                  <a:off x="364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608" name="Freeform 517"/>
                <p:cNvSpPr>
                  <a:spLocks noChangeAspect="1"/>
                </p:cNvSpPr>
                <p:nvPr/>
              </p:nvSpPr>
              <p:spPr bwMode="auto">
                <a:xfrm>
                  <a:off x="365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328" name="Group 518"/>
              <p:cNvGrpSpPr>
                <a:grpSpLocks noChangeAspect="1"/>
              </p:cNvGrpSpPr>
              <p:nvPr/>
            </p:nvGrpSpPr>
            <p:grpSpPr bwMode="auto">
              <a:xfrm>
                <a:off x="2427" y="1322"/>
                <a:ext cx="200" cy="597"/>
                <a:chOff x="3110" y="1980"/>
                <a:chExt cx="200" cy="357"/>
              </a:xfrm>
            </p:grpSpPr>
            <p:sp>
              <p:nvSpPr>
                <p:cNvPr id="1565" name="Freeform 519"/>
                <p:cNvSpPr>
                  <a:spLocks noChangeAspect="1"/>
                </p:cNvSpPr>
                <p:nvPr/>
              </p:nvSpPr>
              <p:spPr bwMode="auto">
                <a:xfrm>
                  <a:off x="312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FFCC99"/>
                </a:solidFill>
                <a:ln w="9525">
                  <a:noFill/>
                  <a:round/>
                  <a:headEnd/>
                  <a:tailEnd/>
                </a:ln>
              </p:spPr>
              <p:txBody>
                <a:bodyPr/>
                <a:lstStyle/>
                <a:p>
                  <a:pPr algn="l" eaLnBrk="1" hangingPunct="1"/>
                  <a:endParaRPr lang="en-US"/>
                </a:p>
              </p:txBody>
            </p:sp>
            <p:sp>
              <p:nvSpPr>
                <p:cNvPr id="1566" name="Freeform 520"/>
                <p:cNvSpPr>
                  <a:spLocks noChangeAspect="1"/>
                </p:cNvSpPr>
                <p:nvPr/>
              </p:nvSpPr>
              <p:spPr bwMode="auto">
                <a:xfrm>
                  <a:off x="312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800000"/>
                </a:solidFill>
                <a:ln w="9525">
                  <a:noFill/>
                  <a:round/>
                  <a:headEnd/>
                  <a:tailEnd/>
                </a:ln>
              </p:spPr>
              <p:txBody>
                <a:bodyPr/>
                <a:lstStyle/>
                <a:p>
                  <a:pPr algn="l" eaLnBrk="1" hangingPunct="1"/>
                  <a:endParaRPr lang="en-US"/>
                </a:p>
              </p:txBody>
            </p:sp>
            <p:sp>
              <p:nvSpPr>
                <p:cNvPr id="1567" name="Freeform 521"/>
                <p:cNvSpPr>
                  <a:spLocks noChangeAspect="1"/>
                </p:cNvSpPr>
                <p:nvPr/>
              </p:nvSpPr>
              <p:spPr bwMode="auto">
                <a:xfrm>
                  <a:off x="314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568" name="Freeform 522"/>
                <p:cNvSpPr>
                  <a:spLocks noChangeAspect="1"/>
                </p:cNvSpPr>
                <p:nvPr/>
              </p:nvSpPr>
              <p:spPr bwMode="auto">
                <a:xfrm>
                  <a:off x="315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1569" name="Freeform 523"/>
                <p:cNvSpPr>
                  <a:spLocks noChangeAspect="1"/>
                </p:cNvSpPr>
                <p:nvPr/>
              </p:nvSpPr>
              <p:spPr bwMode="auto">
                <a:xfrm>
                  <a:off x="316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570" name="Freeform 524"/>
                <p:cNvSpPr>
                  <a:spLocks noChangeAspect="1"/>
                </p:cNvSpPr>
                <p:nvPr/>
              </p:nvSpPr>
              <p:spPr bwMode="auto">
                <a:xfrm>
                  <a:off x="316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FFCC99"/>
                </a:solidFill>
                <a:ln w="9525">
                  <a:noFill/>
                  <a:round/>
                  <a:headEnd/>
                  <a:tailEnd/>
                </a:ln>
              </p:spPr>
              <p:txBody>
                <a:bodyPr/>
                <a:lstStyle/>
                <a:p>
                  <a:pPr algn="l" eaLnBrk="1" hangingPunct="1"/>
                  <a:endParaRPr lang="en-US"/>
                </a:p>
              </p:txBody>
            </p:sp>
            <p:sp>
              <p:nvSpPr>
                <p:cNvPr id="1571" name="Freeform 525"/>
                <p:cNvSpPr>
                  <a:spLocks noChangeAspect="1"/>
                </p:cNvSpPr>
                <p:nvPr/>
              </p:nvSpPr>
              <p:spPr bwMode="auto">
                <a:xfrm>
                  <a:off x="317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1572" name="Freeform 526"/>
                <p:cNvSpPr>
                  <a:spLocks noChangeAspect="1"/>
                </p:cNvSpPr>
                <p:nvPr/>
              </p:nvSpPr>
              <p:spPr bwMode="auto">
                <a:xfrm>
                  <a:off x="313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FCC99"/>
                </a:solidFill>
                <a:ln w="9525">
                  <a:noFill/>
                  <a:round/>
                  <a:headEnd/>
                  <a:tailEnd/>
                </a:ln>
              </p:spPr>
              <p:txBody>
                <a:bodyPr/>
                <a:lstStyle/>
                <a:p>
                  <a:pPr algn="l" eaLnBrk="1" hangingPunct="1"/>
                  <a:endParaRPr lang="en-US"/>
                </a:p>
              </p:txBody>
            </p:sp>
            <p:sp>
              <p:nvSpPr>
                <p:cNvPr id="1573" name="Freeform 527"/>
                <p:cNvSpPr>
                  <a:spLocks noChangeAspect="1"/>
                </p:cNvSpPr>
                <p:nvPr/>
              </p:nvSpPr>
              <p:spPr bwMode="auto">
                <a:xfrm>
                  <a:off x="315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574" name="Freeform 528"/>
                <p:cNvSpPr>
                  <a:spLocks noChangeAspect="1"/>
                </p:cNvSpPr>
                <p:nvPr/>
              </p:nvSpPr>
              <p:spPr bwMode="auto">
                <a:xfrm>
                  <a:off x="322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575" name="Freeform 529"/>
                <p:cNvSpPr>
                  <a:spLocks noChangeAspect="1"/>
                </p:cNvSpPr>
                <p:nvPr/>
              </p:nvSpPr>
              <p:spPr bwMode="auto">
                <a:xfrm>
                  <a:off x="315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576" name="Freeform 530"/>
                <p:cNvSpPr>
                  <a:spLocks noChangeAspect="1"/>
                </p:cNvSpPr>
                <p:nvPr/>
              </p:nvSpPr>
              <p:spPr bwMode="auto">
                <a:xfrm>
                  <a:off x="311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577" name="Freeform 531"/>
                <p:cNvSpPr>
                  <a:spLocks noChangeAspect="1"/>
                </p:cNvSpPr>
                <p:nvPr/>
              </p:nvSpPr>
              <p:spPr bwMode="auto">
                <a:xfrm>
                  <a:off x="322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578" name="Freeform 532"/>
                <p:cNvSpPr>
                  <a:spLocks noChangeAspect="1"/>
                </p:cNvSpPr>
                <p:nvPr/>
              </p:nvSpPr>
              <p:spPr bwMode="auto">
                <a:xfrm>
                  <a:off x="314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579" name="Freeform 533"/>
                <p:cNvSpPr>
                  <a:spLocks noChangeAspect="1"/>
                </p:cNvSpPr>
                <p:nvPr/>
              </p:nvSpPr>
              <p:spPr bwMode="auto">
                <a:xfrm>
                  <a:off x="313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580" name="Freeform 534"/>
                <p:cNvSpPr>
                  <a:spLocks noChangeAspect="1"/>
                </p:cNvSpPr>
                <p:nvPr/>
              </p:nvSpPr>
              <p:spPr bwMode="auto">
                <a:xfrm>
                  <a:off x="314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581" name="Freeform 535"/>
                <p:cNvSpPr>
                  <a:spLocks noChangeAspect="1"/>
                </p:cNvSpPr>
                <p:nvPr/>
              </p:nvSpPr>
              <p:spPr bwMode="auto">
                <a:xfrm>
                  <a:off x="319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582" name="Freeform 536"/>
                <p:cNvSpPr>
                  <a:spLocks noChangeAspect="1"/>
                </p:cNvSpPr>
                <p:nvPr/>
              </p:nvSpPr>
              <p:spPr bwMode="auto">
                <a:xfrm>
                  <a:off x="325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83" name="Freeform 537"/>
                <p:cNvSpPr>
                  <a:spLocks noChangeAspect="1"/>
                </p:cNvSpPr>
                <p:nvPr/>
              </p:nvSpPr>
              <p:spPr bwMode="auto">
                <a:xfrm>
                  <a:off x="316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84" name="Freeform 538"/>
                <p:cNvSpPr>
                  <a:spLocks noChangeAspect="1"/>
                </p:cNvSpPr>
                <p:nvPr/>
              </p:nvSpPr>
              <p:spPr bwMode="auto">
                <a:xfrm>
                  <a:off x="323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85" name="Freeform 539"/>
                <p:cNvSpPr>
                  <a:spLocks noChangeAspect="1"/>
                </p:cNvSpPr>
                <p:nvPr/>
              </p:nvSpPr>
              <p:spPr bwMode="auto">
                <a:xfrm>
                  <a:off x="316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586" name="Freeform 540"/>
                <p:cNvSpPr>
                  <a:spLocks noChangeAspect="1"/>
                </p:cNvSpPr>
                <p:nvPr/>
              </p:nvSpPr>
              <p:spPr bwMode="auto">
                <a:xfrm>
                  <a:off x="317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329" name="Group 541"/>
              <p:cNvGrpSpPr>
                <a:grpSpLocks noChangeAspect="1"/>
              </p:cNvGrpSpPr>
              <p:nvPr/>
            </p:nvGrpSpPr>
            <p:grpSpPr bwMode="auto">
              <a:xfrm>
                <a:off x="2763" y="1370"/>
                <a:ext cx="274" cy="383"/>
                <a:chOff x="2054" y="2093"/>
                <a:chExt cx="274" cy="383"/>
              </a:xfrm>
            </p:grpSpPr>
            <p:sp>
              <p:nvSpPr>
                <p:cNvPr id="1548" name="Freeform 542"/>
                <p:cNvSpPr>
                  <a:spLocks noChangeAspect="1"/>
                </p:cNvSpPr>
                <p:nvPr/>
              </p:nvSpPr>
              <p:spPr bwMode="auto">
                <a:xfrm>
                  <a:off x="2064" y="2112"/>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3366FF"/>
                </a:solidFill>
                <a:ln w="9525">
                  <a:noFill/>
                  <a:round/>
                  <a:headEnd/>
                  <a:tailEnd/>
                </a:ln>
              </p:spPr>
              <p:txBody>
                <a:bodyPr/>
                <a:lstStyle/>
                <a:p>
                  <a:pPr algn="l" eaLnBrk="1" hangingPunct="1"/>
                  <a:endParaRPr lang="en-US"/>
                </a:p>
              </p:txBody>
            </p:sp>
            <p:sp>
              <p:nvSpPr>
                <p:cNvPr id="1549" name="Freeform 543"/>
                <p:cNvSpPr>
                  <a:spLocks noChangeAspect="1"/>
                </p:cNvSpPr>
                <p:nvPr/>
              </p:nvSpPr>
              <p:spPr bwMode="auto">
                <a:xfrm>
                  <a:off x="2093" y="2146"/>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550" name="Freeform 544"/>
                <p:cNvSpPr>
                  <a:spLocks noChangeAspect="1"/>
                </p:cNvSpPr>
                <p:nvPr/>
              </p:nvSpPr>
              <p:spPr bwMode="auto">
                <a:xfrm>
                  <a:off x="2218" y="2123"/>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000080"/>
                </a:solidFill>
                <a:ln w="9525">
                  <a:noFill/>
                  <a:round/>
                  <a:headEnd/>
                  <a:tailEnd/>
                </a:ln>
              </p:spPr>
              <p:txBody>
                <a:bodyPr/>
                <a:lstStyle/>
                <a:p>
                  <a:pPr algn="l" eaLnBrk="1" hangingPunct="1"/>
                  <a:endParaRPr lang="en-US"/>
                </a:p>
              </p:txBody>
            </p:sp>
            <p:sp>
              <p:nvSpPr>
                <p:cNvPr id="1551" name="Freeform 545"/>
                <p:cNvSpPr>
                  <a:spLocks noChangeAspect="1"/>
                </p:cNvSpPr>
                <p:nvPr/>
              </p:nvSpPr>
              <p:spPr bwMode="auto">
                <a:xfrm>
                  <a:off x="2241" y="2155"/>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552" name="Freeform 546"/>
                <p:cNvSpPr>
                  <a:spLocks noChangeAspect="1"/>
                </p:cNvSpPr>
                <p:nvPr/>
              </p:nvSpPr>
              <p:spPr bwMode="auto">
                <a:xfrm>
                  <a:off x="2065" y="2096"/>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553" name="Freeform 547"/>
                <p:cNvSpPr>
                  <a:spLocks noChangeAspect="1"/>
                </p:cNvSpPr>
                <p:nvPr/>
              </p:nvSpPr>
              <p:spPr bwMode="auto">
                <a:xfrm>
                  <a:off x="2123" y="2195"/>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800000"/>
                </a:solidFill>
                <a:ln w="9525">
                  <a:noFill/>
                  <a:round/>
                  <a:headEnd/>
                  <a:tailEnd/>
                </a:ln>
              </p:spPr>
              <p:txBody>
                <a:bodyPr/>
                <a:lstStyle/>
                <a:p>
                  <a:pPr algn="l" eaLnBrk="1" hangingPunct="1"/>
                  <a:endParaRPr lang="en-US"/>
                </a:p>
              </p:txBody>
            </p:sp>
            <p:sp>
              <p:nvSpPr>
                <p:cNvPr id="1554" name="Freeform 548"/>
                <p:cNvSpPr>
                  <a:spLocks noChangeAspect="1"/>
                </p:cNvSpPr>
                <p:nvPr/>
              </p:nvSpPr>
              <p:spPr bwMode="auto">
                <a:xfrm>
                  <a:off x="2055" y="2110"/>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555" name="Freeform 549"/>
                <p:cNvSpPr>
                  <a:spLocks noChangeAspect="1"/>
                </p:cNvSpPr>
                <p:nvPr/>
              </p:nvSpPr>
              <p:spPr bwMode="auto">
                <a:xfrm>
                  <a:off x="2057" y="2116"/>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556" name="Freeform 550"/>
                <p:cNvSpPr>
                  <a:spLocks noChangeAspect="1"/>
                </p:cNvSpPr>
                <p:nvPr/>
              </p:nvSpPr>
              <p:spPr bwMode="auto">
                <a:xfrm>
                  <a:off x="2207" y="2151"/>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557" name="Freeform 551"/>
                <p:cNvSpPr>
                  <a:spLocks noChangeAspect="1"/>
                </p:cNvSpPr>
                <p:nvPr/>
              </p:nvSpPr>
              <p:spPr bwMode="auto">
                <a:xfrm>
                  <a:off x="2220" y="2102"/>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558" name="Freeform 552"/>
                <p:cNvSpPr>
                  <a:spLocks noChangeAspect="1"/>
                </p:cNvSpPr>
                <p:nvPr/>
              </p:nvSpPr>
              <p:spPr bwMode="auto">
                <a:xfrm>
                  <a:off x="2302" y="2107"/>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559" name="Freeform 553"/>
                <p:cNvSpPr>
                  <a:spLocks noChangeAspect="1"/>
                </p:cNvSpPr>
                <p:nvPr/>
              </p:nvSpPr>
              <p:spPr bwMode="auto">
                <a:xfrm>
                  <a:off x="2054" y="2093"/>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560" name="Freeform 554"/>
                <p:cNvSpPr>
                  <a:spLocks noChangeAspect="1"/>
                </p:cNvSpPr>
                <p:nvPr/>
              </p:nvSpPr>
              <p:spPr bwMode="auto">
                <a:xfrm>
                  <a:off x="2133" y="2096"/>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561" name="Freeform 555"/>
                <p:cNvSpPr>
                  <a:spLocks noChangeAspect="1"/>
                </p:cNvSpPr>
                <p:nvPr/>
              </p:nvSpPr>
              <p:spPr bwMode="auto">
                <a:xfrm>
                  <a:off x="2161" y="2454"/>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562" name="Freeform 556"/>
                <p:cNvSpPr>
                  <a:spLocks noChangeAspect="1"/>
                </p:cNvSpPr>
                <p:nvPr/>
              </p:nvSpPr>
              <p:spPr bwMode="auto">
                <a:xfrm>
                  <a:off x="2194" y="2111"/>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563" name="Freeform 557"/>
                <p:cNvSpPr>
                  <a:spLocks noChangeAspect="1"/>
                </p:cNvSpPr>
                <p:nvPr/>
              </p:nvSpPr>
              <p:spPr bwMode="auto">
                <a:xfrm>
                  <a:off x="2079" y="2102"/>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564" name="Freeform 558"/>
                <p:cNvSpPr>
                  <a:spLocks noChangeAspect="1"/>
                </p:cNvSpPr>
                <p:nvPr/>
              </p:nvSpPr>
              <p:spPr bwMode="auto">
                <a:xfrm>
                  <a:off x="2144" y="2115"/>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330" name="Group 559"/>
              <p:cNvGrpSpPr>
                <a:grpSpLocks noChangeAspect="1"/>
              </p:cNvGrpSpPr>
              <p:nvPr/>
            </p:nvGrpSpPr>
            <p:grpSpPr bwMode="auto">
              <a:xfrm>
                <a:off x="2907" y="1562"/>
                <a:ext cx="200" cy="357"/>
                <a:chOff x="3590" y="1980"/>
                <a:chExt cx="200" cy="357"/>
              </a:xfrm>
            </p:grpSpPr>
            <p:sp>
              <p:nvSpPr>
                <p:cNvPr id="1526" name="Freeform 560"/>
                <p:cNvSpPr>
                  <a:spLocks noChangeAspect="1"/>
                </p:cNvSpPr>
                <p:nvPr/>
              </p:nvSpPr>
              <p:spPr bwMode="auto">
                <a:xfrm>
                  <a:off x="3600" y="2027"/>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1527" name="Freeform 561"/>
                <p:cNvSpPr>
                  <a:spLocks noChangeAspect="1"/>
                </p:cNvSpPr>
                <p:nvPr/>
              </p:nvSpPr>
              <p:spPr bwMode="auto">
                <a:xfrm>
                  <a:off x="3600" y="2064"/>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008000"/>
                </a:solidFill>
                <a:ln w="9525">
                  <a:noFill/>
                  <a:round/>
                  <a:headEnd/>
                  <a:tailEnd/>
                </a:ln>
              </p:spPr>
              <p:txBody>
                <a:bodyPr/>
                <a:lstStyle/>
                <a:p>
                  <a:pPr algn="l" eaLnBrk="1" hangingPunct="1"/>
                  <a:endParaRPr lang="en-US"/>
                </a:p>
              </p:txBody>
            </p:sp>
            <p:sp>
              <p:nvSpPr>
                <p:cNvPr id="1528" name="Freeform 562"/>
                <p:cNvSpPr>
                  <a:spLocks noChangeAspect="1"/>
                </p:cNvSpPr>
                <p:nvPr/>
              </p:nvSpPr>
              <p:spPr bwMode="auto">
                <a:xfrm>
                  <a:off x="3623" y="2123"/>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529" name="Freeform 563"/>
                <p:cNvSpPr>
                  <a:spLocks noChangeAspect="1"/>
                </p:cNvSpPr>
                <p:nvPr/>
              </p:nvSpPr>
              <p:spPr bwMode="auto">
                <a:xfrm>
                  <a:off x="3638" y="1982"/>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rgbClr val="FF0000"/>
                </a:solidFill>
                <a:ln w="9525">
                  <a:noFill/>
                  <a:round/>
                  <a:headEnd/>
                  <a:tailEnd/>
                </a:ln>
              </p:spPr>
              <p:txBody>
                <a:bodyPr/>
                <a:lstStyle/>
                <a:p>
                  <a:pPr algn="l" eaLnBrk="1" hangingPunct="1"/>
                  <a:endParaRPr lang="en-US"/>
                </a:p>
              </p:txBody>
            </p:sp>
            <p:sp>
              <p:nvSpPr>
                <p:cNvPr id="1530" name="Freeform 564"/>
                <p:cNvSpPr>
                  <a:spLocks noChangeAspect="1"/>
                </p:cNvSpPr>
                <p:nvPr/>
              </p:nvSpPr>
              <p:spPr bwMode="auto">
                <a:xfrm>
                  <a:off x="3645" y="2135"/>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531" name="Freeform 565"/>
                <p:cNvSpPr>
                  <a:spLocks noChangeAspect="1"/>
                </p:cNvSpPr>
                <p:nvPr/>
              </p:nvSpPr>
              <p:spPr bwMode="auto">
                <a:xfrm>
                  <a:off x="3648" y="2026"/>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CCFFCC"/>
                </a:solidFill>
                <a:ln w="9525">
                  <a:noFill/>
                  <a:round/>
                  <a:headEnd/>
                  <a:tailEnd/>
                </a:ln>
              </p:spPr>
              <p:txBody>
                <a:bodyPr/>
                <a:lstStyle/>
                <a:p>
                  <a:pPr algn="l" eaLnBrk="1" hangingPunct="1"/>
                  <a:endParaRPr lang="en-US"/>
                </a:p>
              </p:txBody>
            </p:sp>
            <p:sp>
              <p:nvSpPr>
                <p:cNvPr id="1532" name="Freeform 566"/>
                <p:cNvSpPr>
                  <a:spLocks noChangeAspect="1"/>
                </p:cNvSpPr>
                <p:nvPr/>
              </p:nvSpPr>
              <p:spPr bwMode="auto">
                <a:xfrm>
                  <a:off x="3657" y="1988"/>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800000"/>
                </a:solidFill>
                <a:ln w="9525">
                  <a:noFill/>
                  <a:round/>
                  <a:headEnd/>
                  <a:tailEnd/>
                </a:ln>
              </p:spPr>
              <p:txBody>
                <a:bodyPr/>
                <a:lstStyle/>
                <a:p>
                  <a:pPr algn="l" eaLnBrk="1" hangingPunct="1"/>
                  <a:endParaRPr lang="en-US"/>
                </a:p>
              </p:txBody>
            </p:sp>
            <p:sp>
              <p:nvSpPr>
                <p:cNvPr id="1533" name="Freeform 567"/>
                <p:cNvSpPr>
                  <a:spLocks noChangeAspect="1"/>
                </p:cNvSpPr>
                <p:nvPr/>
              </p:nvSpPr>
              <p:spPr bwMode="auto">
                <a:xfrm>
                  <a:off x="3619" y="2156"/>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CCFFCC"/>
                </a:solidFill>
                <a:ln w="9525">
                  <a:noFill/>
                  <a:round/>
                  <a:headEnd/>
                  <a:tailEnd/>
                </a:ln>
              </p:spPr>
              <p:txBody>
                <a:bodyPr/>
                <a:lstStyle/>
                <a:p>
                  <a:pPr algn="l" eaLnBrk="1" hangingPunct="1"/>
                  <a:endParaRPr lang="en-US"/>
                </a:p>
              </p:txBody>
            </p:sp>
            <p:sp>
              <p:nvSpPr>
                <p:cNvPr id="1534" name="Freeform 568"/>
                <p:cNvSpPr>
                  <a:spLocks noChangeAspect="1"/>
                </p:cNvSpPr>
                <p:nvPr/>
              </p:nvSpPr>
              <p:spPr bwMode="auto">
                <a:xfrm>
                  <a:off x="3638" y="1980"/>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535" name="Freeform 569"/>
                <p:cNvSpPr>
                  <a:spLocks noChangeAspect="1"/>
                </p:cNvSpPr>
                <p:nvPr/>
              </p:nvSpPr>
              <p:spPr bwMode="auto">
                <a:xfrm>
                  <a:off x="3705" y="1988"/>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536" name="Freeform 570"/>
                <p:cNvSpPr>
                  <a:spLocks noChangeAspect="1"/>
                </p:cNvSpPr>
                <p:nvPr/>
              </p:nvSpPr>
              <p:spPr bwMode="auto">
                <a:xfrm>
                  <a:off x="3630" y="1997"/>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537" name="Freeform 571"/>
                <p:cNvSpPr>
                  <a:spLocks noChangeAspect="1"/>
                </p:cNvSpPr>
                <p:nvPr/>
              </p:nvSpPr>
              <p:spPr bwMode="auto">
                <a:xfrm>
                  <a:off x="3590" y="2033"/>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538" name="Freeform 572"/>
                <p:cNvSpPr>
                  <a:spLocks noChangeAspect="1"/>
                </p:cNvSpPr>
                <p:nvPr/>
              </p:nvSpPr>
              <p:spPr bwMode="auto">
                <a:xfrm>
                  <a:off x="3707" y="2022"/>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539" name="Freeform 573"/>
                <p:cNvSpPr>
                  <a:spLocks noChangeAspect="1"/>
                </p:cNvSpPr>
                <p:nvPr/>
              </p:nvSpPr>
              <p:spPr bwMode="auto">
                <a:xfrm>
                  <a:off x="3620" y="2300"/>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540" name="Freeform 574"/>
                <p:cNvSpPr>
                  <a:spLocks noChangeAspect="1"/>
                </p:cNvSpPr>
                <p:nvPr/>
              </p:nvSpPr>
              <p:spPr bwMode="auto">
                <a:xfrm>
                  <a:off x="3617" y="2123"/>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541" name="Freeform 575"/>
                <p:cNvSpPr>
                  <a:spLocks noChangeAspect="1"/>
                </p:cNvSpPr>
                <p:nvPr/>
              </p:nvSpPr>
              <p:spPr bwMode="auto">
                <a:xfrm>
                  <a:off x="3623" y="2219"/>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542" name="Freeform 576"/>
                <p:cNvSpPr>
                  <a:spLocks noChangeAspect="1"/>
                </p:cNvSpPr>
                <p:nvPr/>
              </p:nvSpPr>
              <p:spPr bwMode="auto">
                <a:xfrm>
                  <a:off x="3678" y="2227"/>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543" name="Freeform 577"/>
                <p:cNvSpPr>
                  <a:spLocks noChangeAspect="1"/>
                </p:cNvSpPr>
                <p:nvPr/>
              </p:nvSpPr>
              <p:spPr bwMode="auto">
                <a:xfrm>
                  <a:off x="3736" y="2214"/>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44" name="Freeform 578"/>
                <p:cNvSpPr>
                  <a:spLocks noChangeAspect="1"/>
                </p:cNvSpPr>
                <p:nvPr/>
              </p:nvSpPr>
              <p:spPr bwMode="auto">
                <a:xfrm>
                  <a:off x="3645" y="2260"/>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45" name="Freeform 579"/>
                <p:cNvSpPr>
                  <a:spLocks noChangeAspect="1"/>
                </p:cNvSpPr>
                <p:nvPr/>
              </p:nvSpPr>
              <p:spPr bwMode="auto">
                <a:xfrm>
                  <a:off x="3712" y="2262"/>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546" name="Freeform 580"/>
                <p:cNvSpPr>
                  <a:spLocks noChangeAspect="1"/>
                </p:cNvSpPr>
                <p:nvPr/>
              </p:nvSpPr>
              <p:spPr bwMode="auto">
                <a:xfrm>
                  <a:off x="3648" y="2062"/>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547" name="Freeform 581"/>
                <p:cNvSpPr>
                  <a:spLocks noChangeAspect="1"/>
                </p:cNvSpPr>
                <p:nvPr/>
              </p:nvSpPr>
              <p:spPr bwMode="auto">
                <a:xfrm>
                  <a:off x="3653" y="2143"/>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331" name="Group 582"/>
              <p:cNvGrpSpPr>
                <a:grpSpLocks noChangeAspect="1"/>
              </p:cNvGrpSpPr>
              <p:nvPr/>
            </p:nvGrpSpPr>
            <p:grpSpPr bwMode="auto">
              <a:xfrm>
                <a:off x="2763" y="1706"/>
                <a:ext cx="264" cy="344"/>
                <a:chOff x="3226" y="1606"/>
                <a:chExt cx="264" cy="344"/>
              </a:xfrm>
            </p:grpSpPr>
            <p:sp>
              <p:nvSpPr>
                <p:cNvPr id="1505" name="Freeform 583"/>
                <p:cNvSpPr>
                  <a:spLocks noChangeAspect="1"/>
                </p:cNvSpPr>
                <p:nvPr/>
              </p:nvSpPr>
              <p:spPr bwMode="auto">
                <a:xfrm>
                  <a:off x="3232" y="1689"/>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66"/>
                </a:solidFill>
                <a:ln w="9525">
                  <a:noFill/>
                  <a:round/>
                  <a:headEnd/>
                  <a:tailEnd/>
                </a:ln>
              </p:spPr>
              <p:txBody>
                <a:bodyPr/>
                <a:lstStyle/>
                <a:p>
                  <a:pPr algn="l" eaLnBrk="1" hangingPunct="1"/>
                  <a:endParaRPr lang="en-US"/>
                </a:p>
              </p:txBody>
            </p:sp>
            <p:sp>
              <p:nvSpPr>
                <p:cNvPr id="1506" name="Freeform 584"/>
                <p:cNvSpPr>
                  <a:spLocks noChangeAspect="1"/>
                </p:cNvSpPr>
                <p:nvPr/>
              </p:nvSpPr>
              <p:spPr bwMode="auto">
                <a:xfrm>
                  <a:off x="3264" y="1680"/>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660066"/>
                </a:solidFill>
                <a:ln w="9525">
                  <a:noFill/>
                  <a:round/>
                  <a:headEnd/>
                  <a:tailEnd/>
                </a:ln>
              </p:spPr>
              <p:txBody>
                <a:bodyPr/>
                <a:lstStyle/>
                <a:p>
                  <a:pPr algn="l" eaLnBrk="1" hangingPunct="1"/>
                  <a:endParaRPr lang="en-US"/>
                </a:p>
              </p:txBody>
            </p:sp>
            <p:sp>
              <p:nvSpPr>
                <p:cNvPr id="1507" name="Freeform 585"/>
                <p:cNvSpPr>
                  <a:spLocks noChangeAspect="1"/>
                </p:cNvSpPr>
                <p:nvPr/>
              </p:nvSpPr>
              <p:spPr bwMode="auto">
                <a:xfrm>
                  <a:off x="3250" y="1722"/>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CC99FF"/>
                </a:solidFill>
                <a:ln w="9525">
                  <a:noFill/>
                  <a:round/>
                  <a:headEnd/>
                  <a:tailEnd/>
                </a:ln>
              </p:spPr>
              <p:txBody>
                <a:bodyPr/>
                <a:lstStyle/>
                <a:p>
                  <a:pPr algn="l" eaLnBrk="1" hangingPunct="1"/>
                  <a:endParaRPr lang="en-US"/>
                </a:p>
              </p:txBody>
            </p:sp>
            <p:sp>
              <p:nvSpPr>
                <p:cNvPr id="1508" name="Freeform 586"/>
                <p:cNvSpPr>
                  <a:spLocks noChangeAspect="1"/>
                </p:cNvSpPr>
                <p:nvPr/>
              </p:nvSpPr>
              <p:spPr bwMode="auto">
                <a:xfrm>
                  <a:off x="3276" y="1760"/>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FF9900"/>
                </a:solidFill>
                <a:ln w="9525">
                  <a:noFill/>
                  <a:round/>
                  <a:headEnd/>
                  <a:tailEnd/>
                </a:ln>
              </p:spPr>
              <p:txBody>
                <a:bodyPr/>
                <a:lstStyle/>
                <a:p>
                  <a:pPr algn="l" eaLnBrk="1" hangingPunct="1"/>
                  <a:endParaRPr lang="en-US"/>
                </a:p>
              </p:txBody>
            </p:sp>
            <p:sp>
              <p:nvSpPr>
                <p:cNvPr id="1509" name="Freeform 587"/>
                <p:cNvSpPr>
                  <a:spLocks noChangeAspect="1"/>
                </p:cNvSpPr>
                <p:nvPr/>
              </p:nvSpPr>
              <p:spPr bwMode="auto">
                <a:xfrm>
                  <a:off x="3278" y="1785"/>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FF99"/>
                </a:solidFill>
                <a:ln w="9525">
                  <a:noFill/>
                  <a:round/>
                  <a:headEnd/>
                  <a:tailEnd/>
                </a:ln>
              </p:spPr>
              <p:txBody>
                <a:bodyPr/>
                <a:lstStyle/>
                <a:p>
                  <a:pPr algn="l" eaLnBrk="1" hangingPunct="1"/>
                  <a:endParaRPr lang="en-US"/>
                </a:p>
              </p:txBody>
            </p:sp>
            <p:sp>
              <p:nvSpPr>
                <p:cNvPr id="1510" name="Freeform 588"/>
                <p:cNvSpPr>
                  <a:spLocks noChangeAspect="1"/>
                </p:cNvSpPr>
                <p:nvPr/>
              </p:nvSpPr>
              <p:spPr bwMode="auto">
                <a:xfrm>
                  <a:off x="3257" y="1606"/>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1511" name="Freeform 589"/>
                <p:cNvSpPr>
                  <a:spLocks noChangeAspect="1"/>
                </p:cNvSpPr>
                <p:nvPr/>
              </p:nvSpPr>
              <p:spPr bwMode="auto">
                <a:xfrm>
                  <a:off x="3267" y="1650"/>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1512" name="Freeform 590"/>
                <p:cNvSpPr>
                  <a:spLocks noChangeAspect="1"/>
                </p:cNvSpPr>
                <p:nvPr/>
              </p:nvSpPr>
              <p:spPr bwMode="auto">
                <a:xfrm>
                  <a:off x="3297" y="1608"/>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1513" name="Freeform 591"/>
                <p:cNvSpPr>
                  <a:spLocks noChangeAspect="1"/>
                </p:cNvSpPr>
                <p:nvPr/>
              </p:nvSpPr>
              <p:spPr bwMode="auto">
                <a:xfrm>
                  <a:off x="3309" y="1632"/>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1514" name="Freeform 592"/>
                <p:cNvSpPr>
                  <a:spLocks noChangeAspect="1"/>
                </p:cNvSpPr>
                <p:nvPr/>
              </p:nvSpPr>
              <p:spPr bwMode="auto">
                <a:xfrm>
                  <a:off x="3260" y="1607"/>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515" name="Freeform 593"/>
                <p:cNvSpPr>
                  <a:spLocks noChangeAspect="1"/>
                </p:cNvSpPr>
                <p:nvPr/>
              </p:nvSpPr>
              <p:spPr bwMode="auto">
                <a:xfrm>
                  <a:off x="3249" y="1631"/>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516" name="Freeform 594"/>
                <p:cNvSpPr>
                  <a:spLocks noChangeAspect="1"/>
                </p:cNvSpPr>
                <p:nvPr/>
              </p:nvSpPr>
              <p:spPr bwMode="auto">
                <a:xfrm>
                  <a:off x="3423" y="1636"/>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517" name="Freeform 595"/>
                <p:cNvSpPr>
                  <a:spLocks noChangeAspect="1"/>
                </p:cNvSpPr>
                <p:nvPr/>
              </p:nvSpPr>
              <p:spPr bwMode="auto">
                <a:xfrm>
                  <a:off x="3226" y="1697"/>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518" name="Freeform 596"/>
                <p:cNvSpPr>
                  <a:spLocks noChangeAspect="1"/>
                </p:cNvSpPr>
                <p:nvPr/>
              </p:nvSpPr>
              <p:spPr bwMode="auto">
                <a:xfrm>
                  <a:off x="3396" y="1692"/>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519" name="Freeform 597"/>
                <p:cNvSpPr>
                  <a:spLocks noChangeAspect="1"/>
                </p:cNvSpPr>
                <p:nvPr/>
              </p:nvSpPr>
              <p:spPr bwMode="auto">
                <a:xfrm>
                  <a:off x="3245" y="1893"/>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520" name="Freeform 598"/>
                <p:cNvSpPr>
                  <a:spLocks noChangeAspect="1"/>
                </p:cNvSpPr>
                <p:nvPr/>
              </p:nvSpPr>
              <p:spPr bwMode="auto">
                <a:xfrm>
                  <a:off x="3268" y="1759"/>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521" name="Freeform 599"/>
                <p:cNvSpPr>
                  <a:spLocks noChangeAspect="1"/>
                </p:cNvSpPr>
                <p:nvPr/>
              </p:nvSpPr>
              <p:spPr bwMode="auto">
                <a:xfrm>
                  <a:off x="3285" y="1752"/>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522" name="Freeform 600"/>
                <p:cNvSpPr>
                  <a:spLocks noChangeAspect="1"/>
                </p:cNvSpPr>
                <p:nvPr/>
              </p:nvSpPr>
              <p:spPr bwMode="auto">
                <a:xfrm>
                  <a:off x="3409" y="1759"/>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523" name="Freeform 601"/>
                <p:cNvSpPr>
                  <a:spLocks noChangeAspect="1"/>
                </p:cNvSpPr>
                <p:nvPr/>
              </p:nvSpPr>
              <p:spPr bwMode="auto">
                <a:xfrm>
                  <a:off x="3286" y="1859"/>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524" name="Freeform 602"/>
                <p:cNvSpPr>
                  <a:spLocks noChangeAspect="1"/>
                </p:cNvSpPr>
                <p:nvPr/>
              </p:nvSpPr>
              <p:spPr bwMode="auto">
                <a:xfrm>
                  <a:off x="3318" y="1799"/>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525" name="Freeform 603"/>
                <p:cNvSpPr>
                  <a:spLocks noChangeAspect="1"/>
                </p:cNvSpPr>
                <p:nvPr/>
              </p:nvSpPr>
              <p:spPr bwMode="auto">
                <a:xfrm>
                  <a:off x="3368" y="1621"/>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1332" name="Group 604"/>
              <p:cNvGrpSpPr>
                <a:grpSpLocks noChangeAspect="1"/>
              </p:cNvGrpSpPr>
              <p:nvPr/>
            </p:nvGrpSpPr>
            <p:grpSpPr bwMode="auto">
              <a:xfrm>
                <a:off x="3099" y="1610"/>
                <a:ext cx="264" cy="344"/>
                <a:chOff x="3210" y="1981"/>
                <a:chExt cx="264" cy="344"/>
              </a:xfrm>
            </p:grpSpPr>
            <p:sp>
              <p:nvSpPr>
                <p:cNvPr id="1484" name="Freeform 605"/>
                <p:cNvSpPr>
                  <a:spLocks noChangeAspect="1"/>
                </p:cNvSpPr>
                <p:nvPr/>
              </p:nvSpPr>
              <p:spPr bwMode="auto">
                <a:xfrm>
                  <a:off x="3216" y="2064"/>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00"/>
                </a:solidFill>
                <a:ln w="9525">
                  <a:noFill/>
                  <a:round/>
                  <a:headEnd/>
                  <a:tailEnd/>
                </a:ln>
              </p:spPr>
              <p:txBody>
                <a:bodyPr/>
                <a:lstStyle/>
                <a:p>
                  <a:pPr algn="l" eaLnBrk="1" hangingPunct="1"/>
                  <a:endParaRPr lang="en-US"/>
                </a:p>
              </p:txBody>
            </p:sp>
            <p:sp>
              <p:nvSpPr>
                <p:cNvPr id="1485" name="Freeform 606"/>
                <p:cNvSpPr>
                  <a:spLocks noChangeAspect="1"/>
                </p:cNvSpPr>
                <p:nvPr/>
              </p:nvSpPr>
              <p:spPr bwMode="auto">
                <a:xfrm>
                  <a:off x="3248" y="2055"/>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800000"/>
                </a:solidFill>
                <a:ln w="9525">
                  <a:noFill/>
                  <a:round/>
                  <a:headEnd/>
                  <a:tailEnd/>
                </a:ln>
              </p:spPr>
              <p:txBody>
                <a:bodyPr/>
                <a:lstStyle/>
                <a:p>
                  <a:pPr algn="l" eaLnBrk="1" hangingPunct="1"/>
                  <a:endParaRPr lang="en-US"/>
                </a:p>
              </p:txBody>
            </p:sp>
            <p:sp>
              <p:nvSpPr>
                <p:cNvPr id="1486" name="Freeform 607"/>
                <p:cNvSpPr>
                  <a:spLocks noChangeAspect="1"/>
                </p:cNvSpPr>
                <p:nvPr/>
              </p:nvSpPr>
              <p:spPr bwMode="auto">
                <a:xfrm>
                  <a:off x="3234" y="2097"/>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487" name="Freeform 608"/>
                <p:cNvSpPr>
                  <a:spLocks noChangeAspect="1"/>
                </p:cNvSpPr>
                <p:nvPr/>
              </p:nvSpPr>
              <p:spPr bwMode="auto">
                <a:xfrm>
                  <a:off x="3260" y="2135"/>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6EDEE6"/>
                </a:solidFill>
                <a:ln w="9525">
                  <a:noFill/>
                  <a:round/>
                  <a:headEnd/>
                  <a:tailEnd/>
                </a:ln>
              </p:spPr>
              <p:txBody>
                <a:bodyPr/>
                <a:lstStyle/>
                <a:p>
                  <a:pPr algn="l" eaLnBrk="1" hangingPunct="1"/>
                  <a:endParaRPr lang="en-US"/>
                </a:p>
              </p:txBody>
            </p:sp>
            <p:sp>
              <p:nvSpPr>
                <p:cNvPr id="1488" name="Freeform 609"/>
                <p:cNvSpPr>
                  <a:spLocks noChangeAspect="1"/>
                </p:cNvSpPr>
                <p:nvPr/>
              </p:nvSpPr>
              <p:spPr bwMode="auto">
                <a:xfrm>
                  <a:off x="3262" y="2160"/>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A366"/>
                </a:solidFill>
                <a:ln w="9525">
                  <a:noFill/>
                  <a:round/>
                  <a:headEnd/>
                  <a:tailEnd/>
                </a:ln>
              </p:spPr>
              <p:txBody>
                <a:bodyPr/>
                <a:lstStyle/>
                <a:p>
                  <a:pPr algn="l" eaLnBrk="1" hangingPunct="1"/>
                  <a:endParaRPr lang="en-US"/>
                </a:p>
              </p:txBody>
            </p:sp>
            <p:sp>
              <p:nvSpPr>
                <p:cNvPr id="1489" name="Freeform 610"/>
                <p:cNvSpPr>
                  <a:spLocks noChangeAspect="1"/>
                </p:cNvSpPr>
                <p:nvPr/>
              </p:nvSpPr>
              <p:spPr bwMode="auto">
                <a:xfrm>
                  <a:off x="3241" y="1981"/>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1490" name="Freeform 611"/>
                <p:cNvSpPr>
                  <a:spLocks noChangeAspect="1"/>
                </p:cNvSpPr>
                <p:nvPr/>
              </p:nvSpPr>
              <p:spPr bwMode="auto">
                <a:xfrm>
                  <a:off x="3251" y="2025"/>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1491" name="Freeform 612"/>
                <p:cNvSpPr>
                  <a:spLocks noChangeAspect="1"/>
                </p:cNvSpPr>
                <p:nvPr/>
              </p:nvSpPr>
              <p:spPr bwMode="auto">
                <a:xfrm>
                  <a:off x="3281" y="1983"/>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1492" name="Freeform 613"/>
                <p:cNvSpPr>
                  <a:spLocks noChangeAspect="1"/>
                </p:cNvSpPr>
                <p:nvPr/>
              </p:nvSpPr>
              <p:spPr bwMode="auto">
                <a:xfrm>
                  <a:off x="3293" y="2007"/>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1493" name="Freeform 614"/>
                <p:cNvSpPr>
                  <a:spLocks noChangeAspect="1"/>
                </p:cNvSpPr>
                <p:nvPr/>
              </p:nvSpPr>
              <p:spPr bwMode="auto">
                <a:xfrm>
                  <a:off x="3244" y="1982"/>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494" name="Freeform 615"/>
                <p:cNvSpPr>
                  <a:spLocks noChangeAspect="1"/>
                </p:cNvSpPr>
                <p:nvPr/>
              </p:nvSpPr>
              <p:spPr bwMode="auto">
                <a:xfrm>
                  <a:off x="3233" y="2006"/>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495" name="Freeform 616"/>
                <p:cNvSpPr>
                  <a:spLocks noChangeAspect="1"/>
                </p:cNvSpPr>
                <p:nvPr/>
              </p:nvSpPr>
              <p:spPr bwMode="auto">
                <a:xfrm>
                  <a:off x="3407" y="2011"/>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496" name="Freeform 617"/>
                <p:cNvSpPr>
                  <a:spLocks noChangeAspect="1"/>
                </p:cNvSpPr>
                <p:nvPr/>
              </p:nvSpPr>
              <p:spPr bwMode="auto">
                <a:xfrm>
                  <a:off x="3210" y="2072"/>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497" name="Freeform 618"/>
                <p:cNvSpPr>
                  <a:spLocks noChangeAspect="1"/>
                </p:cNvSpPr>
                <p:nvPr/>
              </p:nvSpPr>
              <p:spPr bwMode="auto">
                <a:xfrm>
                  <a:off x="3380" y="2067"/>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498" name="Freeform 619"/>
                <p:cNvSpPr>
                  <a:spLocks noChangeAspect="1"/>
                </p:cNvSpPr>
                <p:nvPr/>
              </p:nvSpPr>
              <p:spPr bwMode="auto">
                <a:xfrm>
                  <a:off x="3229" y="2268"/>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499" name="Freeform 620"/>
                <p:cNvSpPr>
                  <a:spLocks noChangeAspect="1"/>
                </p:cNvSpPr>
                <p:nvPr/>
              </p:nvSpPr>
              <p:spPr bwMode="auto">
                <a:xfrm>
                  <a:off x="3252" y="2134"/>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500" name="Freeform 621"/>
                <p:cNvSpPr>
                  <a:spLocks noChangeAspect="1"/>
                </p:cNvSpPr>
                <p:nvPr/>
              </p:nvSpPr>
              <p:spPr bwMode="auto">
                <a:xfrm>
                  <a:off x="3269" y="2127"/>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501" name="Freeform 622"/>
                <p:cNvSpPr>
                  <a:spLocks noChangeAspect="1"/>
                </p:cNvSpPr>
                <p:nvPr/>
              </p:nvSpPr>
              <p:spPr bwMode="auto">
                <a:xfrm>
                  <a:off x="3393" y="2134"/>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502" name="Freeform 623"/>
                <p:cNvSpPr>
                  <a:spLocks noChangeAspect="1"/>
                </p:cNvSpPr>
                <p:nvPr/>
              </p:nvSpPr>
              <p:spPr bwMode="auto">
                <a:xfrm>
                  <a:off x="3270" y="2234"/>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503" name="Freeform 624"/>
                <p:cNvSpPr>
                  <a:spLocks noChangeAspect="1"/>
                </p:cNvSpPr>
                <p:nvPr/>
              </p:nvSpPr>
              <p:spPr bwMode="auto">
                <a:xfrm>
                  <a:off x="3302" y="2174"/>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504" name="Freeform 625"/>
                <p:cNvSpPr>
                  <a:spLocks noChangeAspect="1"/>
                </p:cNvSpPr>
                <p:nvPr/>
              </p:nvSpPr>
              <p:spPr bwMode="auto">
                <a:xfrm>
                  <a:off x="3352" y="1996"/>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1333" name="Group 626"/>
              <p:cNvGrpSpPr>
                <a:grpSpLocks noChangeAspect="1"/>
              </p:cNvGrpSpPr>
              <p:nvPr/>
            </p:nvGrpSpPr>
            <p:grpSpPr bwMode="auto">
              <a:xfrm>
                <a:off x="3243" y="1706"/>
                <a:ext cx="200" cy="357"/>
                <a:chOff x="3830" y="2172"/>
                <a:chExt cx="200" cy="357"/>
              </a:xfrm>
            </p:grpSpPr>
            <p:sp>
              <p:nvSpPr>
                <p:cNvPr id="1462" name="Freeform 627"/>
                <p:cNvSpPr>
                  <a:spLocks noChangeAspect="1"/>
                </p:cNvSpPr>
                <p:nvPr/>
              </p:nvSpPr>
              <p:spPr bwMode="auto">
                <a:xfrm>
                  <a:off x="3840" y="2219"/>
                  <a:ext cx="181" cy="302"/>
                </a:xfrm>
                <a:custGeom>
                  <a:avLst/>
                  <a:gdLst>
                    <a:gd name="T0" fmla="*/ 103 w 363"/>
                    <a:gd name="T1" fmla="*/ 17 h 605"/>
                    <a:gd name="T2" fmla="*/ 105 w 363"/>
                    <a:gd name="T3" fmla="*/ 33 h 605"/>
                    <a:gd name="T4" fmla="*/ 105 w 363"/>
                    <a:gd name="T5" fmla="*/ 52 h 605"/>
                    <a:gd name="T6" fmla="*/ 103 w 363"/>
                    <a:gd name="T7" fmla="*/ 76 h 605"/>
                    <a:gd name="T8" fmla="*/ 93 w 363"/>
                    <a:gd name="T9" fmla="*/ 103 h 605"/>
                    <a:gd name="T10" fmla="*/ 74 w 363"/>
                    <a:gd name="T11" fmla="*/ 128 h 605"/>
                    <a:gd name="T12" fmla="*/ 51 w 363"/>
                    <a:gd name="T13" fmla="*/ 158 h 605"/>
                    <a:gd name="T14" fmla="*/ 30 w 363"/>
                    <a:gd name="T15" fmla="*/ 196 h 605"/>
                    <a:gd name="T16" fmla="*/ 11 w 363"/>
                    <a:gd name="T17" fmla="*/ 240 h 605"/>
                    <a:gd name="T18" fmla="*/ 0 w 363"/>
                    <a:gd name="T19" fmla="*/ 293 h 605"/>
                    <a:gd name="T20" fmla="*/ 2 w 363"/>
                    <a:gd name="T21" fmla="*/ 352 h 605"/>
                    <a:gd name="T22" fmla="*/ 10 w 363"/>
                    <a:gd name="T23" fmla="*/ 411 h 605"/>
                    <a:gd name="T24" fmla="*/ 21 w 363"/>
                    <a:gd name="T25" fmla="*/ 464 h 605"/>
                    <a:gd name="T26" fmla="*/ 32 w 363"/>
                    <a:gd name="T27" fmla="*/ 510 h 605"/>
                    <a:gd name="T28" fmla="*/ 42 w 363"/>
                    <a:gd name="T29" fmla="*/ 542 h 605"/>
                    <a:gd name="T30" fmla="*/ 46 w 363"/>
                    <a:gd name="T31" fmla="*/ 554 h 605"/>
                    <a:gd name="T32" fmla="*/ 53 w 363"/>
                    <a:gd name="T33" fmla="*/ 559 h 605"/>
                    <a:gd name="T34" fmla="*/ 78 w 363"/>
                    <a:gd name="T35" fmla="*/ 573 h 605"/>
                    <a:gd name="T36" fmla="*/ 110 w 363"/>
                    <a:gd name="T37" fmla="*/ 588 h 605"/>
                    <a:gd name="T38" fmla="*/ 152 w 363"/>
                    <a:gd name="T39" fmla="*/ 601 h 605"/>
                    <a:gd name="T40" fmla="*/ 200 w 363"/>
                    <a:gd name="T41" fmla="*/ 605 h 605"/>
                    <a:gd name="T42" fmla="*/ 247 w 363"/>
                    <a:gd name="T43" fmla="*/ 597 h 605"/>
                    <a:gd name="T44" fmla="*/ 281 w 363"/>
                    <a:gd name="T45" fmla="*/ 582 h 605"/>
                    <a:gd name="T46" fmla="*/ 308 w 363"/>
                    <a:gd name="T47" fmla="*/ 567 h 605"/>
                    <a:gd name="T48" fmla="*/ 327 w 363"/>
                    <a:gd name="T49" fmla="*/ 548 h 605"/>
                    <a:gd name="T50" fmla="*/ 338 w 363"/>
                    <a:gd name="T51" fmla="*/ 529 h 605"/>
                    <a:gd name="T52" fmla="*/ 344 w 363"/>
                    <a:gd name="T53" fmla="*/ 510 h 605"/>
                    <a:gd name="T54" fmla="*/ 354 w 363"/>
                    <a:gd name="T55" fmla="*/ 464 h 605"/>
                    <a:gd name="T56" fmla="*/ 361 w 363"/>
                    <a:gd name="T57" fmla="*/ 394 h 605"/>
                    <a:gd name="T58" fmla="*/ 363 w 363"/>
                    <a:gd name="T59" fmla="*/ 314 h 605"/>
                    <a:gd name="T60" fmla="*/ 355 w 363"/>
                    <a:gd name="T61" fmla="*/ 238 h 605"/>
                    <a:gd name="T62" fmla="*/ 333 w 363"/>
                    <a:gd name="T63" fmla="*/ 183 h 605"/>
                    <a:gd name="T64" fmla="*/ 298 w 363"/>
                    <a:gd name="T65" fmla="*/ 145 h 605"/>
                    <a:gd name="T66" fmla="*/ 272 w 363"/>
                    <a:gd name="T67" fmla="*/ 116 h 605"/>
                    <a:gd name="T68" fmla="*/ 251 w 363"/>
                    <a:gd name="T69" fmla="*/ 94 h 605"/>
                    <a:gd name="T70" fmla="*/ 236 w 363"/>
                    <a:gd name="T71" fmla="*/ 76 h 605"/>
                    <a:gd name="T72" fmla="*/ 226 w 363"/>
                    <a:gd name="T73" fmla="*/ 61 h 605"/>
                    <a:gd name="T74" fmla="*/ 224 w 363"/>
                    <a:gd name="T75" fmla="*/ 46 h 605"/>
                    <a:gd name="T76" fmla="*/ 222 w 363"/>
                    <a:gd name="T77" fmla="*/ 33 h 605"/>
                    <a:gd name="T78" fmla="*/ 222 w 363"/>
                    <a:gd name="T79" fmla="*/ 19 h 605"/>
                    <a:gd name="T80" fmla="*/ 224 w 363"/>
                    <a:gd name="T81" fmla="*/ 8 h 605"/>
                    <a:gd name="T82" fmla="*/ 226 w 363"/>
                    <a:gd name="T83" fmla="*/ 0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05"/>
                    <a:gd name="T128" fmla="*/ 363 w 363"/>
                    <a:gd name="T129" fmla="*/ 605 h 6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05">
                      <a:moveTo>
                        <a:pt x="101" y="14"/>
                      </a:moveTo>
                      <a:lnTo>
                        <a:pt x="101" y="16"/>
                      </a:lnTo>
                      <a:lnTo>
                        <a:pt x="103" y="17"/>
                      </a:lnTo>
                      <a:lnTo>
                        <a:pt x="103" y="23"/>
                      </a:lnTo>
                      <a:lnTo>
                        <a:pt x="103" y="27"/>
                      </a:lnTo>
                      <a:lnTo>
                        <a:pt x="105" y="33"/>
                      </a:lnTo>
                      <a:lnTo>
                        <a:pt x="105" y="38"/>
                      </a:lnTo>
                      <a:lnTo>
                        <a:pt x="106" y="46"/>
                      </a:lnTo>
                      <a:lnTo>
                        <a:pt x="105" y="52"/>
                      </a:lnTo>
                      <a:lnTo>
                        <a:pt x="105" y="59"/>
                      </a:lnTo>
                      <a:lnTo>
                        <a:pt x="105" y="69"/>
                      </a:lnTo>
                      <a:lnTo>
                        <a:pt x="103" y="76"/>
                      </a:lnTo>
                      <a:lnTo>
                        <a:pt x="101" y="84"/>
                      </a:lnTo>
                      <a:lnTo>
                        <a:pt x="97" y="94"/>
                      </a:lnTo>
                      <a:lnTo>
                        <a:pt x="93" y="103"/>
                      </a:lnTo>
                      <a:lnTo>
                        <a:pt x="87" y="111"/>
                      </a:lnTo>
                      <a:lnTo>
                        <a:pt x="80" y="118"/>
                      </a:lnTo>
                      <a:lnTo>
                        <a:pt x="74" y="128"/>
                      </a:lnTo>
                      <a:lnTo>
                        <a:pt x="67" y="137"/>
                      </a:lnTo>
                      <a:lnTo>
                        <a:pt x="59" y="149"/>
                      </a:lnTo>
                      <a:lnTo>
                        <a:pt x="51" y="158"/>
                      </a:lnTo>
                      <a:lnTo>
                        <a:pt x="44" y="172"/>
                      </a:lnTo>
                      <a:lnTo>
                        <a:pt x="36" y="183"/>
                      </a:lnTo>
                      <a:lnTo>
                        <a:pt x="30" y="196"/>
                      </a:lnTo>
                      <a:lnTo>
                        <a:pt x="23" y="210"/>
                      </a:lnTo>
                      <a:lnTo>
                        <a:pt x="17" y="225"/>
                      </a:lnTo>
                      <a:lnTo>
                        <a:pt x="11" y="240"/>
                      </a:lnTo>
                      <a:lnTo>
                        <a:pt x="8" y="259"/>
                      </a:lnTo>
                      <a:lnTo>
                        <a:pt x="2" y="276"/>
                      </a:lnTo>
                      <a:lnTo>
                        <a:pt x="0" y="293"/>
                      </a:lnTo>
                      <a:lnTo>
                        <a:pt x="0" y="312"/>
                      </a:lnTo>
                      <a:lnTo>
                        <a:pt x="0" y="331"/>
                      </a:lnTo>
                      <a:lnTo>
                        <a:pt x="2" y="352"/>
                      </a:lnTo>
                      <a:lnTo>
                        <a:pt x="4" y="371"/>
                      </a:lnTo>
                      <a:lnTo>
                        <a:pt x="6" y="392"/>
                      </a:lnTo>
                      <a:lnTo>
                        <a:pt x="10" y="411"/>
                      </a:lnTo>
                      <a:lnTo>
                        <a:pt x="11" y="428"/>
                      </a:lnTo>
                      <a:lnTo>
                        <a:pt x="17" y="447"/>
                      </a:lnTo>
                      <a:lnTo>
                        <a:pt x="21" y="464"/>
                      </a:lnTo>
                      <a:lnTo>
                        <a:pt x="25" y="481"/>
                      </a:lnTo>
                      <a:lnTo>
                        <a:pt x="29" y="497"/>
                      </a:lnTo>
                      <a:lnTo>
                        <a:pt x="32" y="510"/>
                      </a:lnTo>
                      <a:lnTo>
                        <a:pt x="36" y="523"/>
                      </a:lnTo>
                      <a:lnTo>
                        <a:pt x="40" y="533"/>
                      </a:lnTo>
                      <a:lnTo>
                        <a:pt x="42" y="542"/>
                      </a:lnTo>
                      <a:lnTo>
                        <a:pt x="44" y="548"/>
                      </a:lnTo>
                      <a:lnTo>
                        <a:pt x="46" y="552"/>
                      </a:lnTo>
                      <a:lnTo>
                        <a:pt x="46" y="554"/>
                      </a:lnTo>
                      <a:lnTo>
                        <a:pt x="48" y="554"/>
                      </a:lnTo>
                      <a:lnTo>
                        <a:pt x="49" y="556"/>
                      </a:lnTo>
                      <a:lnTo>
                        <a:pt x="53" y="559"/>
                      </a:lnTo>
                      <a:lnTo>
                        <a:pt x="61" y="563"/>
                      </a:lnTo>
                      <a:lnTo>
                        <a:pt x="68" y="567"/>
                      </a:lnTo>
                      <a:lnTo>
                        <a:pt x="78" y="573"/>
                      </a:lnTo>
                      <a:lnTo>
                        <a:pt x="87" y="578"/>
                      </a:lnTo>
                      <a:lnTo>
                        <a:pt x="99" y="584"/>
                      </a:lnTo>
                      <a:lnTo>
                        <a:pt x="110" y="588"/>
                      </a:lnTo>
                      <a:lnTo>
                        <a:pt x="124" y="594"/>
                      </a:lnTo>
                      <a:lnTo>
                        <a:pt x="137" y="597"/>
                      </a:lnTo>
                      <a:lnTo>
                        <a:pt x="152" y="601"/>
                      </a:lnTo>
                      <a:lnTo>
                        <a:pt x="167" y="605"/>
                      </a:lnTo>
                      <a:lnTo>
                        <a:pt x="184" y="605"/>
                      </a:lnTo>
                      <a:lnTo>
                        <a:pt x="200" y="605"/>
                      </a:lnTo>
                      <a:lnTo>
                        <a:pt x="217" y="605"/>
                      </a:lnTo>
                      <a:lnTo>
                        <a:pt x="232" y="601"/>
                      </a:lnTo>
                      <a:lnTo>
                        <a:pt x="247" y="597"/>
                      </a:lnTo>
                      <a:lnTo>
                        <a:pt x="258" y="594"/>
                      </a:lnTo>
                      <a:lnTo>
                        <a:pt x="272" y="588"/>
                      </a:lnTo>
                      <a:lnTo>
                        <a:pt x="281" y="582"/>
                      </a:lnTo>
                      <a:lnTo>
                        <a:pt x="293" y="578"/>
                      </a:lnTo>
                      <a:lnTo>
                        <a:pt x="300" y="573"/>
                      </a:lnTo>
                      <a:lnTo>
                        <a:pt x="308" y="567"/>
                      </a:lnTo>
                      <a:lnTo>
                        <a:pt x="314" y="559"/>
                      </a:lnTo>
                      <a:lnTo>
                        <a:pt x="321" y="554"/>
                      </a:lnTo>
                      <a:lnTo>
                        <a:pt x="327" y="548"/>
                      </a:lnTo>
                      <a:lnTo>
                        <a:pt x="331" y="542"/>
                      </a:lnTo>
                      <a:lnTo>
                        <a:pt x="335" y="535"/>
                      </a:lnTo>
                      <a:lnTo>
                        <a:pt x="338" y="529"/>
                      </a:lnTo>
                      <a:lnTo>
                        <a:pt x="340" y="523"/>
                      </a:lnTo>
                      <a:lnTo>
                        <a:pt x="342" y="519"/>
                      </a:lnTo>
                      <a:lnTo>
                        <a:pt x="344" y="510"/>
                      </a:lnTo>
                      <a:lnTo>
                        <a:pt x="348" y="499"/>
                      </a:lnTo>
                      <a:lnTo>
                        <a:pt x="350" y="483"/>
                      </a:lnTo>
                      <a:lnTo>
                        <a:pt x="354" y="464"/>
                      </a:lnTo>
                      <a:lnTo>
                        <a:pt x="355" y="443"/>
                      </a:lnTo>
                      <a:lnTo>
                        <a:pt x="359" y="421"/>
                      </a:lnTo>
                      <a:lnTo>
                        <a:pt x="361" y="394"/>
                      </a:lnTo>
                      <a:lnTo>
                        <a:pt x="363" y="369"/>
                      </a:lnTo>
                      <a:lnTo>
                        <a:pt x="363" y="341"/>
                      </a:lnTo>
                      <a:lnTo>
                        <a:pt x="363" y="314"/>
                      </a:lnTo>
                      <a:lnTo>
                        <a:pt x="363" y="287"/>
                      </a:lnTo>
                      <a:lnTo>
                        <a:pt x="361" y="263"/>
                      </a:lnTo>
                      <a:lnTo>
                        <a:pt x="355" y="238"/>
                      </a:lnTo>
                      <a:lnTo>
                        <a:pt x="350" y="217"/>
                      </a:lnTo>
                      <a:lnTo>
                        <a:pt x="342" y="198"/>
                      </a:lnTo>
                      <a:lnTo>
                        <a:pt x="333" y="183"/>
                      </a:lnTo>
                      <a:lnTo>
                        <a:pt x="319" y="170"/>
                      </a:lnTo>
                      <a:lnTo>
                        <a:pt x="310" y="156"/>
                      </a:lnTo>
                      <a:lnTo>
                        <a:pt x="298" y="145"/>
                      </a:lnTo>
                      <a:lnTo>
                        <a:pt x="289" y="135"/>
                      </a:lnTo>
                      <a:lnTo>
                        <a:pt x="279" y="124"/>
                      </a:lnTo>
                      <a:lnTo>
                        <a:pt x="272" y="116"/>
                      </a:lnTo>
                      <a:lnTo>
                        <a:pt x="264" y="107"/>
                      </a:lnTo>
                      <a:lnTo>
                        <a:pt x="258" y="101"/>
                      </a:lnTo>
                      <a:lnTo>
                        <a:pt x="251" y="94"/>
                      </a:lnTo>
                      <a:lnTo>
                        <a:pt x="245" y="88"/>
                      </a:lnTo>
                      <a:lnTo>
                        <a:pt x="239" y="82"/>
                      </a:lnTo>
                      <a:lnTo>
                        <a:pt x="236" y="76"/>
                      </a:lnTo>
                      <a:lnTo>
                        <a:pt x="232" y="71"/>
                      </a:lnTo>
                      <a:lnTo>
                        <a:pt x="230" y="65"/>
                      </a:lnTo>
                      <a:lnTo>
                        <a:pt x="226" y="61"/>
                      </a:lnTo>
                      <a:lnTo>
                        <a:pt x="226" y="57"/>
                      </a:lnTo>
                      <a:lnTo>
                        <a:pt x="224" y="52"/>
                      </a:lnTo>
                      <a:lnTo>
                        <a:pt x="224" y="46"/>
                      </a:lnTo>
                      <a:lnTo>
                        <a:pt x="222" y="42"/>
                      </a:lnTo>
                      <a:lnTo>
                        <a:pt x="222" y="36"/>
                      </a:lnTo>
                      <a:lnTo>
                        <a:pt x="222" y="33"/>
                      </a:lnTo>
                      <a:lnTo>
                        <a:pt x="222" y="27"/>
                      </a:lnTo>
                      <a:lnTo>
                        <a:pt x="222" y="23"/>
                      </a:lnTo>
                      <a:lnTo>
                        <a:pt x="222" y="19"/>
                      </a:lnTo>
                      <a:lnTo>
                        <a:pt x="222" y="16"/>
                      </a:lnTo>
                      <a:lnTo>
                        <a:pt x="224" y="12"/>
                      </a:lnTo>
                      <a:lnTo>
                        <a:pt x="224" y="8"/>
                      </a:lnTo>
                      <a:lnTo>
                        <a:pt x="224" y="6"/>
                      </a:lnTo>
                      <a:lnTo>
                        <a:pt x="226" y="2"/>
                      </a:lnTo>
                      <a:lnTo>
                        <a:pt x="226" y="0"/>
                      </a:lnTo>
                      <a:lnTo>
                        <a:pt x="101" y="14"/>
                      </a:lnTo>
                      <a:close/>
                    </a:path>
                  </a:pathLst>
                </a:custGeom>
                <a:solidFill>
                  <a:srgbClr val="CCFFCC"/>
                </a:solidFill>
                <a:ln w="9525">
                  <a:noFill/>
                  <a:round/>
                  <a:headEnd/>
                  <a:tailEnd/>
                </a:ln>
              </p:spPr>
              <p:txBody>
                <a:bodyPr/>
                <a:lstStyle/>
                <a:p>
                  <a:pPr algn="l" eaLnBrk="1" hangingPunct="1"/>
                  <a:endParaRPr lang="en-US"/>
                </a:p>
              </p:txBody>
            </p:sp>
            <p:sp>
              <p:nvSpPr>
                <p:cNvPr id="1463" name="Freeform 628"/>
                <p:cNvSpPr>
                  <a:spLocks noChangeAspect="1"/>
                </p:cNvSpPr>
                <p:nvPr/>
              </p:nvSpPr>
              <p:spPr bwMode="auto">
                <a:xfrm>
                  <a:off x="3840" y="2256"/>
                  <a:ext cx="164" cy="246"/>
                </a:xfrm>
                <a:custGeom>
                  <a:avLst/>
                  <a:gdLst>
                    <a:gd name="T0" fmla="*/ 106 w 329"/>
                    <a:gd name="T1" fmla="*/ 9 h 492"/>
                    <a:gd name="T2" fmla="*/ 112 w 329"/>
                    <a:gd name="T3" fmla="*/ 7 h 492"/>
                    <a:gd name="T4" fmla="*/ 120 w 329"/>
                    <a:gd name="T5" fmla="*/ 5 h 492"/>
                    <a:gd name="T6" fmla="*/ 133 w 329"/>
                    <a:gd name="T7" fmla="*/ 3 h 492"/>
                    <a:gd name="T8" fmla="*/ 148 w 329"/>
                    <a:gd name="T9" fmla="*/ 1 h 492"/>
                    <a:gd name="T10" fmla="*/ 163 w 329"/>
                    <a:gd name="T11" fmla="*/ 0 h 492"/>
                    <a:gd name="T12" fmla="*/ 179 w 329"/>
                    <a:gd name="T13" fmla="*/ 1 h 492"/>
                    <a:gd name="T14" fmla="*/ 192 w 329"/>
                    <a:gd name="T15" fmla="*/ 5 h 492"/>
                    <a:gd name="T16" fmla="*/ 205 w 329"/>
                    <a:gd name="T17" fmla="*/ 13 h 492"/>
                    <a:gd name="T18" fmla="*/ 219 w 329"/>
                    <a:gd name="T19" fmla="*/ 20 h 492"/>
                    <a:gd name="T20" fmla="*/ 236 w 329"/>
                    <a:gd name="T21" fmla="*/ 34 h 492"/>
                    <a:gd name="T22" fmla="*/ 255 w 329"/>
                    <a:gd name="T23" fmla="*/ 49 h 492"/>
                    <a:gd name="T24" fmla="*/ 272 w 329"/>
                    <a:gd name="T25" fmla="*/ 72 h 492"/>
                    <a:gd name="T26" fmla="*/ 289 w 329"/>
                    <a:gd name="T27" fmla="*/ 98 h 492"/>
                    <a:gd name="T28" fmla="*/ 304 w 329"/>
                    <a:gd name="T29" fmla="*/ 135 h 492"/>
                    <a:gd name="T30" fmla="*/ 316 w 329"/>
                    <a:gd name="T31" fmla="*/ 176 h 492"/>
                    <a:gd name="T32" fmla="*/ 323 w 329"/>
                    <a:gd name="T33" fmla="*/ 226 h 492"/>
                    <a:gd name="T34" fmla="*/ 327 w 329"/>
                    <a:gd name="T35" fmla="*/ 273 h 492"/>
                    <a:gd name="T36" fmla="*/ 327 w 329"/>
                    <a:gd name="T37" fmla="*/ 317 h 492"/>
                    <a:gd name="T38" fmla="*/ 325 w 329"/>
                    <a:gd name="T39" fmla="*/ 357 h 492"/>
                    <a:gd name="T40" fmla="*/ 319 w 329"/>
                    <a:gd name="T41" fmla="*/ 393 h 492"/>
                    <a:gd name="T42" fmla="*/ 310 w 329"/>
                    <a:gd name="T43" fmla="*/ 424 h 492"/>
                    <a:gd name="T44" fmla="*/ 296 w 329"/>
                    <a:gd name="T45" fmla="*/ 448 h 492"/>
                    <a:gd name="T46" fmla="*/ 281 w 329"/>
                    <a:gd name="T47" fmla="*/ 467 h 492"/>
                    <a:gd name="T48" fmla="*/ 260 w 329"/>
                    <a:gd name="T49" fmla="*/ 483 h 492"/>
                    <a:gd name="T50" fmla="*/ 232 w 329"/>
                    <a:gd name="T51" fmla="*/ 490 h 492"/>
                    <a:gd name="T52" fmla="*/ 198 w 329"/>
                    <a:gd name="T53" fmla="*/ 492 h 492"/>
                    <a:gd name="T54" fmla="*/ 160 w 329"/>
                    <a:gd name="T55" fmla="*/ 488 h 492"/>
                    <a:gd name="T56" fmla="*/ 122 w 329"/>
                    <a:gd name="T57" fmla="*/ 477 h 492"/>
                    <a:gd name="T58" fmla="*/ 84 w 329"/>
                    <a:gd name="T59" fmla="*/ 460 h 492"/>
                    <a:gd name="T60" fmla="*/ 51 w 329"/>
                    <a:gd name="T61" fmla="*/ 435 h 492"/>
                    <a:gd name="T62" fmla="*/ 29 w 329"/>
                    <a:gd name="T63" fmla="*/ 403 h 492"/>
                    <a:gd name="T64" fmla="*/ 15 w 329"/>
                    <a:gd name="T65" fmla="*/ 361 h 492"/>
                    <a:gd name="T66" fmla="*/ 6 w 329"/>
                    <a:gd name="T67" fmla="*/ 319 h 492"/>
                    <a:gd name="T68" fmla="*/ 2 w 329"/>
                    <a:gd name="T69" fmla="*/ 275 h 492"/>
                    <a:gd name="T70" fmla="*/ 0 w 329"/>
                    <a:gd name="T71" fmla="*/ 235 h 492"/>
                    <a:gd name="T72" fmla="*/ 2 w 329"/>
                    <a:gd name="T73" fmla="*/ 195 h 492"/>
                    <a:gd name="T74" fmla="*/ 8 w 329"/>
                    <a:gd name="T75" fmla="*/ 159 h 492"/>
                    <a:gd name="T76" fmla="*/ 17 w 329"/>
                    <a:gd name="T77" fmla="*/ 129 h 492"/>
                    <a:gd name="T78" fmla="*/ 27 w 329"/>
                    <a:gd name="T79" fmla="*/ 106 h 492"/>
                    <a:gd name="T80" fmla="*/ 38 w 329"/>
                    <a:gd name="T81" fmla="*/ 89 h 492"/>
                    <a:gd name="T82" fmla="*/ 49 w 329"/>
                    <a:gd name="T83" fmla="*/ 74 h 492"/>
                    <a:gd name="T84" fmla="*/ 63 w 329"/>
                    <a:gd name="T85" fmla="*/ 58 h 492"/>
                    <a:gd name="T86" fmla="*/ 74 w 329"/>
                    <a:gd name="T87" fmla="*/ 43 h 492"/>
                    <a:gd name="T88" fmla="*/ 86 w 329"/>
                    <a:gd name="T89" fmla="*/ 30 h 492"/>
                    <a:gd name="T90" fmla="*/ 95 w 329"/>
                    <a:gd name="T91" fmla="*/ 20 h 492"/>
                    <a:gd name="T92" fmla="*/ 105 w 329"/>
                    <a:gd name="T93" fmla="*/ 11 h 492"/>
                    <a:gd name="T94" fmla="*/ 106 w 329"/>
                    <a:gd name="T95" fmla="*/ 9 h 4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492"/>
                    <a:gd name="T146" fmla="*/ 329 w 329"/>
                    <a:gd name="T147" fmla="*/ 492 h 4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492">
                      <a:moveTo>
                        <a:pt x="106" y="9"/>
                      </a:moveTo>
                      <a:lnTo>
                        <a:pt x="106" y="9"/>
                      </a:lnTo>
                      <a:lnTo>
                        <a:pt x="108" y="7"/>
                      </a:lnTo>
                      <a:lnTo>
                        <a:pt x="112" y="7"/>
                      </a:lnTo>
                      <a:lnTo>
                        <a:pt x="116" y="7"/>
                      </a:lnTo>
                      <a:lnTo>
                        <a:pt x="120" y="5"/>
                      </a:lnTo>
                      <a:lnTo>
                        <a:pt x="127" y="3"/>
                      </a:lnTo>
                      <a:lnTo>
                        <a:pt x="133" y="3"/>
                      </a:lnTo>
                      <a:lnTo>
                        <a:pt x="141" y="3"/>
                      </a:lnTo>
                      <a:lnTo>
                        <a:pt x="148" y="1"/>
                      </a:lnTo>
                      <a:lnTo>
                        <a:pt x="156" y="0"/>
                      </a:lnTo>
                      <a:lnTo>
                        <a:pt x="163" y="0"/>
                      </a:lnTo>
                      <a:lnTo>
                        <a:pt x="171" y="1"/>
                      </a:lnTo>
                      <a:lnTo>
                        <a:pt x="179" y="1"/>
                      </a:lnTo>
                      <a:lnTo>
                        <a:pt x="186" y="3"/>
                      </a:lnTo>
                      <a:lnTo>
                        <a:pt x="192" y="5"/>
                      </a:lnTo>
                      <a:lnTo>
                        <a:pt x="200" y="9"/>
                      </a:lnTo>
                      <a:lnTo>
                        <a:pt x="205" y="13"/>
                      </a:lnTo>
                      <a:lnTo>
                        <a:pt x="211" y="17"/>
                      </a:lnTo>
                      <a:lnTo>
                        <a:pt x="219" y="20"/>
                      </a:lnTo>
                      <a:lnTo>
                        <a:pt x="228" y="26"/>
                      </a:lnTo>
                      <a:lnTo>
                        <a:pt x="236" y="34"/>
                      </a:lnTo>
                      <a:lnTo>
                        <a:pt x="245" y="41"/>
                      </a:lnTo>
                      <a:lnTo>
                        <a:pt x="255" y="49"/>
                      </a:lnTo>
                      <a:lnTo>
                        <a:pt x="264" y="60"/>
                      </a:lnTo>
                      <a:lnTo>
                        <a:pt x="272" y="72"/>
                      </a:lnTo>
                      <a:lnTo>
                        <a:pt x="279" y="83"/>
                      </a:lnTo>
                      <a:lnTo>
                        <a:pt x="289" y="98"/>
                      </a:lnTo>
                      <a:lnTo>
                        <a:pt x="296" y="116"/>
                      </a:lnTo>
                      <a:lnTo>
                        <a:pt x="304" y="135"/>
                      </a:lnTo>
                      <a:lnTo>
                        <a:pt x="310" y="154"/>
                      </a:lnTo>
                      <a:lnTo>
                        <a:pt x="316" y="176"/>
                      </a:lnTo>
                      <a:lnTo>
                        <a:pt x="321" y="201"/>
                      </a:lnTo>
                      <a:lnTo>
                        <a:pt x="323" y="226"/>
                      </a:lnTo>
                      <a:lnTo>
                        <a:pt x="325" y="251"/>
                      </a:lnTo>
                      <a:lnTo>
                        <a:pt x="327" y="273"/>
                      </a:lnTo>
                      <a:lnTo>
                        <a:pt x="329" y="296"/>
                      </a:lnTo>
                      <a:lnTo>
                        <a:pt x="327" y="317"/>
                      </a:lnTo>
                      <a:lnTo>
                        <a:pt x="327" y="338"/>
                      </a:lnTo>
                      <a:lnTo>
                        <a:pt x="325" y="357"/>
                      </a:lnTo>
                      <a:lnTo>
                        <a:pt x="323" y="376"/>
                      </a:lnTo>
                      <a:lnTo>
                        <a:pt x="319" y="393"/>
                      </a:lnTo>
                      <a:lnTo>
                        <a:pt x="316" y="408"/>
                      </a:lnTo>
                      <a:lnTo>
                        <a:pt x="310" y="424"/>
                      </a:lnTo>
                      <a:lnTo>
                        <a:pt x="304" y="437"/>
                      </a:lnTo>
                      <a:lnTo>
                        <a:pt x="296" y="448"/>
                      </a:lnTo>
                      <a:lnTo>
                        <a:pt x="289" y="458"/>
                      </a:lnTo>
                      <a:lnTo>
                        <a:pt x="281" y="467"/>
                      </a:lnTo>
                      <a:lnTo>
                        <a:pt x="274" y="477"/>
                      </a:lnTo>
                      <a:lnTo>
                        <a:pt x="260" y="483"/>
                      </a:lnTo>
                      <a:lnTo>
                        <a:pt x="249" y="486"/>
                      </a:lnTo>
                      <a:lnTo>
                        <a:pt x="232" y="490"/>
                      </a:lnTo>
                      <a:lnTo>
                        <a:pt x="217" y="492"/>
                      </a:lnTo>
                      <a:lnTo>
                        <a:pt x="198" y="492"/>
                      </a:lnTo>
                      <a:lnTo>
                        <a:pt x="181" y="492"/>
                      </a:lnTo>
                      <a:lnTo>
                        <a:pt x="160" y="488"/>
                      </a:lnTo>
                      <a:lnTo>
                        <a:pt x="141" y="484"/>
                      </a:lnTo>
                      <a:lnTo>
                        <a:pt x="122" y="477"/>
                      </a:lnTo>
                      <a:lnTo>
                        <a:pt x="103" y="469"/>
                      </a:lnTo>
                      <a:lnTo>
                        <a:pt x="84" y="460"/>
                      </a:lnTo>
                      <a:lnTo>
                        <a:pt x="68" y="448"/>
                      </a:lnTo>
                      <a:lnTo>
                        <a:pt x="51" y="435"/>
                      </a:lnTo>
                      <a:lnTo>
                        <a:pt x="40" y="420"/>
                      </a:lnTo>
                      <a:lnTo>
                        <a:pt x="29" y="403"/>
                      </a:lnTo>
                      <a:lnTo>
                        <a:pt x="21" y="384"/>
                      </a:lnTo>
                      <a:lnTo>
                        <a:pt x="15" y="361"/>
                      </a:lnTo>
                      <a:lnTo>
                        <a:pt x="10" y="340"/>
                      </a:lnTo>
                      <a:lnTo>
                        <a:pt x="6" y="319"/>
                      </a:lnTo>
                      <a:lnTo>
                        <a:pt x="4" y="298"/>
                      </a:lnTo>
                      <a:lnTo>
                        <a:pt x="2" y="275"/>
                      </a:lnTo>
                      <a:lnTo>
                        <a:pt x="0" y="254"/>
                      </a:lnTo>
                      <a:lnTo>
                        <a:pt x="0" y="235"/>
                      </a:lnTo>
                      <a:lnTo>
                        <a:pt x="2" y="214"/>
                      </a:lnTo>
                      <a:lnTo>
                        <a:pt x="2" y="195"/>
                      </a:lnTo>
                      <a:lnTo>
                        <a:pt x="6" y="176"/>
                      </a:lnTo>
                      <a:lnTo>
                        <a:pt x="8" y="159"/>
                      </a:lnTo>
                      <a:lnTo>
                        <a:pt x="13" y="144"/>
                      </a:lnTo>
                      <a:lnTo>
                        <a:pt x="17" y="129"/>
                      </a:lnTo>
                      <a:lnTo>
                        <a:pt x="21" y="117"/>
                      </a:lnTo>
                      <a:lnTo>
                        <a:pt x="27" y="106"/>
                      </a:lnTo>
                      <a:lnTo>
                        <a:pt x="32" y="98"/>
                      </a:lnTo>
                      <a:lnTo>
                        <a:pt x="38" y="89"/>
                      </a:lnTo>
                      <a:lnTo>
                        <a:pt x="44" y="81"/>
                      </a:lnTo>
                      <a:lnTo>
                        <a:pt x="49" y="74"/>
                      </a:lnTo>
                      <a:lnTo>
                        <a:pt x="57" y="66"/>
                      </a:lnTo>
                      <a:lnTo>
                        <a:pt x="63" y="58"/>
                      </a:lnTo>
                      <a:lnTo>
                        <a:pt x="68" y="51"/>
                      </a:lnTo>
                      <a:lnTo>
                        <a:pt x="74" y="43"/>
                      </a:lnTo>
                      <a:lnTo>
                        <a:pt x="80" y="38"/>
                      </a:lnTo>
                      <a:lnTo>
                        <a:pt x="86" y="30"/>
                      </a:lnTo>
                      <a:lnTo>
                        <a:pt x="91" y="24"/>
                      </a:lnTo>
                      <a:lnTo>
                        <a:pt x="95" y="20"/>
                      </a:lnTo>
                      <a:lnTo>
                        <a:pt x="99" y="17"/>
                      </a:lnTo>
                      <a:lnTo>
                        <a:pt x="105" y="11"/>
                      </a:lnTo>
                      <a:lnTo>
                        <a:pt x="106" y="9"/>
                      </a:lnTo>
                      <a:close/>
                    </a:path>
                  </a:pathLst>
                </a:custGeom>
                <a:solidFill>
                  <a:srgbClr val="CC99FF"/>
                </a:solidFill>
                <a:ln w="9525">
                  <a:noFill/>
                  <a:round/>
                  <a:headEnd/>
                  <a:tailEnd/>
                </a:ln>
              </p:spPr>
              <p:txBody>
                <a:bodyPr/>
                <a:lstStyle/>
                <a:p>
                  <a:pPr algn="l" eaLnBrk="1" hangingPunct="1"/>
                  <a:endParaRPr lang="en-US"/>
                </a:p>
              </p:txBody>
            </p:sp>
            <p:sp>
              <p:nvSpPr>
                <p:cNvPr id="1464" name="Freeform 629"/>
                <p:cNvSpPr>
                  <a:spLocks noChangeAspect="1"/>
                </p:cNvSpPr>
                <p:nvPr/>
              </p:nvSpPr>
              <p:spPr bwMode="auto">
                <a:xfrm>
                  <a:off x="3863" y="2315"/>
                  <a:ext cx="132" cy="77"/>
                </a:xfrm>
                <a:custGeom>
                  <a:avLst/>
                  <a:gdLst>
                    <a:gd name="T0" fmla="*/ 1 w 264"/>
                    <a:gd name="T1" fmla="*/ 80 h 154"/>
                    <a:gd name="T2" fmla="*/ 1 w 264"/>
                    <a:gd name="T3" fmla="*/ 66 h 154"/>
                    <a:gd name="T4" fmla="*/ 7 w 264"/>
                    <a:gd name="T5" fmla="*/ 51 h 154"/>
                    <a:gd name="T6" fmla="*/ 20 w 264"/>
                    <a:gd name="T7" fmla="*/ 36 h 154"/>
                    <a:gd name="T8" fmla="*/ 38 w 264"/>
                    <a:gd name="T9" fmla="*/ 23 h 154"/>
                    <a:gd name="T10" fmla="*/ 60 w 264"/>
                    <a:gd name="T11" fmla="*/ 9 h 154"/>
                    <a:gd name="T12" fmla="*/ 87 w 264"/>
                    <a:gd name="T13" fmla="*/ 2 h 154"/>
                    <a:gd name="T14" fmla="*/ 119 w 264"/>
                    <a:gd name="T15" fmla="*/ 0 h 154"/>
                    <a:gd name="T16" fmla="*/ 153 w 264"/>
                    <a:gd name="T17" fmla="*/ 2 h 154"/>
                    <a:gd name="T18" fmla="*/ 186 w 264"/>
                    <a:gd name="T19" fmla="*/ 8 h 154"/>
                    <a:gd name="T20" fmla="*/ 212 w 264"/>
                    <a:gd name="T21" fmla="*/ 17 h 154"/>
                    <a:gd name="T22" fmla="*/ 233 w 264"/>
                    <a:gd name="T23" fmla="*/ 30 h 154"/>
                    <a:gd name="T24" fmla="*/ 248 w 264"/>
                    <a:gd name="T25" fmla="*/ 44 h 154"/>
                    <a:gd name="T26" fmla="*/ 258 w 264"/>
                    <a:gd name="T27" fmla="*/ 59 h 154"/>
                    <a:gd name="T28" fmla="*/ 262 w 264"/>
                    <a:gd name="T29" fmla="*/ 76 h 154"/>
                    <a:gd name="T30" fmla="*/ 260 w 264"/>
                    <a:gd name="T31" fmla="*/ 93 h 154"/>
                    <a:gd name="T32" fmla="*/ 254 w 264"/>
                    <a:gd name="T33" fmla="*/ 110 h 154"/>
                    <a:gd name="T34" fmla="*/ 241 w 264"/>
                    <a:gd name="T35" fmla="*/ 125 h 154"/>
                    <a:gd name="T36" fmla="*/ 224 w 264"/>
                    <a:gd name="T37" fmla="*/ 137 h 154"/>
                    <a:gd name="T38" fmla="*/ 201 w 264"/>
                    <a:gd name="T39" fmla="*/ 144 h 154"/>
                    <a:gd name="T40" fmla="*/ 178 w 264"/>
                    <a:gd name="T41" fmla="*/ 150 h 154"/>
                    <a:gd name="T42" fmla="*/ 153 w 264"/>
                    <a:gd name="T43" fmla="*/ 152 h 154"/>
                    <a:gd name="T44" fmla="*/ 127 w 264"/>
                    <a:gd name="T45" fmla="*/ 152 h 154"/>
                    <a:gd name="T46" fmla="*/ 104 w 264"/>
                    <a:gd name="T47" fmla="*/ 152 h 154"/>
                    <a:gd name="T48" fmla="*/ 81 w 264"/>
                    <a:gd name="T49" fmla="*/ 146 h 154"/>
                    <a:gd name="T50" fmla="*/ 62 w 264"/>
                    <a:gd name="T51" fmla="*/ 141 h 154"/>
                    <a:gd name="T52" fmla="*/ 45 w 264"/>
                    <a:gd name="T53" fmla="*/ 133 h 154"/>
                    <a:gd name="T54" fmla="*/ 32 w 264"/>
                    <a:gd name="T55" fmla="*/ 124 h 154"/>
                    <a:gd name="T56" fmla="*/ 22 w 264"/>
                    <a:gd name="T57" fmla="*/ 116 h 154"/>
                    <a:gd name="T58" fmla="*/ 15 w 264"/>
                    <a:gd name="T59" fmla="*/ 106 h 154"/>
                    <a:gd name="T60" fmla="*/ 9 w 264"/>
                    <a:gd name="T61" fmla="*/ 99 h 154"/>
                    <a:gd name="T62" fmla="*/ 5 w 264"/>
                    <a:gd name="T63" fmla="*/ 89 h 154"/>
                    <a:gd name="T64" fmla="*/ 3 w 264"/>
                    <a:gd name="T65" fmla="*/ 87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54"/>
                    <a:gd name="T101" fmla="*/ 264 w 264"/>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54">
                      <a:moveTo>
                        <a:pt x="3" y="87"/>
                      </a:moveTo>
                      <a:lnTo>
                        <a:pt x="1" y="80"/>
                      </a:lnTo>
                      <a:lnTo>
                        <a:pt x="0" y="74"/>
                      </a:lnTo>
                      <a:lnTo>
                        <a:pt x="1" y="66"/>
                      </a:lnTo>
                      <a:lnTo>
                        <a:pt x="3" y="61"/>
                      </a:lnTo>
                      <a:lnTo>
                        <a:pt x="7" y="51"/>
                      </a:lnTo>
                      <a:lnTo>
                        <a:pt x="13" y="44"/>
                      </a:lnTo>
                      <a:lnTo>
                        <a:pt x="20" y="36"/>
                      </a:lnTo>
                      <a:lnTo>
                        <a:pt x="28" y="30"/>
                      </a:lnTo>
                      <a:lnTo>
                        <a:pt x="38" y="23"/>
                      </a:lnTo>
                      <a:lnTo>
                        <a:pt x="49" y="15"/>
                      </a:lnTo>
                      <a:lnTo>
                        <a:pt x="60" y="9"/>
                      </a:lnTo>
                      <a:lnTo>
                        <a:pt x="74" y="6"/>
                      </a:lnTo>
                      <a:lnTo>
                        <a:pt x="87" y="2"/>
                      </a:lnTo>
                      <a:lnTo>
                        <a:pt x="104" y="0"/>
                      </a:lnTo>
                      <a:lnTo>
                        <a:pt x="119" y="0"/>
                      </a:lnTo>
                      <a:lnTo>
                        <a:pt x="138" y="0"/>
                      </a:lnTo>
                      <a:lnTo>
                        <a:pt x="153" y="2"/>
                      </a:lnTo>
                      <a:lnTo>
                        <a:pt x="171" y="4"/>
                      </a:lnTo>
                      <a:lnTo>
                        <a:pt x="186" y="8"/>
                      </a:lnTo>
                      <a:lnTo>
                        <a:pt x="199" y="13"/>
                      </a:lnTo>
                      <a:lnTo>
                        <a:pt x="212" y="17"/>
                      </a:lnTo>
                      <a:lnTo>
                        <a:pt x="222" y="23"/>
                      </a:lnTo>
                      <a:lnTo>
                        <a:pt x="233" y="30"/>
                      </a:lnTo>
                      <a:lnTo>
                        <a:pt x="241" y="36"/>
                      </a:lnTo>
                      <a:lnTo>
                        <a:pt x="248" y="44"/>
                      </a:lnTo>
                      <a:lnTo>
                        <a:pt x="254" y="51"/>
                      </a:lnTo>
                      <a:lnTo>
                        <a:pt x="258" y="59"/>
                      </a:lnTo>
                      <a:lnTo>
                        <a:pt x="262" y="66"/>
                      </a:lnTo>
                      <a:lnTo>
                        <a:pt x="262" y="76"/>
                      </a:lnTo>
                      <a:lnTo>
                        <a:pt x="264" y="85"/>
                      </a:lnTo>
                      <a:lnTo>
                        <a:pt x="260" y="93"/>
                      </a:lnTo>
                      <a:lnTo>
                        <a:pt x="258" y="103"/>
                      </a:lnTo>
                      <a:lnTo>
                        <a:pt x="254" y="110"/>
                      </a:lnTo>
                      <a:lnTo>
                        <a:pt x="247" y="118"/>
                      </a:lnTo>
                      <a:lnTo>
                        <a:pt x="241" y="125"/>
                      </a:lnTo>
                      <a:lnTo>
                        <a:pt x="233" y="131"/>
                      </a:lnTo>
                      <a:lnTo>
                        <a:pt x="224" y="137"/>
                      </a:lnTo>
                      <a:lnTo>
                        <a:pt x="212" y="141"/>
                      </a:lnTo>
                      <a:lnTo>
                        <a:pt x="201" y="144"/>
                      </a:lnTo>
                      <a:lnTo>
                        <a:pt x="191" y="148"/>
                      </a:lnTo>
                      <a:lnTo>
                        <a:pt x="178" y="150"/>
                      </a:lnTo>
                      <a:lnTo>
                        <a:pt x="167" y="152"/>
                      </a:lnTo>
                      <a:lnTo>
                        <a:pt x="153" y="152"/>
                      </a:lnTo>
                      <a:lnTo>
                        <a:pt x="140" y="154"/>
                      </a:lnTo>
                      <a:lnTo>
                        <a:pt x="127" y="152"/>
                      </a:lnTo>
                      <a:lnTo>
                        <a:pt x="115" y="152"/>
                      </a:lnTo>
                      <a:lnTo>
                        <a:pt x="104" y="152"/>
                      </a:lnTo>
                      <a:lnTo>
                        <a:pt x="93" y="150"/>
                      </a:lnTo>
                      <a:lnTo>
                        <a:pt x="81" y="146"/>
                      </a:lnTo>
                      <a:lnTo>
                        <a:pt x="70" y="144"/>
                      </a:lnTo>
                      <a:lnTo>
                        <a:pt x="62" y="141"/>
                      </a:lnTo>
                      <a:lnTo>
                        <a:pt x="55" y="137"/>
                      </a:lnTo>
                      <a:lnTo>
                        <a:pt x="45" y="133"/>
                      </a:lnTo>
                      <a:lnTo>
                        <a:pt x="39" y="129"/>
                      </a:lnTo>
                      <a:lnTo>
                        <a:pt x="32" y="124"/>
                      </a:lnTo>
                      <a:lnTo>
                        <a:pt x="28" y="120"/>
                      </a:lnTo>
                      <a:lnTo>
                        <a:pt x="22" y="116"/>
                      </a:lnTo>
                      <a:lnTo>
                        <a:pt x="19" y="110"/>
                      </a:lnTo>
                      <a:lnTo>
                        <a:pt x="15" y="106"/>
                      </a:lnTo>
                      <a:lnTo>
                        <a:pt x="13" y="103"/>
                      </a:lnTo>
                      <a:lnTo>
                        <a:pt x="9" y="99"/>
                      </a:lnTo>
                      <a:lnTo>
                        <a:pt x="7" y="93"/>
                      </a:lnTo>
                      <a:lnTo>
                        <a:pt x="5" y="89"/>
                      </a:lnTo>
                      <a:lnTo>
                        <a:pt x="3" y="87"/>
                      </a:lnTo>
                      <a:close/>
                    </a:path>
                  </a:pathLst>
                </a:custGeom>
                <a:solidFill>
                  <a:srgbClr val="FFFFD9"/>
                </a:solidFill>
                <a:ln w="9525">
                  <a:noFill/>
                  <a:round/>
                  <a:headEnd/>
                  <a:tailEnd/>
                </a:ln>
              </p:spPr>
              <p:txBody>
                <a:bodyPr/>
                <a:lstStyle/>
                <a:p>
                  <a:pPr algn="l" eaLnBrk="1" hangingPunct="1"/>
                  <a:endParaRPr lang="en-US"/>
                </a:p>
              </p:txBody>
            </p:sp>
            <p:sp>
              <p:nvSpPr>
                <p:cNvPr id="1465" name="Freeform 630"/>
                <p:cNvSpPr>
                  <a:spLocks noChangeAspect="1"/>
                </p:cNvSpPr>
                <p:nvPr/>
              </p:nvSpPr>
              <p:spPr bwMode="auto">
                <a:xfrm>
                  <a:off x="3878" y="2174"/>
                  <a:ext cx="82" cy="53"/>
                </a:xfrm>
                <a:custGeom>
                  <a:avLst/>
                  <a:gdLst>
                    <a:gd name="T0" fmla="*/ 19 w 163"/>
                    <a:gd name="T1" fmla="*/ 21 h 106"/>
                    <a:gd name="T2" fmla="*/ 11 w 163"/>
                    <a:gd name="T3" fmla="*/ 29 h 106"/>
                    <a:gd name="T4" fmla="*/ 6 w 163"/>
                    <a:gd name="T5" fmla="*/ 40 h 106"/>
                    <a:gd name="T6" fmla="*/ 2 w 163"/>
                    <a:gd name="T7" fmla="*/ 48 h 106"/>
                    <a:gd name="T8" fmla="*/ 0 w 163"/>
                    <a:gd name="T9" fmla="*/ 57 h 106"/>
                    <a:gd name="T10" fmla="*/ 0 w 163"/>
                    <a:gd name="T11" fmla="*/ 67 h 106"/>
                    <a:gd name="T12" fmla="*/ 2 w 163"/>
                    <a:gd name="T13" fmla="*/ 74 h 106"/>
                    <a:gd name="T14" fmla="*/ 9 w 163"/>
                    <a:gd name="T15" fmla="*/ 82 h 106"/>
                    <a:gd name="T16" fmla="*/ 19 w 163"/>
                    <a:gd name="T17" fmla="*/ 89 h 106"/>
                    <a:gd name="T18" fmla="*/ 32 w 163"/>
                    <a:gd name="T19" fmla="*/ 97 h 106"/>
                    <a:gd name="T20" fmla="*/ 46 w 163"/>
                    <a:gd name="T21" fmla="*/ 101 h 106"/>
                    <a:gd name="T22" fmla="*/ 63 w 163"/>
                    <a:gd name="T23" fmla="*/ 105 h 106"/>
                    <a:gd name="T24" fmla="*/ 78 w 163"/>
                    <a:gd name="T25" fmla="*/ 106 h 106"/>
                    <a:gd name="T26" fmla="*/ 93 w 163"/>
                    <a:gd name="T27" fmla="*/ 105 h 106"/>
                    <a:gd name="T28" fmla="*/ 106 w 163"/>
                    <a:gd name="T29" fmla="*/ 101 h 106"/>
                    <a:gd name="T30" fmla="*/ 120 w 163"/>
                    <a:gd name="T31" fmla="*/ 97 h 106"/>
                    <a:gd name="T32" fmla="*/ 131 w 163"/>
                    <a:gd name="T33" fmla="*/ 91 h 106"/>
                    <a:gd name="T34" fmla="*/ 142 w 163"/>
                    <a:gd name="T35" fmla="*/ 84 h 106"/>
                    <a:gd name="T36" fmla="*/ 152 w 163"/>
                    <a:gd name="T37" fmla="*/ 76 h 106"/>
                    <a:gd name="T38" fmla="*/ 160 w 163"/>
                    <a:gd name="T39" fmla="*/ 67 h 106"/>
                    <a:gd name="T40" fmla="*/ 163 w 163"/>
                    <a:gd name="T41" fmla="*/ 55 h 106"/>
                    <a:gd name="T42" fmla="*/ 161 w 163"/>
                    <a:gd name="T43" fmla="*/ 44 h 106"/>
                    <a:gd name="T44" fmla="*/ 154 w 163"/>
                    <a:gd name="T45" fmla="*/ 32 h 106"/>
                    <a:gd name="T46" fmla="*/ 146 w 163"/>
                    <a:gd name="T47" fmla="*/ 23 h 106"/>
                    <a:gd name="T48" fmla="*/ 137 w 163"/>
                    <a:gd name="T49" fmla="*/ 13 h 106"/>
                    <a:gd name="T50" fmla="*/ 127 w 163"/>
                    <a:gd name="T51" fmla="*/ 8 h 106"/>
                    <a:gd name="T52" fmla="*/ 116 w 163"/>
                    <a:gd name="T53" fmla="*/ 4 h 106"/>
                    <a:gd name="T54" fmla="*/ 104 w 163"/>
                    <a:gd name="T55" fmla="*/ 0 h 106"/>
                    <a:gd name="T56" fmla="*/ 93 w 163"/>
                    <a:gd name="T57" fmla="*/ 0 h 106"/>
                    <a:gd name="T58" fmla="*/ 84 w 163"/>
                    <a:gd name="T59" fmla="*/ 0 h 106"/>
                    <a:gd name="T60" fmla="*/ 72 w 163"/>
                    <a:gd name="T61" fmla="*/ 0 h 106"/>
                    <a:gd name="T62" fmla="*/ 61 w 163"/>
                    <a:gd name="T63" fmla="*/ 4 h 106"/>
                    <a:gd name="T64" fmla="*/ 51 w 163"/>
                    <a:gd name="T65" fmla="*/ 8 h 106"/>
                    <a:gd name="T66" fmla="*/ 42 w 163"/>
                    <a:gd name="T67" fmla="*/ 10 h 106"/>
                    <a:gd name="T68" fmla="*/ 34 w 163"/>
                    <a:gd name="T69" fmla="*/ 13 h 106"/>
                    <a:gd name="T70" fmla="*/ 27 w 163"/>
                    <a:gd name="T71" fmla="*/ 15 h 106"/>
                    <a:gd name="T72" fmla="*/ 21 w 163"/>
                    <a:gd name="T73" fmla="*/ 19 h 106"/>
                    <a:gd name="T74" fmla="*/ 19 w 163"/>
                    <a:gd name="T75" fmla="*/ 19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106"/>
                    <a:gd name="T116" fmla="*/ 163 w 163"/>
                    <a:gd name="T117" fmla="*/ 106 h 1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106">
                      <a:moveTo>
                        <a:pt x="19" y="19"/>
                      </a:moveTo>
                      <a:lnTo>
                        <a:pt x="19" y="21"/>
                      </a:lnTo>
                      <a:lnTo>
                        <a:pt x="15" y="25"/>
                      </a:lnTo>
                      <a:lnTo>
                        <a:pt x="11" y="29"/>
                      </a:lnTo>
                      <a:lnTo>
                        <a:pt x="9" y="36"/>
                      </a:lnTo>
                      <a:lnTo>
                        <a:pt x="6" y="40"/>
                      </a:lnTo>
                      <a:lnTo>
                        <a:pt x="4" y="44"/>
                      </a:lnTo>
                      <a:lnTo>
                        <a:pt x="2" y="48"/>
                      </a:lnTo>
                      <a:lnTo>
                        <a:pt x="2" y="51"/>
                      </a:lnTo>
                      <a:lnTo>
                        <a:pt x="0" y="57"/>
                      </a:lnTo>
                      <a:lnTo>
                        <a:pt x="0" y="61"/>
                      </a:lnTo>
                      <a:lnTo>
                        <a:pt x="0" y="67"/>
                      </a:lnTo>
                      <a:lnTo>
                        <a:pt x="2" y="70"/>
                      </a:lnTo>
                      <a:lnTo>
                        <a:pt x="2" y="74"/>
                      </a:lnTo>
                      <a:lnTo>
                        <a:pt x="6" y="78"/>
                      </a:lnTo>
                      <a:lnTo>
                        <a:pt x="9" y="82"/>
                      </a:lnTo>
                      <a:lnTo>
                        <a:pt x="15" y="87"/>
                      </a:lnTo>
                      <a:lnTo>
                        <a:pt x="19" y="89"/>
                      </a:lnTo>
                      <a:lnTo>
                        <a:pt x="25" y="93"/>
                      </a:lnTo>
                      <a:lnTo>
                        <a:pt x="32" y="97"/>
                      </a:lnTo>
                      <a:lnTo>
                        <a:pt x="40" y="101"/>
                      </a:lnTo>
                      <a:lnTo>
                        <a:pt x="46" y="101"/>
                      </a:lnTo>
                      <a:lnTo>
                        <a:pt x="55" y="105"/>
                      </a:lnTo>
                      <a:lnTo>
                        <a:pt x="63" y="105"/>
                      </a:lnTo>
                      <a:lnTo>
                        <a:pt x="70" y="106"/>
                      </a:lnTo>
                      <a:lnTo>
                        <a:pt x="78" y="106"/>
                      </a:lnTo>
                      <a:lnTo>
                        <a:pt x="85" y="106"/>
                      </a:lnTo>
                      <a:lnTo>
                        <a:pt x="93" y="105"/>
                      </a:lnTo>
                      <a:lnTo>
                        <a:pt x="99" y="105"/>
                      </a:lnTo>
                      <a:lnTo>
                        <a:pt x="106" y="101"/>
                      </a:lnTo>
                      <a:lnTo>
                        <a:pt x="112" y="99"/>
                      </a:lnTo>
                      <a:lnTo>
                        <a:pt x="120" y="97"/>
                      </a:lnTo>
                      <a:lnTo>
                        <a:pt x="125" y="95"/>
                      </a:lnTo>
                      <a:lnTo>
                        <a:pt x="131" y="91"/>
                      </a:lnTo>
                      <a:lnTo>
                        <a:pt x="139" y="87"/>
                      </a:lnTo>
                      <a:lnTo>
                        <a:pt x="142" y="84"/>
                      </a:lnTo>
                      <a:lnTo>
                        <a:pt x="148" y="80"/>
                      </a:lnTo>
                      <a:lnTo>
                        <a:pt x="152" y="76"/>
                      </a:lnTo>
                      <a:lnTo>
                        <a:pt x="158" y="70"/>
                      </a:lnTo>
                      <a:lnTo>
                        <a:pt x="160" y="67"/>
                      </a:lnTo>
                      <a:lnTo>
                        <a:pt x="161" y="61"/>
                      </a:lnTo>
                      <a:lnTo>
                        <a:pt x="163" y="55"/>
                      </a:lnTo>
                      <a:lnTo>
                        <a:pt x="163" y="51"/>
                      </a:lnTo>
                      <a:lnTo>
                        <a:pt x="161" y="44"/>
                      </a:lnTo>
                      <a:lnTo>
                        <a:pt x="160" y="38"/>
                      </a:lnTo>
                      <a:lnTo>
                        <a:pt x="154" y="32"/>
                      </a:lnTo>
                      <a:lnTo>
                        <a:pt x="150" y="27"/>
                      </a:lnTo>
                      <a:lnTo>
                        <a:pt x="146" y="23"/>
                      </a:lnTo>
                      <a:lnTo>
                        <a:pt x="142" y="17"/>
                      </a:lnTo>
                      <a:lnTo>
                        <a:pt x="137" y="13"/>
                      </a:lnTo>
                      <a:lnTo>
                        <a:pt x="133" y="10"/>
                      </a:lnTo>
                      <a:lnTo>
                        <a:pt x="127" y="8"/>
                      </a:lnTo>
                      <a:lnTo>
                        <a:pt x="122" y="6"/>
                      </a:lnTo>
                      <a:lnTo>
                        <a:pt x="116" y="4"/>
                      </a:lnTo>
                      <a:lnTo>
                        <a:pt x="110" y="2"/>
                      </a:lnTo>
                      <a:lnTo>
                        <a:pt x="104" y="0"/>
                      </a:lnTo>
                      <a:lnTo>
                        <a:pt x="99" y="0"/>
                      </a:lnTo>
                      <a:lnTo>
                        <a:pt x="93" y="0"/>
                      </a:lnTo>
                      <a:lnTo>
                        <a:pt x="89" y="0"/>
                      </a:lnTo>
                      <a:lnTo>
                        <a:pt x="84" y="0"/>
                      </a:lnTo>
                      <a:lnTo>
                        <a:pt x="78" y="0"/>
                      </a:lnTo>
                      <a:lnTo>
                        <a:pt x="72" y="0"/>
                      </a:lnTo>
                      <a:lnTo>
                        <a:pt x="66" y="2"/>
                      </a:lnTo>
                      <a:lnTo>
                        <a:pt x="61" y="4"/>
                      </a:lnTo>
                      <a:lnTo>
                        <a:pt x="55" y="6"/>
                      </a:lnTo>
                      <a:lnTo>
                        <a:pt x="51" y="8"/>
                      </a:lnTo>
                      <a:lnTo>
                        <a:pt x="46" y="8"/>
                      </a:lnTo>
                      <a:lnTo>
                        <a:pt x="42" y="10"/>
                      </a:lnTo>
                      <a:lnTo>
                        <a:pt x="38" y="11"/>
                      </a:lnTo>
                      <a:lnTo>
                        <a:pt x="34" y="13"/>
                      </a:lnTo>
                      <a:lnTo>
                        <a:pt x="30" y="13"/>
                      </a:lnTo>
                      <a:lnTo>
                        <a:pt x="27" y="15"/>
                      </a:lnTo>
                      <a:lnTo>
                        <a:pt x="25" y="17"/>
                      </a:lnTo>
                      <a:lnTo>
                        <a:pt x="21" y="19"/>
                      </a:lnTo>
                      <a:lnTo>
                        <a:pt x="19" y="19"/>
                      </a:lnTo>
                      <a:close/>
                    </a:path>
                  </a:pathLst>
                </a:custGeom>
                <a:solidFill>
                  <a:schemeClr val="bg2"/>
                </a:solidFill>
                <a:ln w="9525">
                  <a:noFill/>
                  <a:round/>
                  <a:headEnd/>
                  <a:tailEnd/>
                </a:ln>
              </p:spPr>
              <p:txBody>
                <a:bodyPr/>
                <a:lstStyle/>
                <a:p>
                  <a:pPr algn="l" eaLnBrk="1" hangingPunct="1"/>
                  <a:endParaRPr lang="en-US"/>
                </a:p>
              </p:txBody>
            </p:sp>
            <p:sp>
              <p:nvSpPr>
                <p:cNvPr id="1466" name="Freeform 631"/>
                <p:cNvSpPr>
                  <a:spLocks noChangeAspect="1"/>
                </p:cNvSpPr>
                <p:nvPr/>
              </p:nvSpPr>
              <p:spPr bwMode="auto">
                <a:xfrm>
                  <a:off x="3885" y="2327"/>
                  <a:ext cx="94" cy="54"/>
                </a:xfrm>
                <a:custGeom>
                  <a:avLst/>
                  <a:gdLst>
                    <a:gd name="T0" fmla="*/ 0 w 188"/>
                    <a:gd name="T1" fmla="*/ 51 h 109"/>
                    <a:gd name="T2" fmla="*/ 8 w 188"/>
                    <a:gd name="T3" fmla="*/ 46 h 109"/>
                    <a:gd name="T4" fmla="*/ 19 w 188"/>
                    <a:gd name="T5" fmla="*/ 36 h 109"/>
                    <a:gd name="T6" fmla="*/ 33 w 188"/>
                    <a:gd name="T7" fmla="*/ 23 h 109"/>
                    <a:gd name="T8" fmla="*/ 50 w 188"/>
                    <a:gd name="T9" fmla="*/ 13 h 109"/>
                    <a:gd name="T10" fmla="*/ 67 w 188"/>
                    <a:gd name="T11" fmla="*/ 4 h 109"/>
                    <a:gd name="T12" fmla="*/ 82 w 188"/>
                    <a:gd name="T13" fmla="*/ 0 h 109"/>
                    <a:gd name="T14" fmla="*/ 93 w 188"/>
                    <a:gd name="T15" fmla="*/ 4 h 109"/>
                    <a:gd name="T16" fmla="*/ 101 w 188"/>
                    <a:gd name="T17" fmla="*/ 15 h 109"/>
                    <a:gd name="T18" fmla="*/ 103 w 188"/>
                    <a:gd name="T19" fmla="*/ 27 h 109"/>
                    <a:gd name="T20" fmla="*/ 103 w 188"/>
                    <a:gd name="T21" fmla="*/ 34 h 109"/>
                    <a:gd name="T22" fmla="*/ 101 w 188"/>
                    <a:gd name="T23" fmla="*/ 42 h 109"/>
                    <a:gd name="T24" fmla="*/ 97 w 188"/>
                    <a:gd name="T25" fmla="*/ 51 h 109"/>
                    <a:gd name="T26" fmla="*/ 97 w 188"/>
                    <a:gd name="T27" fmla="*/ 59 h 109"/>
                    <a:gd name="T28" fmla="*/ 103 w 188"/>
                    <a:gd name="T29" fmla="*/ 61 h 109"/>
                    <a:gd name="T30" fmla="*/ 112 w 188"/>
                    <a:gd name="T31" fmla="*/ 59 h 109"/>
                    <a:gd name="T32" fmla="*/ 124 w 188"/>
                    <a:gd name="T33" fmla="*/ 55 h 109"/>
                    <a:gd name="T34" fmla="*/ 135 w 188"/>
                    <a:gd name="T35" fmla="*/ 48 h 109"/>
                    <a:gd name="T36" fmla="*/ 147 w 188"/>
                    <a:gd name="T37" fmla="*/ 40 h 109"/>
                    <a:gd name="T38" fmla="*/ 158 w 188"/>
                    <a:gd name="T39" fmla="*/ 32 h 109"/>
                    <a:gd name="T40" fmla="*/ 167 w 188"/>
                    <a:gd name="T41" fmla="*/ 27 h 109"/>
                    <a:gd name="T42" fmla="*/ 175 w 188"/>
                    <a:gd name="T43" fmla="*/ 27 h 109"/>
                    <a:gd name="T44" fmla="*/ 183 w 188"/>
                    <a:gd name="T45" fmla="*/ 32 h 109"/>
                    <a:gd name="T46" fmla="*/ 188 w 188"/>
                    <a:gd name="T47" fmla="*/ 44 h 109"/>
                    <a:gd name="T48" fmla="*/ 186 w 188"/>
                    <a:gd name="T49" fmla="*/ 57 h 109"/>
                    <a:gd name="T50" fmla="*/ 177 w 188"/>
                    <a:gd name="T51" fmla="*/ 70 h 109"/>
                    <a:gd name="T52" fmla="*/ 166 w 188"/>
                    <a:gd name="T53" fmla="*/ 84 h 109"/>
                    <a:gd name="T54" fmla="*/ 150 w 188"/>
                    <a:gd name="T55" fmla="*/ 95 h 109"/>
                    <a:gd name="T56" fmla="*/ 137 w 188"/>
                    <a:gd name="T57" fmla="*/ 103 h 109"/>
                    <a:gd name="T58" fmla="*/ 124 w 188"/>
                    <a:gd name="T59" fmla="*/ 109 h 109"/>
                    <a:gd name="T60" fmla="*/ 114 w 188"/>
                    <a:gd name="T61" fmla="*/ 109 h 109"/>
                    <a:gd name="T62" fmla="*/ 109 w 188"/>
                    <a:gd name="T63" fmla="*/ 99 h 109"/>
                    <a:gd name="T64" fmla="*/ 105 w 188"/>
                    <a:gd name="T65" fmla="*/ 86 h 109"/>
                    <a:gd name="T66" fmla="*/ 105 w 188"/>
                    <a:gd name="T67" fmla="*/ 76 h 109"/>
                    <a:gd name="T68" fmla="*/ 101 w 188"/>
                    <a:gd name="T69" fmla="*/ 72 h 109"/>
                    <a:gd name="T70" fmla="*/ 90 w 188"/>
                    <a:gd name="T71" fmla="*/ 78 h 109"/>
                    <a:gd name="T72" fmla="*/ 80 w 188"/>
                    <a:gd name="T73" fmla="*/ 82 h 109"/>
                    <a:gd name="T74" fmla="*/ 71 w 188"/>
                    <a:gd name="T75" fmla="*/ 86 h 109"/>
                    <a:gd name="T76" fmla="*/ 59 w 188"/>
                    <a:gd name="T77" fmla="*/ 91 h 109"/>
                    <a:gd name="T78" fmla="*/ 48 w 188"/>
                    <a:gd name="T79" fmla="*/ 93 h 109"/>
                    <a:gd name="T80" fmla="*/ 38 w 188"/>
                    <a:gd name="T81" fmla="*/ 95 h 109"/>
                    <a:gd name="T82" fmla="*/ 29 w 188"/>
                    <a:gd name="T83" fmla="*/ 95 h 109"/>
                    <a:gd name="T84" fmla="*/ 27 w 188"/>
                    <a:gd name="T85" fmla="*/ 86 h 109"/>
                    <a:gd name="T86" fmla="*/ 38 w 188"/>
                    <a:gd name="T87" fmla="*/ 72 h 109"/>
                    <a:gd name="T88" fmla="*/ 52 w 188"/>
                    <a:gd name="T89" fmla="*/ 61 h 109"/>
                    <a:gd name="T90" fmla="*/ 55 w 188"/>
                    <a:gd name="T91" fmla="*/ 53 h 109"/>
                    <a:gd name="T92" fmla="*/ 48 w 188"/>
                    <a:gd name="T93" fmla="*/ 53 h 109"/>
                    <a:gd name="T94" fmla="*/ 38 w 188"/>
                    <a:gd name="T95" fmla="*/ 53 h 109"/>
                    <a:gd name="T96" fmla="*/ 29 w 188"/>
                    <a:gd name="T97" fmla="*/ 53 h 109"/>
                    <a:gd name="T98" fmla="*/ 21 w 188"/>
                    <a:gd name="T99" fmla="*/ 53 h 109"/>
                    <a:gd name="T100" fmla="*/ 12 w 188"/>
                    <a:gd name="T101" fmla="*/ 53 h 109"/>
                    <a:gd name="T102" fmla="*/ 2 w 188"/>
                    <a:gd name="T103" fmla="*/ 53 h 109"/>
                    <a:gd name="T104" fmla="*/ 0 w 188"/>
                    <a:gd name="T105" fmla="*/ 53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109"/>
                    <a:gd name="T161" fmla="*/ 188 w 188"/>
                    <a:gd name="T162" fmla="*/ 109 h 1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109">
                      <a:moveTo>
                        <a:pt x="0" y="53"/>
                      </a:moveTo>
                      <a:lnTo>
                        <a:pt x="0" y="51"/>
                      </a:lnTo>
                      <a:lnTo>
                        <a:pt x="4" y="50"/>
                      </a:lnTo>
                      <a:lnTo>
                        <a:pt x="8" y="46"/>
                      </a:lnTo>
                      <a:lnTo>
                        <a:pt x="14" y="42"/>
                      </a:lnTo>
                      <a:lnTo>
                        <a:pt x="19" y="36"/>
                      </a:lnTo>
                      <a:lnTo>
                        <a:pt x="27" y="31"/>
                      </a:lnTo>
                      <a:lnTo>
                        <a:pt x="33" y="23"/>
                      </a:lnTo>
                      <a:lnTo>
                        <a:pt x="42" y="19"/>
                      </a:lnTo>
                      <a:lnTo>
                        <a:pt x="50" y="13"/>
                      </a:lnTo>
                      <a:lnTo>
                        <a:pt x="57" y="8"/>
                      </a:lnTo>
                      <a:lnTo>
                        <a:pt x="67" y="4"/>
                      </a:lnTo>
                      <a:lnTo>
                        <a:pt x="74" y="2"/>
                      </a:lnTo>
                      <a:lnTo>
                        <a:pt x="82" y="0"/>
                      </a:lnTo>
                      <a:lnTo>
                        <a:pt x="90" y="2"/>
                      </a:lnTo>
                      <a:lnTo>
                        <a:pt x="93" y="4"/>
                      </a:lnTo>
                      <a:lnTo>
                        <a:pt x="99" y="10"/>
                      </a:lnTo>
                      <a:lnTo>
                        <a:pt x="101" y="15"/>
                      </a:lnTo>
                      <a:lnTo>
                        <a:pt x="103" y="21"/>
                      </a:lnTo>
                      <a:lnTo>
                        <a:pt x="103" y="27"/>
                      </a:lnTo>
                      <a:lnTo>
                        <a:pt x="105" y="31"/>
                      </a:lnTo>
                      <a:lnTo>
                        <a:pt x="103" y="34"/>
                      </a:lnTo>
                      <a:lnTo>
                        <a:pt x="101" y="38"/>
                      </a:lnTo>
                      <a:lnTo>
                        <a:pt x="101" y="42"/>
                      </a:lnTo>
                      <a:lnTo>
                        <a:pt x="99" y="48"/>
                      </a:lnTo>
                      <a:lnTo>
                        <a:pt x="97" y="51"/>
                      </a:lnTo>
                      <a:lnTo>
                        <a:pt x="97" y="57"/>
                      </a:lnTo>
                      <a:lnTo>
                        <a:pt x="97" y="59"/>
                      </a:lnTo>
                      <a:lnTo>
                        <a:pt x="99" y="59"/>
                      </a:lnTo>
                      <a:lnTo>
                        <a:pt x="103" y="61"/>
                      </a:lnTo>
                      <a:lnTo>
                        <a:pt x="109" y="61"/>
                      </a:lnTo>
                      <a:lnTo>
                        <a:pt x="112" y="59"/>
                      </a:lnTo>
                      <a:lnTo>
                        <a:pt x="118" y="59"/>
                      </a:lnTo>
                      <a:lnTo>
                        <a:pt x="124" y="55"/>
                      </a:lnTo>
                      <a:lnTo>
                        <a:pt x="129" y="51"/>
                      </a:lnTo>
                      <a:lnTo>
                        <a:pt x="135" y="48"/>
                      </a:lnTo>
                      <a:lnTo>
                        <a:pt x="141" y="44"/>
                      </a:lnTo>
                      <a:lnTo>
                        <a:pt x="147" y="40"/>
                      </a:lnTo>
                      <a:lnTo>
                        <a:pt x="152" y="36"/>
                      </a:lnTo>
                      <a:lnTo>
                        <a:pt x="158" y="32"/>
                      </a:lnTo>
                      <a:lnTo>
                        <a:pt x="162" y="31"/>
                      </a:lnTo>
                      <a:lnTo>
                        <a:pt x="167" y="27"/>
                      </a:lnTo>
                      <a:lnTo>
                        <a:pt x="171" y="27"/>
                      </a:lnTo>
                      <a:lnTo>
                        <a:pt x="175" y="27"/>
                      </a:lnTo>
                      <a:lnTo>
                        <a:pt x="179" y="29"/>
                      </a:lnTo>
                      <a:lnTo>
                        <a:pt x="183" y="32"/>
                      </a:lnTo>
                      <a:lnTo>
                        <a:pt x="186" y="38"/>
                      </a:lnTo>
                      <a:lnTo>
                        <a:pt x="188" y="44"/>
                      </a:lnTo>
                      <a:lnTo>
                        <a:pt x="188" y="50"/>
                      </a:lnTo>
                      <a:lnTo>
                        <a:pt x="186" y="57"/>
                      </a:lnTo>
                      <a:lnTo>
                        <a:pt x="183" y="65"/>
                      </a:lnTo>
                      <a:lnTo>
                        <a:pt x="177" y="70"/>
                      </a:lnTo>
                      <a:lnTo>
                        <a:pt x="171" y="78"/>
                      </a:lnTo>
                      <a:lnTo>
                        <a:pt x="166" y="84"/>
                      </a:lnTo>
                      <a:lnTo>
                        <a:pt x="160" y="90"/>
                      </a:lnTo>
                      <a:lnTo>
                        <a:pt x="150" y="95"/>
                      </a:lnTo>
                      <a:lnTo>
                        <a:pt x="145" y="99"/>
                      </a:lnTo>
                      <a:lnTo>
                        <a:pt x="137" y="103"/>
                      </a:lnTo>
                      <a:lnTo>
                        <a:pt x="131" y="107"/>
                      </a:lnTo>
                      <a:lnTo>
                        <a:pt x="124" y="109"/>
                      </a:lnTo>
                      <a:lnTo>
                        <a:pt x="120" y="109"/>
                      </a:lnTo>
                      <a:lnTo>
                        <a:pt x="114" y="109"/>
                      </a:lnTo>
                      <a:lnTo>
                        <a:pt x="112" y="107"/>
                      </a:lnTo>
                      <a:lnTo>
                        <a:pt x="109" y="99"/>
                      </a:lnTo>
                      <a:lnTo>
                        <a:pt x="107" y="93"/>
                      </a:lnTo>
                      <a:lnTo>
                        <a:pt x="105" y="86"/>
                      </a:lnTo>
                      <a:lnTo>
                        <a:pt x="107" y="80"/>
                      </a:lnTo>
                      <a:lnTo>
                        <a:pt x="105" y="76"/>
                      </a:lnTo>
                      <a:lnTo>
                        <a:pt x="105" y="74"/>
                      </a:lnTo>
                      <a:lnTo>
                        <a:pt x="101" y="72"/>
                      </a:lnTo>
                      <a:lnTo>
                        <a:pt x="95" y="76"/>
                      </a:lnTo>
                      <a:lnTo>
                        <a:pt x="90" y="78"/>
                      </a:lnTo>
                      <a:lnTo>
                        <a:pt x="86" y="80"/>
                      </a:lnTo>
                      <a:lnTo>
                        <a:pt x="80" y="82"/>
                      </a:lnTo>
                      <a:lnTo>
                        <a:pt x="76" y="86"/>
                      </a:lnTo>
                      <a:lnTo>
                        <a:pt x="71" y="86"/>
                      </a:lnTo>
                      <a:lnTo>
                        <a:pt x="65" y="90"/>
                      </a:lnTo>
                      <a:lnTo>
                        <a:pt x="59" y="91"/>
                      </a:lnTo>
                      <a:lnTo>
                        <a:pt x="55" y="93"/>
                      </a:lnTo>
                      <a:lnTo>
                        <a:pt x="48" y="93"/>
                      </a:lnTo>
                      <a:lnTo>
                        <a:pt x="44" y="95"/>
                      </a:lnTo>
                      <a:lnTo>
                        <a:pt x="38" y="95"/>
                      </a:lnTo>
                      <a:lnTo>
                        <a:pt x="36" y="97"/>
                      </a:lnTo>
                      <a:lnTo>
                        <a:pt x="29" y="95"/>
                      </a:lnTo>
                      <a:lnTo>
                        <a:pt x="27" y="91"/>
                      </a:lnTo>
                      <a:lnTo>
                        <a:pt x="27" y="86"/>
                      </a:lnTo>
                      <a:lnTo>
                        <a:pt x="31" y="78"/>
                      </a:lnTo>
                      <a:lnTo>
                        <a:pt x="38" y="72"/>
                      </a:lnTo>
                      <a:lnTo>
                        <a:pt x="46" y="67"/>
                      </a:lnTo>
                      <a:lnTo>
                        <a:pt x="52" y="61"/>
                      </a:lnTo>
                      <a:lnTo>
                        <a:pt x="55" y="55"/>
                      </a:lnTo>
                      <a:lnTo>
                        <a:pt x="55" y="53"/>
                      </a:lnTo>
                      <a:lnTo>
                        <a:pt x="52" y="53"/>
                      </a:lnTo>
                      <a:lnTo>
                        <a:pt x="48" y="53"/>
                      </a:lnTo>
                      <a:lnTo>
                        <a:pt x="42" y="53"/>
                      </a:lnTo>
                      <a:lnTo>
                        <a:pt x="38" y="53"/>
                      </a:lnTo>
                      <a:lnTo>
                        <a:pt x="34" y="53"/>
                      </a:lnTo>
                      <a:lnTo>
                        <a:pt x="29" y="53"/>
                      </a:lnTo>
                      <a:lnTo>
                        <a:pt x="25" y="53"/>
                      </a:lnTo>
                      <a:lnTo>
                        <a:pt x="21" y="53"/>
                      </a:lnTo>
                      <a:lnTo>
                        <a:pt x="17" y="53"/>
                      </a:lnTo>
                      <a:lnTo>
                        <a:pt x="12" y="53"/>
                      </a:lnTo>
                      <a:lnTo>
                        <a:pt x="6" y="53"/>
                      </a:lnTo>
                      <a:lnTo>
                        <a:pt x="2" y="53"/>
                      </a:lnTo>
                      <a:lnTo>
                        <a:pt x="0" y="53"/>
                      </a:lnTo>
                      <a:close/>
                    </a:path>
                  </a:pathLst>
                </a:custGeom>
                <a:solidFill>
                  <a:srgbClr val="DBDEA8"/>
                </a:solidFill>
                <a:ln w="9525">
                  <a:noFill/>
                  <a:round/>
                  <a:headEnd/>
                  <a:tailEnd/>
                </a:ln>
              </p:spPr>
              <p:txBody>
                <a:bodyPr/>
                <a:lstStyle/>
                <a:p>
                  <a:pPr algn="l" eaLnBrk="1" hangingPunct="1"/>
                  <a:endParaRPr lang="en-US"/>
                </a:p>
              </p:txBody>
            </p:sp>
            <p:sp>
              <p:nvSpPr>
                <p:cNvPr id="1467" name="Freeform 632"/>
                <p:cNvSpPr>
                  <a:spLocks noChangeAspect="1"/>
                </p:cNvSpPr>
                <p:nvPr/>
              </p:nvSpPr>
              <p:spPr bwMode="auto">
                <a:xfrm>
                  <a:off x="3888" y="2218"/>
                  <a:ext cx="33" cy="79"/>
                </a:xfrm>
                <a:custGeom>
                  <a:avLst/>
                  <a:gdLst>
                    <a:gd name="T0" fmla="*/ 34 w 66"/>
                    <a:gd name="T1" fmla="*/ 11 h 158"/>
                    <a:gd name="T2" fmla="*/ 32 w 66"/>
                    <a:gd name="T3" fmla="*/ 13 h 158"/>
                    <a:gd name="T4" fmla="*/ 32 w 66"/>
                    <a:gd name="T5" fmla="*/ 15 h 158"/>
                    <a:gd name="T6" fmla="*/ 32 w 66"/>
                    <a:gd name="T7" fmla="*/ 19 h 158"/>
                    <a:gd name="T8" fmla="*/ 32 w 66"/>
                    <a:gd name="T9" fmla="*/ 27 h 158"/>
                    <a:gd name="T10" fmla="*/ 30 w 66"/>
                    <a:gd name="T11" fmla="*/ 32 h 158"/>
                    <a:gd name="T12" fmla="*/ 30 w 66"/>
                    <a:gd name="T13" fmla="*/ 40 h 158"/>
                    <a:gd name="T14" fmla="*/ 28 w 66"/>
                    <a:gd name="T15" fmla="*/ 49 h 158"/>
                    <a:gd name="T16" fmla="*/ 28 w 66"/>
                    <a:gd name="T17" fmla="*/ 59 h 158"/>
                    <a:gd name="T18" fmla="*/ 27 w 66"/>
                    <a:gd name="T19" fmla="*/ 67 h 158"/>
                    <a:gd name="T20" fmla="*/ 23 w 66"/>
                    <a:gd name="T21" fmla="*/ 78 h 158"/>
                    <a:gd name="T22" fmla="*/ 21 w 66"/>
                    <a:gd name="T23" fmla="*/ 87 h 158"/>
                    <a:gd name="T24" fmla="*/ 19 w 66"/>
                    <a:gd name="T25" fmla="*/ 97 h 158"/>
                    <a:gd name="T26" fmla="*/ 17 w 66"/>
                    <a:gd name="T27" fmla="*/ 105 h 158"/>
                    <a:gd name="T28" fmla="*/ 13 w 66"/>
                    <a:gd name="T29" fmla="*/ 114 h 158"/>
                    <a:gd name="T30" fmla="*/ 9 w 66"/>
                    <a:gd name="T31" fmla="*/ 120 h 158"/>
                    <a:gd name="T32" fmla="*/ 8 w 66"/>
                    <a:gd name="T33" fmla="*/ 127 h 158"/>
                    <a:gd name="T34" fmla="*/ 4 w 66"/>
                    <a:gd name="T35" fmla="*/ 131 h 158"/>
                    <a:gd name="T36" fmla="*/ 2 w 66"/>
                    <a:gd name="T37" fmla="*/ 135 h 158"/>
                    <a:gd name="T38" fmla="*/ 0 w 66"/>
                    <a:gd name="T39" fmla="*/ 139 h 158"/>
                    <a:gd name="T40" fmla="*/ 0 w 66"/>
                    <a:gd name="T41" fmla="*/ 144 h 158"/>
                    <a:gd name="T42" fmla="*/ 2 w 66"/>
                    <a:gd name="T43" fmla="*/ 150 h 158"/>
                    <a:gd name="T44" fmla="*/ 8 w 66"/>
                    <a:gd name="T45" fmla="*/ 156 h 158"/>
                    <a:gd name="T46" fmla="*/ 9 w 66"/>
                    <a:gd name="T47" fmla="*/ 158 h 158"/>
                    <a:gd name="T48" fmla="*/ 13 w 66"/>
                    <a:gd name="T49" fmla="*/ 158 h 158"/>
                    <a:gd name="T50" fmla="*/ 17 w 66"/>
                    <a:gd name="T51" fmla="*/ 158 h 158"/>
                    <a:gd name="T52" fmla="*/ 23 w 66"/>
                    <a:gd name="T53" fmla="*/ 158 h 158"/>
                    <a:gd name="T54" fmla="*/ 28 w 66"/>
                    <a:gd name="T55" fmla="*/ 158 h 158"/>
                    <a:gd name="T56" fmla="*/ 34 w 66"/>
                    <a:gd name="T57" fmla="*/ 156 h 158"/>
                    <a:gd name="T58" fmla="*/ 40 w 66"/>
                    <a:gd name="T59" fmla="*/ 154 h 158"/>
                    <a:gd name="T60" fmla="*/ 47 w 66"/>
                    <a:gd name="T61" fmla="*/ 150 h 158"/>
                    <a:gd name="T62" fmla="*/ 51 w 66"/>
                    <a:gd name="T63" fmla="*/ 144 h 158"/>
                    <a:gd name="T64" fmla="*/ 57 w 66"/>
                    <a:gd name="T65" fmla="*/ 139 h 158"/>
                    <a:gd name="T66" fmla="*/ 61 w 66"/>
                    <a:gd name="T67" fmla="*/ 133 h 158"/>
                    <a:gd name="T68" fmla="*/ 63 w 66"/>
                    <a:gd name="T69" fmla="*/ 124 h 158"/>
                    <a:gd name="T70" fmla="*/ 65 w 66"/>
                    <a:gd name="T71" fmla="*/ 114 h 158"/>
                    <a:gd name="T72" fmla="*/ 65 w 66"/>
                    <a:gd name="T73" fmla="*/ 105 h 158"/>
                    <a:gd name="T74" fmla="*/ 65 w 66"/>
                    <a:gd name="T75" fmla="*/ 95 h 158"/>
                    <a:gd name="T76" fmla="*/ 66 w 66"/>
                    <a:gd name="T77" fmla="*/ 86 h 158"/>
                    <a:gd name="T78" fmla="*/ 65 w 66"/>
                    <a:gd name="T79" fmla="*/ 74 h 158"/>
                    <a:gd name="T80" fmla="*/ 65 w 66"/>
                    <a:gd name="T81" fmla="*/ 65 h 158"/>
                    <a:gd name="T82" fmla="*/ 61 w 66"/>
                    <a:gd name="T83" fmla="*/ 53 h 158"/>
                    <a:gd name="T84" fmla="*/ 61 w 66"/>
                    <a:gd name="T85" fmla="*/ 46 h 158"/>
                    <a:gd name="T86" fmla="*/ 59 w 66"/>
                    <a:gd name="T87" fmla="*/ 36 h 158"/>
                    <a:gd name="T88" fmla="*/ 57 w 66"/>
                    <a:gd name="T89" fmla="*/ 28 h 158"/>
                    <a:gd name="T90" fmla="*/ 55 w 66"/>
                    <a:gd name="T91" fmla="*/ 21 h 158"/>
                    <a:gd name="T92" fmla="*/ 53 w 66"/>
                    <a:gd name="T93" fmla="*/ 17 h 158"/>
                    <a:gd name="T94" fmla="*/ 51 w 66"/>
                    <a:gd name="T95" fmla="*/ 11 h 158"/>
                    <a:gd name="T96" fmla="*/ 49 w 66"/>
                    <a:gd name="T97" fmla="*/ 8 h 158"/>
                    <a:gd name="T98" fmla="*/ 46 w 66"/>
                    <a:gd name="T99" fmla="*/ 6 h 158"/>
                    <a:gd name="T100" fmla="*/ 46 w 66"/>
                    <a:gd name="T101" fmla="*/ 4 h 158"/>
                    <a:gd name="T102" fmla="*/ 42 w 66"/>
                    <a:gd name="T103" fmla="*/ 0 h 158"/>
                    <a:gd name="T104" fmla="*/ 40 w 66"/>
                    <a:gd name="T105" fmla="*/ 0 h 158"/>
                    <a:gd name="T106" fmla="*/ 36 w 66"/>
                    <a:gd name="T107" fmla="*/ 0 h 158"/>
                    <a:gd name="T108" fmla="*/ 34 w 66"/>
                    <a:gd name="T109" fmla="*/ 4 h 158"/>
                    <a:gd name="T110" fmla="*/ 32 w 66"/>
                    <a:gd name="T111" fmla="*/ 8 h 158"/>
                    <a:gd name="T112" fmla="*/ 34 w 66"/>
                    <a:gd name="T113" fmla="*/ 11 h 158"/>
                    <a:gd name="T114" fmla="*/ 34 w 66"/>
                    <a:gd name="T115" fmla="*/ 11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
                    <a:gd name="T175" fmla="*/ 0 h 158"/>
                    <a:gd name="T176" fmla="*/ 66 w 66"/>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 h="158">
                      <a:moveTo>
                        <a:pt x="34" y="11"/>
                      </a:moveTo>
                      <a:lnTo>
                        <a:pt x="32" y="13"/>
                      </a:lnTo>
                      <a:lnTo>
                        <a:pt x="32" y="15"/>
                      </a:lnTo>
                      <a:lnTo>
                        <a:pt x="32" y="19"/>
                      </a:lnTo>
                      <a:lnTo>
                        <a:pt x="32" y="27"/>
                      </a:lnTo>
                      <a:lnTo>
                        <a:pt x="30" y="32"/>
                      </a:lnTo>
                      <a:lnTo>
                        <a:pt x="30" y="40"/>
                      </a:lnTo>
                      <a:lnTo>
                        <a:pt x="28" y="49"/>
                      </a:lnTo>
                      <a:lnTo>
                        <a:pt x="28" y="59"/>
                      </a:lnTo>
                      <a:lnTo>
                        <a:pt x="27" y="67"/>
                      </a:lnTo>
                      <a:lnTo>
                        <a:pt x="23" y="78"/>
                      </a:lnTo>
                      <a:lnTo>
                        <a:pt x="21" y="87"/>
                      </a:lnTo>
                      <a:lnTo>
                        <a:pt x="19" y="97"/>
                      </a:lnTo>
                      <a:lnTo>
                        <a:pt x="17" y="105"/>
                      </a:lnTo>
                      <a:lnTo>
                        <a:pt x="13" y="114"/>
                      </a:lnTo>
                      <a:lnTo>
                        <a:pt x="9" y="120"/>
                      </a:lnTo>
                      <a:lnTo>
                        <a:pt x="8" y="127"/>
                      </a:lnTo>
                      <a:lnTo>
                        <a:pt x="4" y="131"/>
                      </a:lnTo>
                      <a:lnTo>
                        <a:pt x="2" y="135"/>
                      </a:lnTo>
                      <a:lnTo>
                        <a:pt x="0" y="139"/>
                      </a:lnTo>
                      <a:lnTo>
                        <a:pt x="0" y="144"/>
                      </a:lnTo>
                      <a:lnTo>
                        <a:pt x="2" y="150"/>
                      </a:lnTo>
                      <a:lnTo>
                        <a:pt x="8" y="156"/>
                      </a:lnTo>
                      <a:lnTo>
                        <a:pt x="9" y="158"/>
                      </a:lnTo>
                      <a:lnTo>
                        <a:pt x="13" y="158"/>
                      </a:lnTo>
                      <a:lnTo>
                        <a:pt x="17" y="158"/>
                      </a:lnTo>
                      <a:lnTo>
                        <a:pt x="23" y="158"/>
                      </a:lnTo>
                      <a:lnTo>
                        <a:pt x="28" y="158"/>
                      </a:lnTo>
                      <a:lnTo>
                        <a:pt x="34" y="156"/>
                      </a:lnTo>
                      <a:lnTo>
                        <a:pt x="40" y="154"/>
                      </a:lnTo>
                      <a:lnTo>
                        <a:pt x="47" y="150"/>
                      </a:lnTo>
                      <a:lnTo>
                        <a:pt x="51" y="144"/>
                      </a:lnTo>
                      <a:lnTo>
                        <a:pt x="57" y="139"/>
                      </a:lnTo>
                      <a:lnTo>
                        <a:pt x="61" y="133"/>
                      </a:lnTo>
                      <a:lnTo>
                        <a:pt x="63" y="124"/>
                      </a:lnTo>
                      <a:lnTo>
                        <a:pt x="65" y="114"/>
                      </a:lnTo>
                      <a:lnTo>
                        <a:pt x="65" y="105"/>
                      </a:lnTo>
                      <a:lnTo>
                        <a:pt x="65" y="95"/>
                      </a:lnTo>
                      <a:lnTo>
                        <a:pt x="66" y="86"/>
                      </a:lnTo>
                      <a:lnTo>
                        <a:pt x="65" y="74"/>
                      </a:lnTo>
                      <a:lnTo>
                        <a:pt x="65" y="65"/>
                      </a:lnTo>
                      <a:lnTo>
                        <a:pt x="61" y="53"/>
                      </a:lnTo>
                      <a:lnTo>
                        <a:pt x="61" y="46"/>
                      </a:lnTo>
                      <a:lnTo>
                        <a:pt x="59" y="36"/>
                      </a:lnTo>
                      <a:lnTo>
                        <a:pt x="57" y="28"/>
                      </a:lnTo>
                      <a:lnTo>
                        <a:pt x="55" y="21"/>
                      </a:lnTo>
                      <a:lnTo>
                        <a:pt x="53" y="17"/>
                      </a:lnTo>
                      <a:lnTo>
                        <a:pt x="51" y="11"/>
                      </a:lnTo>
                      <a:lnTo>
                        <a:pt x="49" y="8"/>
                      </a:lnTo>
                      <a:lnTo>
                        <a:pt x="46" y="6"/>
                      </a:lnTo>
                      <a:lnTo>
                        <a:pt x="46" y="4"/>
                      </a:lnTo>
                      <a:lnTo>
                        <a:pt x="42" y="0"/>
                      </a:lnTo>
                      <a:lnTo>
                        <a:pt x="40" y="0"/>
                      </a:lnTo>
                      <a:lnTo>
                        <a:pt x="36" y="0"/>
                      </a:lnTo>
                      <a:lnTo>
                        <a:pt x="34" y="4"/>
                      </a:lnTo>
                      <a:lnTo>
                        <a:pt x="32" y="8"/>
                      </a:lnTo>
                      <a:lnTo>
                        <a:pt x="34" y="11"/>
                      </a:lnTo>
                      <a:close/>
                    </a:path>
                  </a:pathLst>
                </a:custGeom>
                <a:solidFill>
                  <a:srgbClr val="EBFFEB"/>
                </a:solidFill>
                <a:ln w="9525">
                  <a:noFill/>
                  <a:round/>
                  <a:headEnd/>
                  <a:tailEnd/>
                </a:ln>
              </p:spPr>
              <p:txBody>
                <a:bodyPr/>
                <a:lstStyle/>
                <a:p>
                  <a:pPr algn="l" eaLnBrk="1" hangingPunct="1"/>
                  <a:endParaRPr lang="en-US"/>
                </a:p>
              </p:txBody>
            </p:sp>
            <p:sp>
              <p:nvSpPr>
                <p:cNvPr id="1468" name="Freeform 633"/>
                <p:cNvSpPr>
                  <a:spLocks noChangeAspect="1"/>
                </p:cNvSpPr>
                <p:nvPr/>
              </p:nvSpPr>
              <p:spPr bwMode="auto">
                <a:xfrm>
                  <a:off x="3897" y="2180"/>
                  <a:ext cx="58" cy="39"/>
                </a:xfrm>
                <a:custGeom>
                  <a:avLst/>
                  <a:gdLst>
                    <a:gd name="T0" fmla="*/ 0 w 116"/>
                    <a:gd name="T1" fmla="*/ 38 h 78"/>
                    <a:gd name="T2" fmla="*/ 2 w 116"/>
                    <a:gd name="T3" fmla="*/ 38 h 78"/>
                    <a:gd name="T4" fmla="*/ 4 w 116"/>
                    <a:gd name="T5" fmla="*/ 38 h 78"/>
                    <a:gd name="T6" fmla="*/ 9 w 116"/>
                    <a:gd name="T7" fmla="*/ 40 h 78"/>
                    <a:gd name="T8" fmla="*/ 13 w 116"/>
                    <a:gd name="T9" fmla="*/ 40 h 78"/>
                    <a:gd name="T10" fmla="*/ 19 w 116"/>
                    <a:gd name="T11" fmla="*/ 40 h 78"/>
                    <a:gd name="T12" fmla="*/ 25 w 116"/>
                    <a:gd name="T13" fmla="*/ 40 h 78"/>
                    <a:gd name="T14" fmla="*/ 30 w 116"/>
                    <a:gd name="T15" fmla="*/ 40 h 78"/>
                    <a:gd name="T16" fmla="*/ 36 w 116"/>
                    <a:gd name="T17" fmla="*/ 40 h 78"/>
                    <a:gd name="T18" fmla="*/ 44 w 116"/>
                    <a:gd name="T19" fmla="*/ 40 h 78"/>
                    <a:gd name="T20" fmla="*/ 49 w 116"/>
                    <a:gd name="T21" fmla="*/ 40 h 78"/>
                    <a:gd name="T22" fmla="*/ 57 w 116"/>
                    <a:gd name="T23" fmla="*/ 40 h 78"/>
                    <a:gd name="T24" fmla="*/ 63 w 116"/>
                    <a:gd name="T25" fmla="*/ 38 h 78"/>
                    <a:gd name="T26" fmla="*/ 68 w 116"/>
                    <a:gd name="T27" fmla="*/ 38 h 78"/>
                    <a:gd name="T28" fmla="*/ 74 w 116"/>
                    <a:gd name="T29" fmla="*/ 37 h 78"/>
                    <a:gd name="T30" fmla="*/ 80 w 116"/>
                    <a:gd name="T31" fmla="*/ 37 h 78"/>
                    <a:gd name="T32" fmla="*/ 84 w 116"/>
                    <a:gd name="T33" fmla="*/ 33 h 78"/>
                    <a:gd name="T34" fmla="*/ 85 w 116"/>
                    <a:gd name="T35" fmla="*/ 31 h 78"/>
                    <a:gd name="T36" fmla="*/ 87 w 116"/>
                    <a:gd name="T37" fmla="*/ 27 h 78"/>
                    <a:gd name="T38" fmla="*/ 89 w 116"/>
                    <a:gd name="T39" fmla="*/ 25 h 78"/>
                    <a:gd name="T40" fmla="*/ 91 w 116"/>
                    <a:gd name="T41" fmla="*/ 19 h 78"/>
                    <a:gd name="T42" fmla="*/ 93 w 116"/>
                    <a:gd name="T43" fmla="*/ 14 h 78"/>
                    <a:gd name="T44" fmla="*/ 91 w 116"/>
                    <a:gd name="T45" fmla="*/ 8 h 78"/>
                    <a:gd name="T46" fmla="*/ 89 w 116"/>
                    <a:gd name="T47" fmla="*/ 4 h 78"/>
                    <a:gd name="T48" fmla="*/ 89 w 116"/>
                    <a:gd name="T49" fmla="*/ 2 h 78"/>
                    <a:gd name="T50" fmla="*/ 89 w 116"/>
                    <a:gd name="T51" fmla="*/ 0 h 78"/>
                    <a:gd name="T52" fmla="*/ 89 w 116"/>
                    <a:gd name="T53" fmla="*/ 0 h 78"/>
                    <a:gd name="T54" fmla="*/ 93 w 116"/>
                    <a:gd name="T55" fmla="*/ 2 h 78"/>
                    <a:gd name="T56" fmla="*/ 97 w 116"/>
                    <a:gd name="T57" fmla="*/ 6 h 78"/>
                    <a:gd name="T58" fmla="*/ 104 w 116"/>
                    <a:gd name="T59" fmla="*/ 10 h 78"/>
                    <a:gd name="T60" fmla="*/ 108 w 116"/>
                    <a:gd name="T61" fmla="*/ 14 h 78"/>
                    <a:gd name="T62" fmla="*/ 114 w 116"/>
                    <a:gd name="T63" fmla="*/ 21 h 78"/>
                    <a:gd name="T64" fmla="*/ 114 w 116"/>
                    <a:gd name="T65" fmla="*/ 25 h 78"/>
                    <a:gd name="T66" fmla="*/ 116 w 116"/>
                    <a:gd name="T67" fmla="*/ 29 h 78"/>
                    <a:gd name="T68" fmla="*/ 116 w 116"/>
                    <a:gd name="T69" fmla="*/ 33 h 78"/>
                    <a:gd name="T70" fmla="*/ 116 w 116"/>
                    <a:gd name="T71" fmla="*/ 38 h 78"/>
                    <a:gd name="T72" fmla="*/ 116 w 116"/>
                    <a:gd name="T73" fmla="*/ 42 h 78"/>
                    <a:gd name="T74" fmla="*/ 114 w 116"/>
                    <a:gd name="T75" fmla="*/ 48 h 78"/>
                    <a:gd name="T76" fmla="*/ 112 w 116"/>
                    <a:gd name="T77" fmla="*/ 52 h 78"/>
                    <a:gd name="T78" fmla="*/ 110 w 116"/>
                    <a:gd name="T79" fmla="*/ 56 h 78"/>
                    <a:gd name="T80" fmla="*/ 104 w 116"/>
                    <a:gd name="T81" fmla="*/ 61 h 78"/>
                    <a:gd name="T82" fmla="*/ 99 w 116"/>
                    <a:gd name="T83" fmla="*/ 69 h 78"/>
                    <a:gd name="T84" fmla="*/ 95 w 116"/>
                    <a:gd name="T85" fmla="*/ 71 h 78"/>
                    <a:gd name="T86" fmla="*/ 89 w 116"/>
                    <a:gd name="T87" fmla="*/ 73 h 78"/>
                    <a:gd name="T88" fmla="*/ 85 w 116"/>
                    <a:gd name="T89" fmla="*/ 75 h 78"/>
                    <a:gd name="T90" fmla="*/ 80 w 116"/>
                    <a:gd name="T91" fmla="*/ 76 h 78"/>
                    <a:gd name="T92" fmla="*/ 74 w 116"/>
                    <a:gd name="T93" fmla="*/ 76 h 78"/>
                    <a:gd name="T94" fmla="*/ 68 w 116"/>
                    <a:gd name="T95" fmla="*/ 76 h 78"/>
                    <a:gd name="T96" fmla="*/ 63 w 116"/>
                    <a:gd name="T97" fmla="*/ 78 h 78"/>
                    <a:gd name="T98" fmla="*/ 57 w 116"/>
                    <a:gd name="T99" fmla="*/ 78 h 78"/>
                    <a:gd name="T100" fmla="*/ 49 w 116"/>
                    <a:gd name="T101" fmla="*/ 78 h 78"/>
                    <a:gd name="T102" fmla="*/ 44 w 116"/>
                    <a:gd name="T103" fmla="*/ 76 h 78"/>
                    <a:gd name="T104" fmla="*/ 38 w 116"/>
                    <a:gd name="T105" fmla="*/ 75 h 78"/>
                    <a:gd name="T106" fmla="*/ 32 w 116"/>
                    <a:gd name="T107" fmla="*/ 73 h 78"/>
                    <a:gd name="T108" fmla="*/ 27 w 116"/>
                    <a:gd name="T109" fmla="*/ 69 h 78"/>
                    <a:gd name="T110" fmla="*/ 23 w 116"/>
                    <a:gd name="T111" fmla="*/ 65 h 78"/>
                    <a:gd name="T112" fmla="*/ 19 w 116"/>
                    <a:gd name="T113" fmla="*/ 61 h 78"/>
                    <a:gd name="T114" fmla="*/ 15 w 116"/>
                    <a:gd name="T115" fmla="*/ 59 h 78"/>
                    <a:gd name="T116" fmla="*/ 8 w 116"/>
                    <a:gd name="T117" fmla="*/ 50 h 78"/>
                    <a:gd name="T118" fmla="*/ 4 w 116"/>
                    <a:gd name="T119" fmla="*/ 44 h 78"/>
                    <a:gd name="T120" fmla="*/ 2 w 116"/>
                    <a:gd name="T121" fmla="*/ 40 h 78"/>
                    <a:gd name="T122" fmla="*/ 0 w 116"/>
                    <a:gd name="T123" fmla="*/ 38 h 78"/>
                    <a:gd name="T124" fmla="*/ 0 w 116"/>
                    <a:gd name="T125" fmla="*/ 38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78"/>
                    <a:gd name="T191" fmla="*/ 116 w 116"/>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78">
                      <a:moveTo>
                        <a:pt x="0" y="38"/>
                      </a:moveTo>
                      <a:lnTo>
                        <a:pt x="2" y="38"/>
                      </a:lnTo>
                      <a:lnTo>
                        <a:pt x="4" y="38"/>
                      </a:lnTo>
                      <a:lnTo>
                        <a:pt x="9" y="40"/>
                      </a:lnTo>
                      <a:lnTo>
                        <a:pt x="13" y="40"/>
                      </a:lnTo>
                      <a:lnTo>
                        <a:pt x="19" y="40"/>
                      </a:lnTo>
                      <a:lnTo>
                        <a:pt x="25" y="40"/>
                      </a:lnTo>
                      <a:lnTo>
                        <a:pt x="30" y="40"/>
                      </a:lnTo>
                      <a:lnTo>
                        <a:pt x="36" y="40"/>
                      </a:lnTo>
                      <a:lnTo>
                        <a:pt x="44" y="40"/>
                      </a:lnTo>
                      <a:lnTo>
                        <a:pt x="49" y="40"/>
                      </a:lnTo>
                      <a:lnTo>
                        <a:pt x="57" y="40"/>
                      </a:lnTo>
                      <a:lnTo>
                        <a:pt x="63" y="38"/>
                      </a:lnTo>
                      <a:lnTo>
                        <a:pt x="68" y="38"/>
                      </a:lnTo>
                      <a:lnTo>
                        <a:pt x="74" y="37"/>
                      </a:lnTo>
                      <a:lnTo>
                        <a:pt x="80" y="37"/>
                      </a:lnTo>
                      <a:lnTo>
                        <a:pt x="84" y="33"/>
                      </a:lnTo>
                      <a:lnTo>
                        <a:pt x="85" y="31"/>
                      </a:lnTo>
                      <a:lnTo>
                        <a:pt x="87" y="27"/>
                      </a:lnTo>
                      <a:lnTo>
                        <a:pt x="89" y="25"/>
                      </a:lnTo>
                      <a:lnTo>
                        <a:pt x="91" y="19"/>
                      </a:lnTo>
                      <a:lnTo>
                        <a:pt x="93" y="14"/>
                      </a:lnTo>
                      <a:lnTo>
                        <a:pt x="91" y="8"/>
                      </a:lnTo>
                      <a:lnTo>
                        <a:pt x="89" y="4"/>
                      </a:lnTo>
                      <a:lnTo>
                        <a:pt x="89" y="2"/>
                      </a:lnTo>
                      <a:lnTo>
                        <a:pt x="89" y="0"/>
                      </a:lnTo>
                      <a:lnTo>
                        <a:pt x="93" y="2"/>
                      </a:lnTo>
                      <a:lnTo>
                        <a:pt x="97" y="6"/>
                      </a:lnTo>
                      <a:lnTo>
                        <a:pt x="104" y="10"/>
                      </a:lnTo>
                      <a:lnTo>
                        <a:pt x="108" y="14"/>
                      </a:lnTo>
                      <a:lnTo>
                        <a:pt x="114" y="21"/>
                      </a:lnTo>
                      <a:lnTo>
                        <a:pt x="114" y="25"/>
                      </a:lnTo>
                      <a:lnTo>
                        <a:pt x="116" y="29"/>
                      </a:lnTo>
                      <a:lnTo>
                        <a:pt x="116" y="33"/>
                      </a:lnTo>
                      <a:lnTo>
                        <a:pt x="116" y="38"/>
                      </a:lnTo>
                      <a:lnTo>
                        <a:pt x="116" y="42"/>
                      </a:lnTo>
                      <a:lnTo>
                        <a:pt x="114" y="48"/>
                      </a:lnTo>
                      <a:lnTo>
                        <a:pt x="112" y="52"/>
                      </a:lnTo>
                      <a:lnTo>
                        <a:pt x="110" y="56"/>
                      </a:lnTo>
                      <a:lnTo>
                        <a:pt x="104" y="61"/>
                      </a:lnTo>
                      <a:lnTo>
                        <a:pt x="99" y="69"/>
                      </a:lnTo>
                      <a:lnTo>
                        <a:pt x="95" y="71"/>
                      </a:lnTo>
                      <a:lnTo>
                        <a:pt x="89" y="73"/>
                      </a:lnTo>
                      <a:lnTo>
                        <a:pt x="85" y="75"/>
                      </a:lnTo>
                      <a:lnTo>
                        <a:pt x="80" y="76"/>
                      </a:lnTo>
                      <a:lnTo>
                        <a:pt x="74" y="76"/>
                      </a:lnTo>
                      <a:lnTo>
                        <a:pt x="68" y="76"/>
                      </a:lnTo>
                      <a:lnTo>
                        <a:pt x="63" y="78"/>
                      </a:lnTo>
                      <a:lnTo>
                        <a:pt x="57" y="78"/>
                      </a:lnTo>
                      <a:lnTo>
                        <a:pt x="49" y="78"/>
                      </a:lnTo>
                      <a:lnTo>
                        <a:pt x="44" y="76"/>
                      </a:lnTo>
                      <a:lnTo>
                        <a:pt x="38" y="75"/>
                      </a:lnTo>
                      <a:lnTo>
                        <a:pt x="32" y="73"/>
                      </a:lnTo>
                      <a:lnTo>
                        <a:pt x="27" y="69"/>
                      </a:lnTo>
                      <a:lnTo>
                        <a:pt x="23" y="65"/>
                      </a:lnTo>
                      <a:lnTo>
                        <a:pt x="19" y="61"/>
                      </a:lnTo>
                      <a:lnTo>
                        <a:pt x="15" y="59"/>
                      </a:lnTo>
                      <a:lnTo>
                        <a:pt x="8" y="50"/>
                      </a:lnTo>
                      <a:lnTo>
                        <a:pt x="4" y="44"/>
                      </a:lnTo>
                      <a:lnTo>
                        <a:pt x="2" y="40"/>
                      </a:lnTo>
                      <a:lnTo>
                        <a:pt x="0" y="38"/>
                      </a:lnTo>
                      <a:close/>
                    </a:path>
                  </a:pathLst>
                </a:custGeom>
                <a:solidFill>
                  <a:srgbClr val="333333"/>
                </a:solidFill>
                <a:ln w="9525">
                  <a:noFill/>
                  <a:round/>
                  <a:headEnd/>
                  <a:tailEnd/>
                </a:ln>
              </p:spPr>
              <p:txBody>
                <a:bodyPr/>
                <a:lstStyle/>
                <a:p>
                  <a:pPr algn="l" eaLnBrk="1" hangingPunct="1"/>
                  <a:endParaRPr lang="en-US"/>
                </a:p>
              </p:txBody>
            </p:sp>
            <p:sp>
              <p:nvSpPr>
                <p:cNvPr id="1469" name="Freeform 634"/>
                <p:cNvSpPr>
                  <a:spLocks noChangeAspect="1"/>
                </p:cNvSpPr>
                <p:nvPr/>
              </p:nvSpPr>
              <p:spPr bwMode="auto">
                <a:xfrm>
                  <a:off x="3859" y="2348"/>
                  <a:ext cx="41" cy="141"/>
                </a:xfrm>
                <a:custGeom>
                  <a:avLst/>
                  <a:gdLst>
                    <a:gd name="T0" fmla="*/ 36 w 82"/>
                    <a:gd name="T1" fmla="*/ 1 h 281"/>
                    <a:gd name="T2" fmla="*/ 27 w 82"/>
                    <a:gd name="T3" fmla="*/ 7 h 281"/>
                    <a:gd name="T4" fmla="*/ 17 w 82"/>
                    <a:gd name="T5" fmla="*/ 15 h 281"/>
                    <a:gd name="T6" fmla="*/ 11 w 82"/>
                    <a:gd name="T7" fmla="*/ 28 h 281"/>
                    <a:gd name="T8" fmla="*/ 6 w 82"/>
                    <a:gd name="T9" fmla="*/ 43 h 281"/>
                    <a:gd name="T10" fmla="*/ 2 w 82"/>
                    <a:gd name="T11" fmla="*/ 60 h 281"/>
                    <a:gd name="T12" fmla="*/ 0 w 82"/>
                    <a:gd name="T13" fmla="*/ 78 h 281"/>
                    <a:gd name="T14" fmla="*/ 0 w 82"/>
                    <a:gd name="T15" fmla="*/ 98 h 281"/>
                    <a:gd name="T16" fmla="*/ 2 w 82"/>
                    <a:gd name="T17" fmla="*/ 119 h 281"/>
                    <a:gd name="T18" fmla="*/ 6 w 82"/>
                    <a:gd name="T19" fmla="*/ 140 h 281"/>
                    <a:gd name="T20" fmla="*/ 11 w 82"/>
                    <a:gd name="T21" fmla="*/ 165 h 281"/>
                    <a:gd name="T22" fmla="*/ 19 w 82"/>
                    <a:gd name="T23" fmla="*/ 188 h 281"/>
                    <a:gd name="T24" fmla="*/ 28 w 82"/>
                    <a:gd name="T25" fmla="*/ 213 h 281"/>
                    <a:gd name="T26" fmla="*/ 40 w 82"/>
                    <a:gd name="T27" fmla="*/ 233 h 281"/>
                    <a:gd name="T28" fmla="*/ 55 w 82"/>
                    <a:gd name="T29" fmla="*/ 254 h 281"/>
                    <a:gd name="T30" fmla="*/ 72 w 82"/>
                    <a:gd name="T31" fmla="*/ 271 h 281"/>
                    <a:gd name="T32" fmla="*/ 80 w 82"/>
                    <a:gd name="T33" fmla="*/ 277 h 281"/>
                    <a:gd name="T34" fmla="*/ 78 w 82"/>
                    <a:gd name="T35" fmla="*/ 266 h 281"/>
                    <a:gd name="T36" fmla="*/ 76 w 82"/>
                    <a:gd name="T37" fmla="*/ 247 h 281"/>
                    <a:gd name="T38" fmla="*/ 72 w 82"/>
                    <a:gd name="T39" fmla="*/ 220 h 281"/>
                    <a:gd name="T40" fmla="*/ 68 w 82"/>
                    <a:gd name="T41" fmla="*/ 192 h 281"/>
                    <a:gd name="T42" fmla="*/ 66 w 82"/>
                    <a:gd name="T43" fmla="*/ 161 h 281"/>
                    <a:gd name="T44" fmla="*/ 65 w 82"/>
                    <a:gd name="T45" fmla="*/ 135 h 281"/>
                    <a:gd name="T46" fmla="*/ 66 w 82"/>
                    <a:gd name="T47" fmla="*/ 112 h 281"/>
                    <a:gd name="T48" fmla="*/ 68 w 82"/>
                    <a:gd name="T49" fmla="*/ 95 h 281"/>
                    <a:gd name="T50" fmla="*/ 72 w 82"/>
                    <a:gd name="T51" fmla="*/ 78 h 281"/>
                    <a:gd name="T52" fmla="*/ 72 w 82"/>
                    <a:gd name="T53" fmla="*/ 59 h 281"/>
                    <a:gd name="T54" fmla="*/ 72 w 82"/>
                    <a:gd name="T55" fmla="*/ 41 h 281"/>
                    <a:gd name="T56" fmla="*/ 68 w 82"/>
                    <a:gd name="T57" fmla="*/ 24 h 281"/>
                    <a:gd name="T58" fmla="*/ 65 w 82"/>
                    <a:gd name="T59" fmla="*/ 11 h 281"/>
                    <a:gd name="T60" fmla="*/ 57 w 82"/>
                    <a:gd name="T61" fmla="*/ 1 h 281"/>
                    <a:gd name="T62" fmla="*/ 47 w 82"/>
                    <a:gd name="T63" fmla="*/ 0 h 281"/>
                    <a:gd name="T64" fmla="*/ 42 w 82"/>
                    <a:gd name="T65" fmla="*/ 0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2"/>
                    <a:gd name="T100" fmla="*/ 0 h 281"/>
                    <a:gd name="T101" fmla="*/ 82 w 82"/>
                    <a:gd name="T102" fmla="*/ 281 h 2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2" h="281">
                      <a:moveTo>
                        <a:pt x="42" y="0"/>
                      </a:moveTo>
                      <a:lnTo>
                        <a:pt x="36" y="1"/>
                      </a:lnTo>
                      <a:lnTo>
                        <a:pt x="30" y="3"/>
                      </a:lnTo>
                      <a:lnTo>
                        <a:pt x="27" y="7"/>
                      </a:lnTo>
                      <a:lnTo>
                        <a:pt x="21" y="11"/>
                      </a:lnTo>
                      <a:lnTo>
                        <a:pt x="17" y="15"/>
                      </a:lnTo>
                      <a:lnTo>
                        <a:pt x="15" y="22"/>
                      </a:lnTo>
                      <a:lnTo>
                        <a:pt x="11" y="28"/>
                      </a:lnTo>
                      <a:lnTo>
                        <a:pt x="9" y="36"/>
                      </a:lnTo>
                      <a:lnTo>
                        <a:pt x="6" y="43"/>
                      </a:lnTo>
                      <a:lnTo>
                        <a:pt x="4" y="51"/>
                      </a:lnTo>
                      <a:lnTo>
                        <a:pt x="2" y="60"/>
                      </a:lnTo>
                      <a:lnTo>
                        <a:pt x="2" y="68"/>
                      </a:lnTo>
                      <a:lnTo>
                        <a:pt x="0" y="78"/>
                      </a:lnTo>
                      <a:lnTo>
                        <a:pt x="0" y="87"/>
                      </a:lnTo>
                      <a:lnTo>
                        <a:pt x="0" y="98"/>
                      </a:lnTo>
                      <a:lnTo>
                        <a:pt x="2" y="108"/>
                      </a:lnTo>
                      <a:lnTo>
                        <a:pt x="2" y="119"/>
                      </a:lnTo>
                      <a:lnTo>
                        <a:pt x="4" y="131"/>
                      </a:lnTo>
                      <a:lnTo>
                        <a:pt x="6" y="140"/>
                      </a:lnTo>
                      <a:lnTo>
                        <a:pt x="9" y="154"/>
                      </a:lnTo>
                      <a:lnTo>
                        <a:pt x="11" y="165"/>
                      </a:lnTo>
                      <a:lnTo>
                        <a:pt x="15" y="176"/>
                      </a:lnTo>
                      <a:lnTo>
                        <a:pt x="19" y="188"/>
                      </a:lnTo>
                      <a:lnTo>
                        <a:pt x="25" y="201"/>
                      </a:lnTo>
                      <a:lnTo>
                        <a:pt x="28" y="213"/>
                      </a:lnTo>
                      <a:lnTo>
                        <a:pt x="34" y="224"/>
                      </a:lnTo>
                      <a:lnTo>
                        <a:pt x="40" y="233"/>
                      </a:lnTo>
                      <a:lnTo>
                        <a:pt x="47" y="245"/>
                      </a:lnTo>
                      <a:lnTo>
                        <a:pt x="55" y="254"/>
                      </a:lnTo>
                      <a:lnTo>
                        <a:pt x="63" y="264"/>
                      </a:lnTo>
                      <a:lnTo>
                        <a:pt x="72" y="271"/>
                      </a:lnTo>
                      <a:lnTo>
                        <a:pt x="82" y="281"/>
                      </a:lnTo>
                      <a:lnTo>
                        <a:pt x="80" y="277"/>
                      </a:lnTo>
                      <a:lnTo>
                        <a:pt x="80" y="273"/>
                      </a:lnTo>
                      <a:lnTo>
                        <a:pt x="78" y="266"/>
                      </a:lnTo>
                      <a:lnTo>
                        <a:pt x="78" y="258"/>
                      </a:lnTo>
                      <a:lnTo>
                        <a:pt x="76" y="247"/>
                      </a:lnTo>
                      <a:lnTo>
                        <a:pt x="74" y="233"/>
                      </a:lnTo>
                      <a:lnTo>
                        <a:pt x="72" y="220"/>
                      </a:lnTo>
                      <a:lnTo>
                        <a:pt x="72" y="207"/>
                      </a:lnTo>
                      <a:lnTo>
                        <a:pt x="68" y="192"/>
                      </a:lnTo>
                      <a:lnTo>
                        <a:pt x="68" y="178"/>
                      </a:lnTo>
                      <a:lnTo>
                        <a:pt x="66" y="161"/>
                      </a:lnTo>
                      <a:lnTo>
                        <a:pt x="66" y="148"/>
                      </a:lnTo>
                      <a:lnTo>
                        <a:pt x="65" y="135"/>
                      </a:lnTo>
                      <a:lnTo>
                        <a:pt x="65" y="123"/>
                      </a:lnTo>
                      <a:lnTo>
                        <a:pt x="66" y="112"/>
                      </a:lnTo>
                      <a:lnTo>
                        <a:pt x="68" y="104"/>
                      </a:lnTo>
                      <a:lnTo>
                        <a:pt x="68" y="95"/>
                      </a:lnTo>
                      <a:lnTo>
                        <a:pt x="70" y="87"/>
                      </a:lnTo>
                      <a:lnTo>
                        <a:pt x="72" y="78"/>
                      </a:lnTo>
                      <a:lnTo>
                        <a:pt x="72" y="68"/>
                      </a:lnTo>
                      <a:lnTo>
                        <a:pt x="72" y="59"/>
                      </a:lnTo>
                      <a:lnTo>
                        <a:pt x="72" y="49"/>
                      </a:lnTo>
                      <a:lnTo>
                        <a:pt x="72" y="41"/>
                      </a:lnTo>
                      <a:lnTo>
                        <a:pt x="72" y="34"/>
                      </a:lnTo>
                      <a:lnTo>
                        <a:pt x="68" y="24"/>
                      </a:lnTo>
                      <a:lnTo>
                        <a:pt x="68" y="19"/>
                      </a:lnTo>
                      <a:lnTo>
                        <a:pt x="65" y="11"/>
                      </a:lnTo>
                      <a:lnTo>
                        <a:pt x="63" y="7"/>
                      </a:lnTo>
                      <a:lnTo>
                        <a:pt x="57" y="1"/>
                      </a:lnTo>
                      <a:lnTo>
                        <a:pt x="53" y="0"/>
                      </a:lnTo>
                      <a:lnTo>
                        <a:pt x="47" y="0"/>
                      </a:lnTo>
                      <a:lnTo>
                        <a:pt x="42" y="0"/>
                      </a:lnTo>
                      <a:close/>
                    </a:path>
                  </a:pathLst>
                </a:custGeom>
                <a:solidFill>
                  <a:srgbClr val="F5FFF5"/>
                </a:solidFill>
                <a:ln w="9525">
                  <a:noFill/>
                  <a:round/>
                  <a:headEnd/>
                  <a:tailEnd/>
                </a:ln>
              </p:spPr>
              <p:txBody>
                <a:bodyPr/>
                <a:lstStyle/>
                <a:p>
                  <a:pPr algn="l" eaLnBrk="1" hangingPunct="1"/>
                  <a:endParaRPr lang="en-US"/>
                </a:p>
              </p:txBody>
            </p:sp>
            <p:sp>
              <p:nvSpPr>
                <p:cNvPr id="1470" name="Freeform 635"/>
                <p:cNvSpPr>
                  <a:spLocks noChangeAspect="1"/>
                </p:cNvSpPr>
                <p:nvPr/>
              </p:nvSpPr>
              <p:spPr bwMode="auto">
                <a:xfrm>
                  <a:off x="3878" y="2172"/>
                  <a:ext cx="68" cy="32"/>
                </a:xfrm>
                <a:custGeom>
                  <a:avLst/>
                  <a:gdLst>
                    <a:gd name="T0" fmla="*/ 93 w 137"/>
                    <a:gd name="T1" fmla="*/ 2 h 65"/>
                    <a:gd name="T2" fmla="*/ 87 w 137"/>
                    <a:gd name="T3" fmla="*/ 2 h 65"/>
                    <a:gd name="T4" fmla="*/ 78 w 137"/>
                    <a:gd name="T5" fmla="*/ 4 h 65"/>
                    <a:gd name="T6" fmla="*/ 67 w 137"/>
                    <a:gd name="T7" fmla="*/ 6 h 65"/>
                    <a:gd name="T8" fmla="*/ 55 w 137"/>
                    <a:gd name="T9" fmla="*/ 10 h 65"/>
                    <a:gd name="T10" fmla="*/ 46 w 137"/>
                    <a:gd name="T11" fmla="*/ 14 h 65"/>
                    <a:gd name="T12" fmla="*/ 38 w 137"/>
                    <a:gd name="T13" fmla="*/ 23 h 65"/>
                    <a:gd name="T14" fmla="*/ 44 w 137"/>
                    <a:gd name="T15" fmla="*/ 33 h 65"/>
                    <a:gd name="T16" fmla="*/ 55 w 137"/>
                    <a:gd name="T17" fmla="*/ 38 h 65"/>
                    <a:gd name="T18" fmla="*/ 70 w 137"/>
                    <a:gd name="T19" fmla="*/ 42 h 65"/>
                    <a:gd name="T20" fmla="*/ 86 w 137"/>
                    <a:gd name="T21" fmla="*/ 46 h 65"/>
                    <a:gd name="T22" fmla="*/ 103 w 137"/>
                    <a:gd name="T23" fmla="*/ 46 h 65"/>
                    <a:gd name="T24" fmla="*/ 116 w 137"/>
                    <a:gd name="T25" fmla="*/ 46 h 65"/>
                    <a:gd name="T26" fmla="*/ 129 w 137"/>
                    <a:gd name="T27" fmla="*/ 46 h 65"/>
                    <a:gd name="T28" fmla="*/ 135 w 137"/>
                    <a:gd name="T29" fmla="*/ 46 h 65"/>
                    <a:gd name="T30" fmla="*/ 135 w 137"/>
                    <a:gd name="T31" fmla="*/ 46 h 65"/>
                    <a:gd name="T32" fmla="*/ 127 w 137"/>
                    <a:gd name="T33" fmla="*/ 50 h 65"/>
                    <a:gd name="T34" fmla="*/ 116 w 137"/>
                    <a:gd name="T35" fmla="*/ 53 h 65"/>
                    <a:gd name="T36" fmla="*/ 99 w 137"/>
                    <a:gd name="T37" fmla="*/ 57 h 65"/>
                    <a:gd name="T38" fmla="*/ 80 w 137"/>
                    <a:gd name="T39" fmla="*/ 63 h 65"/>
                    <a:gd name="T40" fmla="*/ 61 w 137"/>
                    <a:gd name="T41" fmla="*/ 65 h 65"/>
                    <a:gd name="T42" fmla="*/ 42 w 137"/>
                    <a:gd name="T43" fmla="*/ 65 h 65"/>
                    <a:gd name="T44" fmla="*/ 23 w 137"/>
                    <a:gd name="T45" fmla="*/ 59 h 65"/>
                    <a:gd name="T46" fmla="*/ 10 w 137"/>
                    <a:gd name="T47" fmla="*/ 50 h 65"/>
                    <a:gd name="T48" fmla="*/ 2 w 137"/>
                    <a:gd name="T49" fmla="*/ 40 h 65"/>
                    <a:gd name="T50" fmla="*/ 0 w 137"/>
                    <a:gd name="T51" fmla="*/ 33 h 65"/>
                    <a:gd name="T52" fmla="*/ 2 w 137"/>
                    <a:gd name="T53" fmla="*/ 23 h 65"/>
                    <a:gd name="T54" fmla="*/ 8 w 137"/>
                    <a:gd name="T55" fmla="*/ 15 h 65"/>
                    <a:gd name="T56" fmla="*/ 13 w 137"/>
                    <a:gd name="T57" fmla="*/ 10 h 65"/>
                    <a:gd name="T58" fmla="*/ 23 w 137"/>
                    <a:gd name="T59" fmla="*/ 6 h 65"/>
                    <a:gd name="T60" fmla="*/ 30 w 137"/>
                    <a:gd name="T61" fmla="*/ 2 h 65"/>
                    <a:gd name="T62" fmla="*/ 38 w 137"/>
                    <a:gd name="T63" fmla="*/ 2 h 65"/>
                    <a:gd name="T64" fmla="*/ 46 w 137"/>
                    <a:gd name="T65" fmla="*/ 0 h 65"/>
                    <a:gd name="T66" fmla="*/ 55 w 137"/>
                    <a:gd name="T67" fmla="*/ 0 h 65"/>
                    <a:gd name="T68" fmla="*/ 67 w 137"/>
                    <a:gd name="T69" fmla="*/ 0 h 65"/>
                    <a:gd name="T70" fmla="*/ 76 w 137"/>
                    <a:gd name="T71" fmla="*/ 0 h 65"/>
                    <a:gd name="T72" fmla="*/ 84 w 137"/>
                    <a:gd name="T73" fmla="*/ 0 h 65"/>
                    <a:gd name="T74" fmla="*/ 93 w 137"/>
                    <a:gd name="T75" fmla="*/ 2 h 65"/>
                    <a:gd name="T76" fmla="*/ 95 w 137"/>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7"/>
                    <a:gd name="T118" fmla="*/ 0 h 65"/>
                    <a:gd name="T119" fmla="*/ 137 w 137"/>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7" h="65">
                      <a:moveTo>
                        <a:pt x="95" y="2"/>
                      </a:moveTo>
                      <a:lnTo>
                        <a:pt x="93" y="2"/>
                      </a:lnTo>
                      <a:lnTo>
                        <a:pt x="91" y="2"/>
                      </a:lnTo>
                      <a:lnTo>
                        <a:pt x="87" y="2"/>
                      </a:lnTo>
                      <a:lnTo>
                        <a:pt x="84" y="4"/>
                      </a:lnTo>
                      <a:lnTo>
                        <a:pt x="78" y="4"/>
                      </a:lnTo>
                      <a:lnTo>
                        <a:pt x="72" y="6"/>
                      </a:lnTo>
                      <a:lnTo>
                        <a:pt x="67" y="6"/>
                      </a:lnTo>
                      <a:lnTo>
                        <a:pt x="63" y="8"/>
                      </a:lnTo>
                      <a:lnTo>
                        <a:pt x="55" y="10"/>
                      </a:lnTo>
                      <a:lnTo>
                        <a:pt x="51" y="12"/>
                      </a:lnTo>
                      <a:lnTo>
                        <a:pt x="46" y="14"/>
                      </a:lnTo>
                      <a:lnTo>
                        <a:pt x="42" y="17"/>
                      </a:lnTo>
                      <a:lnTo>
                        <a:pt x="38" y="23"/>
                      </a:lnTo>
                      <a:lnTo>
                        <a:pt x="42" y="31"/>
                      </a:lnTo>
                      <a:lnTo>
                        <a:pt x="44" y="33"/>
                      </a:lnTo>
                      <a:lnTo>
                        <a:pt x="49" y="36"/>
                      </a:lnTo>
                      <a:lnTo>
                        <a:pt x="55" y="38"/>
                      </a:lnTo>
                      <a:lnTo>
                        <a:pt x="63" y="42"/>
                      </a:lnTo>
                      <a:lnTo>
                        <a:pt x="70" y="42"/>
                      </a:lnTo>
                      <a:lnTo>
                        <a:pt x="78" y="44"/>
                      </a:lnTo>
                      <a:lnTo>
                        <a:pt x="86" y="46"/>
                      </a:lnTo>
                      <a:lnTo>
                        <a:pt x="95" y="46"/>
                      </a:lnTo>
                      <a:lnTo>
                        <a:pt x="103" y="46"/>
                      </a:lnTo>
                      <a:lnTo>
                        <a:pt x="110" y="46"/>
                      </a:lnTo>
                      <a:lnTo>
                        <a:pt x="116" y="46"/>
                      </a:lnTo>
                      <a:lnTo>
                        <a:pt x="124" y="46"/>
                      </a:lnTo>
                      <a:lnTo>
                        <a:pt x="129" y="46"/>
                      </a:lnTo>
                      <a:lnTo>
                        <a:pt x="133" y="46"/>
                      </a:lnTo>
                      <a:lnTo>
                        <a:pt x="135" y="46"/>
                      </a:lnTo>
                      <a:lnTo>
                        <a:pt x="137" y="46"/>
                      </a:lnTo>
                      <a:lnTo>
                        <a:pt x="135" y="46"/>
                      </a:lnTo>
                      <a:lnTo>
                        <a:pt x="133" y="48"/>
                      </a:lnTo>
                      <a:lnTo>
                        <a:pt x="127" y="50"/>
                      </a:lnTo>
                      <a:lnTo>
                        <a:pt x="124" y="52"/>
                      </a:lnTo>
                      <a:lnTo>
                        <a:pt x="116" y="53"/>
                      </a:lnTo>
                      <a:lnTo>
                        <a:pt x="108" y="55"/>
                      </a:lnTo>
                      <a:lnTo>
                        <a:pt x="99" y="57"/>
                      </a:lnTo>
                      <a:lnTo>
                        <a:pt x="91" y="61"/>
                      </a:lnTo>
                      <a:lnTo>
                        <a:pt x="80" y="63"/>
                      </a:lnTo>
                      <a:lnTo>
                        <a:pt x="70" y="65"/>
                      </a:lnTo>
                      <a:lnTo>
                        <a:pt x="61" y="65"/>
                      </a:lnTo>
                      <a:lnTo>
                        <a:pt x="51" y="65"/>
                      </a:lnTo>
                      <a:lnTo>
                        <a:pt x="42" y="65"/>
                      </a:lnTo>
                      <a:lnTo>
                        <a:pt x="32" y="63"/>
                      </a:lnTo>
                      <a:lnTo>
                        <a:pt x="23" y="59"/>
                      </a:lnTo>
                      <a:lnTo>
                        <a:pt x="17" y="55"/>
                      </a:lnTo>
                      <a:lnTo>
                        <a:pt x="10" y="50"/>
                      </a:lnTo>
                      <a:lnTo>
                        <a:pt x="6" y="46"/>
                      </a:lnTo>
                      <a:lnTo>
                        <a:pt x="2" y="40"/>
                      </a:lnTo>
                      <a:lnTo>
                        <a:pt x="2" y="36"/>
                      </a:lnTo>
                      <a:lnTo>
                        <a:pt x="0" y="33"/>
                      </a:lnTo>
                      <a:lnTo>
                        <a:pt x="0" y="27"/>
                      </a:lnTo>
                      <a:lnTo>
                        <a:pt x="2" y="23"/>
                      </a:lnTo>
                      <a:lnTo>
                        <a:pt x="4" y="21"/>
                      </a:lnTo>
                      <a:lnTo>
                        <a:pt x="8" y="15"/>
                      </a:lnTo>
                      <a:lnTo>
                        <a:pt x="11" y="14"/>
                      </a:lnTo>
                      <a:lnTo>
                        <a:pt x="13" y="10"/>
                      </a:lnTo>
                      <a:lnTo>
                        <a:pt x="19" y="8"/>
                      </a:lnTo>
                      <a:lnTo>
                        <a:pt x="23" y="6"/>
                      </a:lnTo>
                      <a:lnTo>
                        <a:pt x="27" y="4"/>
                      </a:lnTo>
                      <a:lnTo>
                        <a:pt x="30" y="2"/>
                      </a:lnTo>
                      <a:lnTo>
                        <a:pt x="34" y="2"/>
                      </a:lnTo>
                      <a:lnTo>
                        <a:pt x="38" y="2"/>
                      </a:lnTo>
                      <a:lnTo>
                        <a:pt x="42" y="0"/>
                      </a:lnTo>
                      <a:lnTo>
                        <a:pt x="46" y="0"/>
                      </a:lnTo>
                      <a:lnTo>
                        <a:pt x="51" y="0"/>
                      </a:lnTo>
                      <a:lnTo>
                        <a:pt x="55" y="0"/>
                      </a:lnTo>
                      <a:lnTo>
                        <a:pt x="61" y="0"/>
                      </a:lnTo>
                      <a:lnTo>
                        <a:pt x="67" y="0"/>
                      </a:lnTo>
                      <a:lnTo>
                        <a:pt x="72" y="0"/>
                      </a:lnTo>
                      <a:lnTo>
                        <a:pt x="76" y="0"/>
                      </a:lnTo>
                      <a:lnTo>
                        <a:pt x="80" y="0"/>
                      </a:lnTo>
                      <a:lnTo>
                        <a:pt x="84" y="0"/>
                      </a:lnTo>
                      <a:lnTo>
                        <a:pt x="87" y="2"/>
                      </a:lnTo>
                      <a:lnTo>
                        <a:pt x="93" y="2"/>
                      </a:lnTo>
                      <a:lnTo>
                        <a:pt x="95" y="2"/>
                      </a:lnTo>
                      <a:close/>
                    </a:path>
                  </a:pathLst>
                </a:custGeom>
                <a:solidFill>
                  <a:srgbClr val="000000"/>
                </a:solidFill>
                <a:ln w="9525">
                  <a:noFill/>
                  <a:round/>
                  <a:headEnd/>
                  <a:tailEnd/>
                </a:ln>
              </p:spPr>
              <p:txBody>
                <a:bodyPr/>
                <a:lstStyle/>
                <a:p>
                  <a:pPr algn="l" eaLnBrk="1" hangingPunct="1"/>
                  <a:endParaRPr lang="en-US"/>
                </a:p>
              </p:txBody>
            </p:sp>
            <p:sp>
              <p:nvSpPr>
                <p:cNvPr id="1471" name="Freeform 636"/>
                <p:cNvSpPr>
                  <a:spLocks noChangeAspect="1"/>
                </p:cNvSpPr>
                <p:nvPr/>
              </p:nvSpPr>
              <p:spPr bwMode="auto">
                <a:xfrm>
                  <a:off x="3945" y="2180"/>
                  <a:ext cx="21" cy="38"/>
                </a:xfrm>
                <a:custGeom>
                  <a:avLst/>
                  <a:gdLst>
                    <a:gd name="T0" fmla="*/ 0 w 42"/>
                    <a:gd name="T1" fmla="*/ 0 h 76"/>
                    <a:gd name="T2" fmla="*/ 2 w 42"/>
                    <a:gd name="T3" fmla="*/ 4 h 76"/>
                    <a:gd name="T4" fmla="*/ 4 w 42"/>
                    <a:gd name="T5" fmla="*/ 6 h 76"/>
                    <a:gd name="T6" fmla="*/ 8 w 42"/>
                    <a:gd name="T7" fmla="*/ 12 h 76"/>
                    <a:gd name="T8" fmla="*/ 9 w 42"/>
                    <a:gd name="T9" fmla="*/ 18 h 76"/>
                    <a:gd name="T10" fmla="*/ 13 w 42"/>
                    <a:gd name="T11" fmla="*/ 23 h 76"/>
                    <a:gd name="T12" fmla="*/ 15 w 42"/>
                    <a:gd name="T13" fmla="*/ 31 h 76"/>
                    <a:gd name="T14" fmla="*/ 19 w 42"/>
                    <a:gd name="T15" fmla="*/ 38 h 76"/>
                    <a:gd name="T16" fmla="*/ 19 w 42"/>
                    <a:gd name="T17" fmla="*/ 46 h 76"/>
                    <a:gd name="T18" fmla="*/ 17 w 42"/>
                    <a:gd name="T19" fmla="*/ 54 h 76"/>
                    <a:gd name="T20" fmla="*/ 15 w 42"/>
                    <a:gd name="T21" fmla="*/ 59 h 76"/>
                    <a:gd name="T22" fmla="*/ 11 w 42"/>
                    <a:gd name="T23" fmla="*/ 65 h 76"/>
                    <a:gd name="T24" fmla="*/ 8 w 42"/>
                    <a:gd name="T25" fmla="*/ 71 h 76"/>
                    <a:gd name="T26" fmla="*/ 6 w 42"/>
                    <a:gd name="T27" fmla="*/ 75 h 76"/>
                    <a:gd name="T28" fmla="*/ 4 w 42"/>
                    <a:gd name="T29" fmla="*/ 76 h 76"/>
                    <a:gd name="T30" fmla="*/ 4 w 42"/>
                    <a:gd name="T31" fmla="*/ 76 h 76"/>
                    <a:gd name="T32" fmla="*/ 4 w 42"/>
                    <a:gd name="T33" fmla="*/ 76 h 76"/>
                    <a:gd name="T34" fmla="*/ 8 w 42"/>
                    <a:gd name="T35" fmla="*/ 76 h 76"/>
                    <a:gd name="T36" fmla="*/ 13 w 42"/>
                    <a:gd name="T37" fmla="*/ 73 h 76"/>
                    <a:gd name="T38" fmla="*/ 21 w 42"/>
                    <a:gd name="T39" fmla="*/ 71 h 76"/>
                    <a:gd name="T40" fmla="*/ 25 w 42"/>
                    <a:gd name="T41" fmla="*/ 67 h 76"/>
                    <a:gd name="T42" fmla="*/ 28 w 42"/>
                    <a:gd name="T43" fmla="*/ 65 h 76"/>
                    <a:gd name="T44" fmla="*/ 30 w 42"/>
                    <a:gd name="T45" fmla="*/ 61 h 76"/>
                    <a:gd name="T46" fmla="*/ 34 w 42"/>
                    <a:gd name="T47" fmla="*/ 57 h 76"/>
                    <a:gd name="T48" fmla="*/ 36 w 42"/>
                    <a:gd name="T49" fmla="*/ 52 h 76"/>
                    <a:gd name="T50" fmla="*/ 40 w 42"/>
                    <a:gd name="T51" fmla="*/ 48 h 76"/>
                    <a:gd name="T52" fmla="*/ 40 w 42"/>
                    <a:gd name="T53" fmla="*/ 42 h 76"/>
                    <a:gd name="T54" fmla="*/ 42 w 42"/>
                    <a:gd name="T55" fmla="*/ 37 h 76"/>
                    <a:gd name="T56" fmla="*/ 42 w 42"/>
                    <a:gd name="T57" fmla="*/ 29 h 76"/>
                    <a:gd name="T58" fmla="*/ 40 w 42"/>
                    <a:gd name="T59" fmla="*/ 21 h 76"/>
                    <a:gd name="T60" fmla="*/ 38 w 42"/>
                    <a:gd name="T61" fmla="*/ 18 h 76"/>
                    <a:gd name="T62" fmla="*/ 34 w 42"/>
                    <a:gd name="T63" fmla="*/ 14 h 76"/>
                    <a:gd name="T64" fmla="*/ 30 w 42"/>
                    <a:gd name="T65" fmla="*/ 8 h 76"/>
                    <a:gd name="T66" fmla="*/ 28 w 42"/>
                    <a:gd name="T67" fmla="*/ 6 h 76"/>
                    <a:gd name="T68" fmla="*/ 25 w 42"/>
                    <a:gd name="T69" fmla="*/ 4 h 76"/>
                    <a:gd name="T70" fmla="*/ 21 w 42"/>
                    <a:gd name="T71" fmla="*/ 4 h 76"/>
                    <a:gd name="T72" fmla="*/ 15 w 42"/>
                    <a:gd name="T73" fmla="*/ 2 h 76"/>
                    <a:gd name="T74" fmla="*/ 13 w 42"/>
                    <a:gd name="T75" fmla="*/ 0 h 76"/>
                    <a:gd name="T76" fmla="*/ 8 w 42"/>
                    <a:gd name="T77" fmla="*/ 0 h 76"/>
                    <a:gd name="T78" fmla="*/ 6 w 42"/>
                    <a:gd name="T79" fmla="*/ 0 h 76"/>
                    <a:gd name="T80" fmla="*/ 0 w 42"/>
                    <a:gd name="T81" fmla="*/ 0 h 76"/>
                    <a:gd name="T82" fmla="*/ 0 w 42"/>
                    <a:gd name="T83" fmla="*/ 0 h 76"/>
                    <a:gd name="T84" fmla="*/ 0 w 42"/>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76"/>
                    <a:gd name="T131" fmla="*/ 42 w 42"/>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76">
                      <a:moveTo>
                        <a:pt x="0" y="0"/>
                      </a:moveTo>
                      <a:lnTo>
                        <a:pt x="2" y="4"/>
                      </a:lnTo>
                      <a:lnTo>
                        <a:pt x="4" y="6"/>
                      </a:lnTo>
                      <a:lnTo>
                        <a:pt x="8" y="12"/>
                      </a:lnTo>
                      <a:lnTo>
                        <a:pt x="9" y="18"/>
                      </a:lnTo>
                      <a:lnTo>
                        <a:pt x="13" y="23"/>
                      </a:lnTo>
                      <a:lnTo>
                        <a:pt x="15" y="31"/>
                      </a:lnTo>
                      <a:lnTo>
                        <a:pt x="19" y="38"/>
                      </a:lnTo>
                      <a:lnTo>
                        <a:pt x="19" y="46"/>
                      </a:lnTo>
                      <a:lnTo>
                        <a:pt x="17" y="54"/>
                      </a:lnTo>
                      <a:lnTo>
                        <a:pt x="15" y="59"/>
                      </a:lnTo>
                      <a:lnTo>
                        <a:pt x="11" y="65"/>
                      </a:lnTo>
                      <a:lnTo>
                        <a:pt x="8" y="71"/>
                      </a:lnTo>
                      <a:lnTo>
                        <a:pt x="6" y="75"/>
                      </a:lnTo>
                      <a:lnTo>
                        <a:pt x="4" y="76"/>
                      </a:lnTo>
                      <a:lnTo>
                        <a:pt x="8" y="76"/>
                      </a:lnTo>
                      <a:lnTo>
                        <a:pt x="13" y="73"/>
                      </a:lnTo>
                      <a:lnTo>
                        <a:pt x="21" y="71"/>
                      </a:lnTo>
                      <a:lnTo>
                        <a:pt x="25" y="67"/>
                      </a:lnTo>
                      <a:lnTo>
                        <a:pt x="28" y="65"/>
                      </a:lnTo>
                      <a:lnTo>
                        <a:pt x="30" y="61"/>
                      </a:lnTo>
                      <a:lnTo>
                        <a:pt x="34" y="57"/>
                      </a:lnTo>
                      <a:lnTo>
                        <a:pt x="36" y="52"/>
                      </a:lnTo>
                      <a:lnTo>
                        <a:pt x="40" y="48"/>
                      </a:lnTo>
                      <a:lnTo>
                        <a:pt x="40" y="42"/>
                      </a:lnTo>
                      <a:lnTo>
                        <a:pt x="42" y="37"/>
                      </a:lnTo>
                      <a:lnTo>
                        <a:pt x="42" y="29"/>
                      </a:lnTo>
                      <a:lnTo>
                        <a:pt x="40" y="21"/>
                      </a:lnTo>
                      <a:lnTo>
                        <a:pt x="38" y="18"/>
                      </a:lnTo>
                      <a:lnTo>
                        <a:pt x="34" y="14"/>
                      </a:lnTo>
                      <a:lnTo>
                        <a:pt x="30" y="8"/>
                      </a:lnTo>
                      <a:lnTo>
                        <a:pt x="28" y="6"/>
                      </a:lnTo>
                      <a:lnTo>
                        <a:pt x="25" y="4"/>
                      </a:lnTo>
                      <a:lnTo>
                        <a:pt x="21" y="4"/>
                      </a:lnTo>
                      <a:lnTo>
                        <a:pt x="15" y="2"/>
                      </a:lnTo>
                      <a:lnTo>
                        <a:pt x="13" y="0"/>
                      </a:lnTo>
                      <a:lnTo>
                        <a:pt x="8" y="0"/>
                      </a:lnTo>
                      <a:lnTo>
                        <a:pt x="6" y="0"/>
                      </a:lnTo>
                      <a:lnTo>
                        <a:pt x="0" y="0"/>
                      </a:lnTo>
                      <a:close/>
                    </a:path>
                  </a:pathLst>
                </a:custGeom>
                <a:solidFill>
                  <a:srgbClr val="000000"/>
                </a:solidFill>
                <a:ln w="9525">
                  <a:noFill/>
                  <a:round/>
                  <a:headEnd/>
                  <a:tailEnd/>
                </a:ln>
              </p:spPr>
              <p:txBody>
                <a:bodyPr/>
                <a:lstStyle/>
                <a:p>
                  <a:pPr algn="l" eaLnBrk="1" hangingPunct="1"/>
                  <a:endParaRPr lang="en-US"/>
                </a:p>
              </p:txBody>
            </p:sp>
            <p:sp>
              <p:nvSpPr>
                <p:cNvPr id="1472" name="Freeform 637"/>
                <p:cNvSpPr>
                  <a:spLocks noChangeAspect="1"/>
                </p:cNvSpPr>
                <p:nvPr/>
              </p:nvSpPr>
              <p:spPr bwMode="auto">
                <a:xfrm>
                  <a:off x="3870" y="2189"/>
                  <a:ext cx="62" cy="41"/>
                </a:xfrm>
                <a:custGeom>
                  <a:avLst/>
                  <a:gdLst>
                    <a:gd name="T0" fmla="*/ 28 w 123"/>
                    <a:gd name="T1" fmla="*/ 0 h 82"/>
                    <a:gd name="T2" fmla="*/ 28 w 123"/>
                    <a:gd name="T3" fmla="*/ 2 h 82"/>
                    <a:gd name="T4" fmla="*/ 28 w 123"/>
                    <a:gd name="T5" fmla="*/ 4 h 82"/>
                    <a:gd name="T6" fmla="*/ 26 w 123"/>
                    <a:gd name="T7" fmla="*/ 8 h 82"/>
                    <a:gd name="T8" fmla="*/ 26 w 123"/>
                    <a:gd name="T9" fmla="*/ 16 h 82"/>
                    <a:gd name="T10" fmla="*/ 26 w 123"/>
                    <a:gd name="T11" fmla="*/ 21 h 82"/>
                    <a:gd name="T12" fmla="*/ 28 w 123"/>
                    <a:gd name="T13" fmla="*/ 31 h 82"/>
                    <a:gd name="T14" fmla="*/ 32 w 123"/>
                    <a:gd name="T15" fmla="*/ 37 h 82"/>
                    <a:gd name="T16" fmla="*/ 38 w 123"/>
                    <a:gd name="T17" fmla="*/ 46 h 82"/>
                    <a:gd name="T18" fmla="*/ 42 w 123"/>
                    <a:gd name="T19" fmla="*/ 48 h 82"/>
                    <a:gd name="T20" fmla="*/ 45 w 123"/>
                    <a:gd name="T21" fmla="*/ 52 h 82"/>
                    <a:gd name="T22" fmla="*/ 51 w 123"/>
                    <a:gd name="T23" fmla="*/ 54 h 82"/>
                    <a:gd name="T24" fmla="*/ 57 w 123"/>
                    <a:gd name="T25" fmla="*/ 57 h 82"/>
                    <a:gd name="T26" fmla="*/ 64 w 123"/>
                    <a:gd name="T27" fmla="*/ 57 h 82"/>
                    <a:gd name="T28" fmla="*/ 72 w 123"/>
                    <a:gd name="T29" fmla="*/ 61 h 82"/>
                    <a:gd name="T30" fmla="*/ 78 w 123"/>
                    <a:gd name="T31" fmla="*/ 63 h 82"/>
                    <a:gd name="T32" fmla="*/ 87 w 123"/>
                    <a:gd name="T33" fmla="*/ 65 h 82"/>
                    <a:gd name="T34" fmla="*/ 93 w 123"/>
                    <a:gd name="T35" fmla="*/ 65 h 82"/>
                    <a:gd name="T36" fmla="*/ 101 w 123"/>
                    <a:gd name="T37" fmla="*/ 67 h 82"/>
                    <a:gd name="T38" fmla="*/ 106 w 123"/>
                    <a:gd name="T39" fmla="*/ 67 h 82"/>
                    <a:gd name="T40" fmla="*/ 112 w 123"/>
                    <a:gd name="T41" fmla="*/ 69 h 82"/>
                    <a:gd name="T42" fmla="*/ 116 w 123"/>
                    <a:gd name="T43" fmla="*/ 69 h 82"/>
                    <a:gd name="T44" fmla="*/ 120 w 123"/>
                    <a:gd name="T45" fmla="*/ 71 h 82"/>
                    <a:gd name="T46" fmla="*/ 121 w 123"/>
                    <a:gd name="T47" fmla="*/ 71 h 82"/>
                    <a:gd name="T48" fmla="*/ 123 w 123"/>
                    <a:gd name="T49" fmla="*/ 71 h 82"/>
                    <a:gd name="T50" fmla="*/ 121 w 123"/>
                    <a:gd name="T51" fmla="*/ 71 h 82"/>
                    <a:gd name="T52" fmla="*/ 120 w 123"/>
                    <a:gd name="T53" fmla="*/ 71 h 82"/>
                    <a:gd name="T54" fmla="*/ 116 w 123"/>
                    <a:gd name="T55" fmla="*/ 73 h 82"/>
                    <a:gd name="T56" fmla="*/ 110 w 123"/>
                    <a:gd name="T57" fmla="*/ 75 h 82"/>
                    <a:gd name="T58" fmla="*/ 104 w 123"/>
                    <a:gd name="T59" fmla="*/ 76 h 82"/>
                    <a:gd name="T60" fmla="*/ 97 w 123"/>
                    <a:gd name="T61" fmla="*/ 76 h 82"/>
                    <a:gd name="T62" fmla="*/ 89 w 123"/>
                    <a:gd name="T63" fmla="*/ 78 h 82"/>
                    <a:gd name="T64" fmla="*/ 82 w 123"/>
                    <a:gd name="T65" fmla="*/ 80 h 82"/>
                    <a:gd name="T66" fmla="*/ 72 w 123"/>
                    <a:gd name="T67" fmla="*/ 80 h 82"/>
                    <a:gd name="T68" fmla="*/ 63 w 123"/>
                    <a:gd name="T69" fmla="*/ 82 h 82"/>
                    <a:gd name="T70" fmla="*/ 53 w 123"/>
                    <a:gd name="T71" fmla="*/ 80 h 82"/>
                    <a:gd name="T72" fmla="*/ 44 w 123"/>
                    <a:gd name="T73" fmla="*/ 80 h 82"/>
                    <a:gd name="T74" fmla="*/ 36 w 123"/>
                    <a:gd name="T75" fmla="*/ 76 h 82"/>
                    <a:gd name="T76" fmla="*/ 26 w 123"/>
                    <a:gd name="T77" fmla="*/ 75 h 82"/>
                    <a:gd name="T78" fmla="*/ 19 w 123"/>
                    <a:gd name="T79" fmla="*/ 69 h 82"/>
                    <a:gd name="T80" fmla="*/ 13 w 123"/>
                    <a:gd name="T81" fmla="*/ 65 h 82"/>
                    <a:gd name="T82" fmla="*/ 7 w 123"/>
                    <a:gd name="T83" fmla="*/ 57 h 82"/>
                    <a:gd name="T84" fmla="*/ 4 w 123"/>
                    <a:gd name="T85" fmla="*/ 50 h 82"/>
                    <a:gd name="T86" fmla="*/ 0 w 123"/>
                    <a:gd name="T87" fmla="*/ 44 h 82"/>
                    <a:gd name="T88" fmla="*/ 0 w 123"/>
                    <a:gd name="T89" fmla="*/ 38 h 82"/>
                    <a:gd name="T90" fmla="*/ 0 w 123"/>
                    <a:gd name="T91" fmla="*/ 31 h 82"/>
                    <a:gd name="T92" fmla="*/ 2 w 123"/>
                    <a:gd name="T93" fmla="*/ 27 h 82"/>
                    <a:gd name="T94" fmla="*/ 4 w 123"/>
                    <a:gd name="T95" fmla="*/ 21 h 82"/>
                    <a:gd name="T96" fmla="*/ 7 w 123"/>
                    <a:gd name="T97" fmla="*/ 18 h 82"/>
                    <a:gd name="T98" fmla="*/ 9 w 123"/>
                    <a:gd name="T99" fmla="*/ 14 h 82"/>
                    <a:gd name="T100" fmla="*/ 13 w 123"/>
                    <a:gd name="T101" fmla="*/ 10 h 82"/>
                    <a:gd name="T102" fmla="*/ 17 w 123"/>
                    <a:gd name="T103" fmla="*/ 8 h 82"/>
                    <a:gd name="T104" fmla="*/ 21 w 123"/>
                    <a:gd name="T105" fmla="*/ 4 h 82"/>
                    <a:gd name="T106" fmla="*/ 26 w 123"/>
                    <a:gd name="T107" fmla="*/ 2 h 82"/>
                    <a:gd name="T108" fmla="*/ 28 w 123"/>
                    <a:gd name="T109" fmla="*/ 0 h 82"/>
                    <a:gd name="T110" fmla="*/ 28 w 123"/>
                    <a:gd name="T111" fmla="*/ 0 h 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82"/>
                    <a:gd name="T170" fmla="*/ 123 w 123"/>
                    <a:gd name="T171" fmla="*/ 82 h 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82">
                      <a:moveTo>
                        <a:pt x="28" y="0"/>
                      </a:moveTo>
                      <a:lnTo>
                        <a:pt x="28" y="2"/>
                      </a:lnTo>
                      <a:lnTo>
                        <a:pt x="28" y="4"/>
                      </a:lnTo>
                      <a:lnTo>
                        <a:pt x="26" y="8"/>
                      </a:lnTo>
                      <a:lnTo>
                        <a:pt x="26" y="16"/>
                      </a:lnTo>
                      <a:lnTo>
                        <a:pt x="26" y="21"/>
                      </a:lnTo>
                      <a:lnTo>
                        <a:pt x="28" y="31"/>
                      </a:lnTo>
                      <a:lnTo>
                        <a:pt x="32" y="37"/>
                      </a:lnTo>
                      <a:lnTo>
                        <a:pt x="38" y="46"/>
                      </a:lnTo>
                      <a:lnTo>
                        <a:pt x="42" y="48"/>
                      </a:lnTo>
                      <a:lnTo>
                        <a:pt x="45" y="52"/>
                      </a:lnTo>
                      <a:lnTo>
                        <a:pt x="51" y="54"/>
                      </a:lnTo>
                      <a:lnTo>
                        <a:pt x="57" y="57"/>
                      </a:lnTo>
                      <a:lnTo>
                        <a:pt x="64" y="57"/>
                      </a:lnTo>
                      <a:lnTo>
                        <a:pt x="72" y="61"/>
                      </a:lnTo>
                      <a:lnTo>
                        <a:pt x="78" y="63"/>
                      </a:lnTo>
                      <a:lnTo>
                        <a:pt x="87" y="65"/>
                      </a:lnTo>
                      <a:lnTo>
                        <a:pt x="93" y="65"/>
                      </a:lnTo>
                      <a:lnTo>
                        <a:pt x="101" y="67"/>
                      </a:lnTo>
                      <a:lnTo>
                        <a:pt x="106" y="67"/>
                      </a:lnTo>
                      <a:lnTo>
                        <a:pt x="112" y="69"/>
                      </a:lnTo>
                      <a:lnTo>
                        <a:pt x="116" y="69"/>
                      </a:lnTo>
                      <a:lnTo>
                        <a:pt x="120" y="71"/>
                      </a:lnTo>
                      <a:lnTo>
                        <a:pt x="121" y="71"/>
                      </a:lnTo>
                      <a:lnTo>
                        <a:pt x="123" y="71"/>
                      </a:lnTo>
                      <a:lnTo>
                        <a:pt x="121" y="71"/>
                      </a:lnTo>
                      <a:lnTo>
                        <a:pt x="120" y="71"/>
                      </a:lnTo>
                      <a:lnTo>
                        <a:pt x="116" y="73"/>
                      </a:lnTo>
                      <a:lnTo>
                        <a:pt x="110" y="75"/>
                      </a:lnTo>
                      <a:lnTo>
                        <a:pt x="104" y="76"/>
                      </a:lnTo>
                      <a:lnTo>
                        <a:pt x="97" y="76"/>
                      </a:lnTo>
                      <a:lnTo>
                        <a:pt x="89" y="78"/>
                      </a:lnTo>
                      <a:lnTo>
                        <a:pt x="82" y="80"/>
                      </a:lnTo>
                      <a:lnTo>
                        <a:pt x="72" y="80"/>
                      </a:lnTo>
                      <a:lnTo>
                        <a:pt x="63" y="82"/>
                      </a:lnTo>
                      <a:lnTo>
                        <a:pt x="53" y="80"/>
                      </a:lnTo>
                      <a:lnTo>
                        <a:pt x="44" y="80"/>
                      </a:lnTo>
                      <a:lnTo>
                        <a:pt x="36" y="76"/>
                      </a:lnTo>
                      <a:lnTo>
                        <a:pt x="26" y="75"/>
                      </a:lnTo>
                      <a:lnTo>
                        <a:pt x="19" y="69"/>
                      </a:lnTo>
                      <a:lnTo>
                        <a:pt x="13" y="65"/>
                      </a:lnTo>
                      <a:lnTo>
                        <a:pt x="7" y="57"/>
                      </a:lnTo>
                      <a:lnTo>
                        <a:pt x="4" y="50"/>
                      </a:lnTo>
                      <a:lnTo>
                        <a:pt x="0" y="44"/>
                      </a:lnTo>
                      <a:lnTo>
                        <a:pt x="0" y="38"/>
                      </a:lnTo>
                      <a:lnTo>
                        <a:pt x="0" y="31"/>
                      </a:lnTo>
                      <a:lnTo>
                        <a:pt x="2" y="27"/>
                      </a:lnTo>
                      <a:lnTo>
                        <a:pt x="4" y="21"/>
                      </a:lnTo>
                      <a:lnTo>
                        <a:pt x="7" y="18"/>
                      </a:lnTo>
                      <a:lnTo>
                        <a:pt x="9" y="14"/>
                      </a:lnTo>
                      <a:lnTo>
                        <a:pt x="13" y="10"/>
                      </a:lnTo>
                      <a:lnTo>
                        <a:pt x="17" y="8"/>
                      </a:lnTo>
                      <a:lnTo>
                        <a:pt x="21" y="4"/>
                      </a:lnTo>
                      <a:lnTo>
                        <a:pt x="26" y="2"/>
                      </a:lnTo>
                      <a:lnTo>
                        <a:pt x="28" y="0"/>
                      </a:lnTo>
                      <a:close/>
                    </a:path>
                  </a:pathLst>
                </a:custGeom>
                <a:solidFill>
                  <a:srgbClr val="000000"/>
                </a:solidFill>
                <a:ln w="9525">
                  <a:noFill/>
                  <a:round/>
                  <a:headEnd/>
                  <a:tailEnd/>
                </a:ln>
              </p:spPr>
              <p:txBody>
                <a:bodyPr/>
                <a:lstStyle/>
                <a:p>
                  <a:pPr algn="l" eaLnBrk="1" hangingPunct="1"/>
                  <a:endParaRPr lang="en-US"/>
                </a:p>
              </p:txBody>
            </p:sp>
            <p:sp>
              <p:nvSpPr>
                <p:cNvPr id="1473" name="Freeform 638"/>
                <p:cNvSpPr>
                  <a:spLocks noChangeAspect="1"/>
                </p:cNvSpPr>
                <p:nvPr/>
              </p:nvSpPr>
              <p:spPr bwMode="auto">
                <a:xfrm>
                  <a:off x="3830" y="2225"/>
                  <a:ext cx="68" cy="265"/>
                </a:xfrm>
                <a:custGeom>
                  <a:avLst/>
                  <a:gdLst>
                    <a:gd name="T0" fmla="*/ 118 w 137"/>
                    <a:gd name="T1" fmla="*/ 2 h 528"/>
                    <a:gd name="T2" fmla="*/ 120 w 137"/>
                    <a:gd name="T3" fmla="*/ 11 h 528"/>
                    <a:gd name="T4" fmla="*/ 120 w 137"/>
                    <a:gd name="T5" fmla="*/ 22 h 528"/>
                    <a:gd name="T6" fmla="*/ 118 w 137"/>
                    <a:gd name="T7" fmla="*/ 36 h 528"/>
                    <a:gd name="T8" fmla="*/ 116 w 137"/>
                    <a:gd name="T9" fmla="*/ 51 h 528"/>
                    <a:gd name="T10" fmla="*/ 108 w 137"/>
                    <a:gd name="T11" fmla="*/ 66 h 528"/>
                    <a:gd name="T12" fmla="*/ 97 w 137"/>
                    <a:gd name="T13" fmla="*/ 81 h 528"/>
                    <a:gd name="T14" fmla="*/ 80 w 137"/>
                    <a:gd name="T15" fmla="*/ 95 h 528"/>
                    <a:gd name="T16" fmla="*/ 63 w 137"/>
                    <a:gd name="T17" fmla="*/ 114 h 528"/>
                    <a:gd name="T18" fmla="*/ 46 w 137"/>
                    <a:gd name="T19" fmla="*/ 135 h 528"/>
                    <a:gd name="T20" fmla="*/ 32 w 137"/>
                    <a:gd name="T21" fmla="*/ 159 h 528"/>
                    <a:gd name="T22" fmla="*/ 17 w 137"/>
                    <a:gd name="T23" fmla="*/ 188 h 528"/>
                    <a:gd name="T24" fmla="*/ 8 w 137"/>
                    <a:gd name="T25" fmla="*/ 218 h 528"/>
                    <a:gd name="T26" fmla="*/ 2 w 137"/>
                    <a:gd name="T27" fmla="*/ 254 h 528"/>
                    <a:gd name="T28" fmla="*/ 0 w 137"/>
                    <a:gd name="T29" fmla="*/ 296 h 528"/>
                    <a:gd name="T30" fmla="*/ 4 w 137"/>
                    <a:gd name="T31" fmla="*/ 340 h 528"/>
                    <a:gd name="T32" fmla="*/ 11 w 137"/>
                    <a:gd name="T33" fmla="*/ 380 h 528"/>
                    <a:gd name="T34" fmla="*/ 19 w 137"/>
                    <a:gd name="T35" fmla="*/ 418 h 528"/>
                    <a:gd name="T36" fmla="*/ 29 w 137"/>
                    <a:gd name="T37" fmla="*/ 450 h 528"/>
                    <a:gd name="T38" fmla="*/ 38 w 137"/>
                    <a:gd name="T39" fmla="*/ 479 h 528"/>
                    <a:gd name="T40" fmla="*/ 46 w 137"/>
                    <a:gd name="T41" fmla="*/ 502 h 528"/>
                    <a:gd name="T42" fmla="*/ 53 w 137"/>
                    <a:gd name="T43" fmla="*/ 517 h 528"/>
                    <a:gd name="T44" fmla="*/ 57 w 137"/>
                    <a:gd name="T45" fmla="*/ 526 h 528"/>
                    <a:gd name="T46" fmla="*/ 57 w 137"/>
                    <a:gd name="T47" fmla="*/ 524 h 528"/>
                    <a:gd name="T48" fmla="*/ 53 w 137"/>
                    <a:gd name="T49" fmla="*/ 504 h 528"/>
                    <a:gd name="T50" fmla="*/ 46 w 137"/>
                    <a:gd name="T51" fmla="*/ 467 h 528"/>
                    <a:gd name="T52" fmla="*/ 40 w 137"/>
                    <a:gd name="T53" fmla="*/ 422 h 528"/>
                    <a:gd name="T54" fmla="*/ 34 w 137"/>
                    <a:gd name="T55" fmla="*/ 369 h 528"/>
                    <a:gd name="T56" fmla="*/ 30 w 137"/>
                    <a:gd name="T57" fmla="*/ 312 h 528"/>
                    <a:gd name="T58" fmla="*/ 34 w 137"/>
                    <a:gd name="T59" fmla="*/ 260 h 528"/>
                    <a:gd name="T60" fmla="*/ 42 w 137"/>
                    <a:gd name="T61" fmla="*/ 216 h 528"/>
                    <a:gd name="T62" fmla="*/ 57 w 137"/>
                    <a:gd name="T63" fmla="*/ 182 h 528"/>
                    <a:gd name="T64" fmla="*/ 72 w 137"/>
                    <a:gd name="T65" fmla="*/ 158 h 528"/>
                    <a:gd name="T66" fmla="*/ 87 w 137"/>
                    <a:gd name="T67" fmla="*/ 137 h 528"/>
                    <a:gd name="T68" fmla="*/ 101 w 137"/>
                    <a:gd name="T69" fmla="*/ 121 h 528"/>
                    <a:gd name="T70" fmla="*/ 112 w 137"/>
                    <a:gd name="T71" fmla="*/ 106 h 528"/>
                    <a:gd name="T72" fmla="*/ 122 w 137"/>
                    <a:gd name="T73" fmla="*/ 95 h 528"/>
                    <a:gd name="T74" fmla="*/ 129 w 137"/>
                    <a:gd name="T75" fmla="*/ 81 h 528"/>
                    <a:gd name="T76" fmla="*/ 133 w 137"/>
                    <a:gd name="T77" fmla="*/ 68 h 528"/>
                    <a:gd name="T78" fmla="*/ 137 w 137"/>
                    <a:gd name="T79" fmla="*/ 53 h 528"/>
                    <a:gd name="T80" fmla="*/ 137 w 137"/>
                    <a:gd name="T81" fmla="*/ 40 h 528"/>
                    <a:gd name="T82" fmla="*/ 133 w 137"/>
                    <a:gd name="T83" fmla="*/ 28 h 528"/>
                    <a:gd name="T84" fmla="*/ 131 w 137"/>
                    <a:gd name="T85" fmla="*/ 19 h 528"/>
                    <a:gd name="T86" fmla="*/ 125 w 137"/>
                    <a:gd name="T87" fmla="*/ 7 h 528"/>
                    <a:gd name="T88" fmla="*/ 118 w 137"/>
                    <a:gd name="T89" fmla="*/ 2 h 528"/>
                    <a:gd name="T90" fmla="*/ 118 w 137"/>
                    <a:gd name="T91" fmla="*/ 0 h 5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7"/>
                    <a:gd name="T139" fmla="*/ 0 h 528"/>
                    <a:gd name="T140" fmla="*/ 137 w 137"/>
                    <a:gd name="T141" fmla="*/ 528 h 5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7" h="528">
                      <a:moveTo>
                        <a:pt x="118" y="0"/>
                      </a:moveTo>
                      <a:lnTo>
                        <a:pt x="118" y="2"/>
                      </a:lnTo>
                      <a:lnTo>
                        <a:pt x="120" y="7"/>
                      </a:lnTo>
                      <a:lnTo>
                        <a:pt x="120" y="11"/>
                      </a:lnTo>
                      <a:lnTo>
                        <a:pt x="120" y="17"/>
                      </a:lnTo>
                      <a:lnTo>
                        <a:pt x="120" y="22"/>
                      </a:lnTo>
                      <a:lnTo>
                        <a:pt x="120" y="30"/>
                      </a:lnTo>
                      <a:lnTo>
                        <a:pt x="118" y="36"/>
                      </a:lnTo>
                      <a:lnTo>
                        <a:pt x="118" y="43"/>
                      </a:lnTo>
                      <a:lnTo>
                        <a:pt x="116" y="51"/>
                      </a:lnTo>
                      <a:lnTo>
                        <a:pt x="112" y="59"/>
                      </a:lnTo>
                      <a:lnTo>
                        <a:pt x="108" y="66"/>
                      </a:lnTo>
                      <a:lnTo>
                        <a:pt x="103" y="74"/>
                      </a:lnTo>
                      <a:lnTo>
                        <a:pt x="97" y="81"/>
                      </a:lnTo>
                      <a:lnTo>
                        <a:pt x="89" y="89"/>
                      </a:lnTo>
                      <a:lnTo>
                        <a:pt x="80" y="95"/>
                      </a:lnTo>
                      <a:lnTo>
                        <a:pt x="72" y="104"/>
                      </a:lnTo>
                      <a:lnTo>
                        <a:pt x="63" y="114"/>
                      </a:lnTo>
                      <a:lnTo>
                        <a:pt x="55" y="125"/>
                      </a:lnTo>
                      <a:lnTo>
                        <a:pt x="46" y="135"/>
                      </a:lnTo>
                      <a:lnTo>
                        <a:pt x="40" y="146"/>
                      </a:lnTo>
                      <a:lnTo>
                        <a:pt x="32" y="159"/>
                      </a:lnTo>
                      <a:lnTo>
                        <a:pt x="25" y="173"/>
                      </a:lnTo>
                      <a:lnTo>
                        <a:pt x="17" y="188"/>
                      </a:lnTo>
                      <a:lnTo>
                        <a:pt x="11" y="203"/>
                      </a:lnTo>
                      <a:lnTo>
                        <a:pt x="8" y="218"/>
                      </a:lnTo>
                      <a:lnTo>
                        <a:pt x="4" y="237"/>
                      </a:lnTo>
                      <a:lnTo>
                        <a:pt x="2" y="254"/>
                      </a:lnTo>
                      <a:lnTo>
                        <a:pt x="0" y="275"/>
                      </a:lnTo>
                      <a:lnTo>
                        <a:pt x="0" y="296"/>
                      </a:lnTo>
                      <a:lnTo>
                        <a:pt x="2" y="317"/>
                      </a:lnTo>
                      <a:lnTo>
                        <a:pt x="4" y="340"/>
                      </a:lnTo>
                      <a:lnTo>
                        <a:pt x="8" y="359"/>
                      </a:lnTo>
                      <a:lnTo>
                        <a:pt x="11" y="380"/>
                      </a:lnTo>
                      <a:lnTo>
                        <a:pt x="15" y="399"/>
                      </a:lnTo>
                      <a:lnTo>
                        <a:pt x="19" y="418"/>
                      </a:lnTo>
                      <a:lnTo>
                        <a:pt x="25" y="435"/>
                      </a:lnTo>
                      <a:lnTo>
                        <a:pt x="29" y="450"/>
                      </a:lnTo>
                      <a:lnTo>
                        <a:pt x="34" y="466"/>
                      </a:lnTo>
                      <a:lnTo>
                        <a:pt x="38" y="479"/>
                      </a:lnTo>
                      <a:lnTo>
                        <a:pt x="44" y="492"/>
                      </a:lnTo>
                      <a:lnTo>
                        <a:pt x="46" y="502"/>
                      </a:lnTo>
                      <a:lnTo>
                        <a:pt x="51" y="511"/>
                      </a:lnTo>
                      <a:lnTo>
                        <a:pt x="53" y="517"/>
                      </a:lnTo>
                      <a:lnTo>
                        <a:pt x="55" y="523"/>
                      </a:lnTo>
                      <a:lnTo>
                        <a:pt x="57" y="526"/>
                      </a:lnTo>
                      <a:lnTo>
                        <a:pt x="59" y="528"/>
                      </a:lnTo>
                      <a:lnTo>
                        <a:pt x="57" y="524"/>
                      </a:lnTo>
                      <a:lnTo>
                        <a:pt x="55" y="517"/>
                      </a:lnTo>
                      <a:lnTo>
                        <a:pt x="53" y="504"/>
                      </a:lnTo>
                      <a:lnTo>
                        <a:pt x="49" y="488"/>
                      </a:lnTo>
                      <a:lnTo>
                        <a:pt x="46" y="467"/>
                      </a:lnTo>
                      <a:lnTo>
                        <a:pt x="44" y="447"/>
                      </a:lnTo>
                      <a:lnTo>
                        <a:pt x="40" y="422"/>
                      </a:lnTo>
                      <a:lnTo>
                        <a:pt x="36" y="395"/>
                      </a:lnTo>
                      <a:lnTo>
                        <a:pt x="34" y="369"/>
                      </a:lnTo>
                      <a:lnTo>
                        <a:pt x="32" y="340"/>
                      </a:lnTo>
                      <a:lnTo>
                        <a:pt x="30" y="312"/>
                      </a:lnTo>
                      <a:lnTo>
                        <a:pt x="32" y="287"/>
                      </a:lnTo>
                      <a:lnTo>
                        <a:pt x="34" y="260"/>
                      </a:lnTo>
                      <a:lnTo>
                        <a:pt x="36" y="237"/>
                      </a:lnTo>
                      <a:lnTo>
                        <a:pt x="42" y="216"/>
                      </a:lnTo>
                      <a:lnTo>
                        <a:pt x="49" y="199"/>
                      </a:lnTo>
                      <a:lnTo>
                        <a:pt x="57" y="182"/>
                      </a:lnTo>
                      <a:lnTo>
                        <a:pt x="65" y="171"/>
                      </a:lnTo>
                      <a:lnTo>
                        <a:pt x="72" y="158"/>
                      </a:lnTo>
                      <a:lnTo>
                        <a:pt x="80" y="148"/>
                      </a:lnTo>
                      <a:lnTo>
                        <a:pt x="87" y="137"/>
                      </a:lnTo>
                      <a:lnTo>
                        <a:pt x="93" y="129"/>
                      </a:lnTo>
                      <a:lnTo>
                        <a:pt x="101" y="121"/>
                      </a:lnTo>
                      <a:lnTo>
                        <a:pt x="106" y="114"/>
                      </a:lnTo>
                      <a:lnTo>
                        <a:pt x="112" y="106"/>
                      </a:lnTo>
                      <a:lnTo>
                        <a:pt x="118" y="100"/>
                      </a:lnTo>
                      <a:lnTo>
                        <a:pt x="122" y="95"/>
                      </a:lnTo>
                      <a:lnTo>
                        <a:pt x="125" y="89"/>
                      </a:lnTo>
                      <a:lnTo>
                        <a:pt x="129" y="81"/>
                      </a:lnTo>
                      <a:lnTo>
                        <a:pt x="131" y="76"/>
                      </a:lnTo>
                      <a:lnTo>
                        <a:pt x="133" y="68"/>
                      </a:lnTo>
                      <a:lnTo>
                        <a:pt x="137" y="62"/>
                      </a:lnTo>
                      <a:lnTo>
                        <a:pt x="137" y="53"/>
                      </a:lnTo>
                      <a:lnTo>
                        <a:pt x="137" y="47"/>
                      </a:lnTo>
                      <a:lnTo>
                        <a:pt x="137" y="40"/>
                      </a:lnTo>
                      <a:lnTo>
                        <a:pt x="137" y="34"/>
                      </a:lnTo>
                      <a:lnTo>
                        <a:pt x="133" y="28"/>
                      </a:lnTo>
                      <a:lnTo>
                        <a:pt x="133" y="22"/>
                      </a:lnTo>
                      <a:lnTo>
                        <a:pt x="131" y="19"/>
                      </a:lnTo>
                      <a:lnTo>
                        <a:pt x="129" y="15"/>
                      </a:lnTo>
                      <a:lnTo>
                        <a:pt x="125" y="7"/>
                      </a:lnTo>
                      <a:lnTo>
                        <a:pt x="122" y="3"/>
                      </a:lnTo>
                      <a:lnTo>
                        <a:pt x="118" y="2"/>
                      </a:lnTo>
                      <a:lnTo>
                        <a:pt x="118" y="0"/>
                      </a:lnTo>
                      <a:close/>
                    </a:path>
                  </a:pathLst>
                </a:custGeom>
                <a:solidFill>
                  <a:srgbClr val="000000"/>
                </a:solidFill>
                <a:ln w="9525">
                  <a:noFill/>
                  <a:round/>
                  <a:headEnd/>
                  <a:tailEnd/>
                </a:ln>
              </p:spPr>
              <p:txBody>
                <a:bodyPr/>
                <a:lstStyle/>
                <a:p>
                  <a:pPr algn="l" eaLnBrk="1" hangingPunct="1"/>
                  <a:endParaRPr lang="en-US"/>
                </a:p>
              </p:txBody>
            </p:sp>
            <p:sp>
              <p:nvSpPr>
                <p:cNvPr id="1474" name="Freeform 639"/>
                <p:cNvSpPr>
                  <a:spLocks noChangeAspect="1"/>
                </p:cNvSpPr>
                <p:nvPr/>
              </p:nvSpPr>
              <p:spPr bwMode="auto">
                <a:xfrm>
                  <a:off x="3947" y="2214"/>
                  <a:ext cx="83" cy="282"/>
                </a:xfrm>
                <a:custGeom>
                  <a:avLst/>
                  <a:gdLst>
                    <a:gd name="T0" fmla="*/ 15 w 165"/>
                    <a:gd name="T1" fmla="*/ 4 h 565"/>
                    <a:gd name="T2" fmla="*/ 15 w 165"/>
                    <a:gd name="T3" fmla="*/ 13 h 565"/>
                    <a:gd name="T4" fmla="*/ 15 w 165"/>
                    <a:gd name="T5" fmla="*/ 26 h 565"/>
                    <a:gd name="T6" fmla="*/ 17 w 165"/>
                    <a:gd name="T7" fmla="*/ 44 h 565"/>
                    <a:gd name="T8" fmla="*/ 21 w 165"/>
                    <a:gd name="T9" fmla="*/ 61 h 565"/>
                    <a:gd name="T10" fmla="*/ 28 w 165"/>
                    <a:gd name="T11" fmla="*/ 82 h 565"/>
                    <a:gd name="T12" fmla="*/ 40 w 165"/>
                    <a:gd name="T13" fmla="*/ 99 h 565"/>
                    <a:gd name="T14" fmla="*/ 59 w 165"/>
                    <a:gd name="T15" fmla="*/ 114 h 565"/>
                    <a:gd name="T16" fmla="*/ 80 w 165"/>
                    <a:gd name="T17" fmla="*/ 127 h 565"/>
                    <a:gd name="T18" fmla="*/ 99 w 165"/>
                    <a:gd name="T19" fmla="*/ 142 h 565"/>
                    <a:gd name="T20" fmla="*/ 116 w 165"/>
                    <a:gd name="T21" fmla="*/ 158 h 565"/>
                    <a:gd name="T22" fmla="*/ 129 w 165"/>
                    <a:gd name="T23" fmla="*/ 175 h 565"/>
                    <a:gd name="T24" fmla="*/ 140 w 165"/>
                    <a:gd name="T25" fmla="*/ 196 h 565"/>
                    <a:gd name="T26" fmla="*/ 152 w 165"/>
                    <a:gd name="T27" fmla="*/ 220 h 565"/>
                    <a:gd name="T28" fmla="*/ 158 w 165"/>
                    <a:gd name="T29" fmla="*/ 249 h 565"/>
                    <a:gd name="T30" fmla="*/ 165 w 165"/>
                    <a:gd name="T31" fmla="*/ 283 h 565"/>
                    <a:gd name="T32" fmla="*/ 165 w 165"/>
                    <a:gd name="T33" fmla="*/ 323 h 565"/>
                    <a:gd name="T34" fmla="*/ 165 w 165"/>
                    <a:gd name="T35" fmla="*/ 367 h 565"/>
                    <a:gd name="T36" fmla="*/ 159 w 165"/>
                    <a:gd name="T37" fmla="*/ 412 h 565"/>
                    <a:gd name="T38" fmla="*/ 154 w 165"/>
                    <a:gd name="T39" fmla="*/ 458 h 565"/>
                    <a:gd name="T40" fmla="*/ 146 w 165"/>
                    <a:gd name="T41" fmla="*/ 498 h 565"/>
                    <a:gd name="T42" fmla="*/ 137 w 165"/>
                    <a:gd name="T43" fmla="*/ 532 h 565"/>
                    <a:gd name="T44" fmla="*/ 127 w 165"/>
                    <a:gd name="T45" fmla="*/ 553 h 565"/>
                    <a:gd name="T46" fmla="*/ 118 w 165"/>
                    <a:gd name="T47" fmla="*/ 565 h 565"/>
                    <a:gd name="T48" fmla="*/ 110 w 165"/>
                    <a:gd name="T49" fmla="*/ 565 h 565"/>
                    <a:gd name="T50" fmla="*/ 106 w 165"/>
                    <a:gd name="T51" fmla="*/ 563 h 565"/>
                    <a:gd name="T52" fmla="*/ 106 w 165"/>
                    <a:gd name="T53" fmla="*/ 551 h 565"/>
                    <a:gd name="T54" fmla="*/ 106 w 165"/>
                    <a:gd name="T55" fmla="*/ 544 h 565"/>
                    <a:gd name="T56" fmla="*/ 110 w 165"/>
                    <a:gd name="T57" fmla="*/ 532 h 565"/>
                    <a:gd name="T58" fmla="*/ 114 w 165"/>
                    <a:gd name="T59" fmla="*/ 521 h 565"/>
                    <a:gd name="T60" fmla="*/ 118 w 165"/>
                    <a:gd name="T61" fmla="*/ 508 h 565"/>
                    <a:gd name="T62" fmla="*/ 121 w 165"/>
                    <a:gd name="T63" fmla="*/ 487 h 565"/>
                    <a:gd name="T64" fmla="*/ 125 w 165"/>
                    <a:gd name="T65" fmla="*/ 456 h 565"/>
                    <a:gd name="T66" fmla="*/ 129 w 165"/>
                    <a:gd name="T67" fmla="*/ 420 h 565"/>
                    <a:gd name="T68" fmla="*/ 133 w 165"/>
                    <a:gd name="T69" fmla="*/ 380 h 565"/>
                    <a:gd name="T70" fmla="*/ 135 w 165"/>
                    <a:gd name="T71" fmla="*/ 338 h 565"/>
                    <a:gd name="T72" fmla="*/ 135 w 165"/>
                    <a:gd name="T73" fmla="*/ 296 h 565"/>
                    <a:gd name="T74" fmla="*/ 131 w 165"/>
                    <a:gd name="T75" fmla="*/ 260 h 565"/>
                    <a:gd name="T76" fmla="*/ 123 w 165"/>
                    <a:gd name="T77" fmla="*/ 230 h 565"/>
                    <a:gd name="T78" fmla="*/ 112 w 165"/>
                    <a:gd name="T79" fmla="*/ 205 h 565"/>
                    <a:gd name="T80" fmla="*/ 99 w 165"/>
                    <a:gd name="T81" fmla="*/ 184 h 565"/>
                    <a:gd name="T82" fmla="*/ 83 w 165"/>
                    <a:gd name="T83" fmla="*/ 167 h 565"/>
                    <a:gd name="T84" fmla="*/ 68 w 165"/>
                    <a:gd name="T85" fmla="*/ 154 h 565"/>
                    <a:gd name="T86" fmla="*/ 53 w 165"/>
                    <a:gd name="T87" fmla="*/ 141 h 565"/>
                    <a:gd name="T88" fmla="*/ 38 w 165"/>
                    <a:gd name="T89" fmla="*/ 129 h 565"/>
                    <a:gd name="T90" fmla="*/ 26 w 165"/>
                    <a:gd name="T91" fmla="*/ 114 h 565"/>
                    <a:gd name="T92" fmla="*/ 17 w 165"/>
                    <a:gd name="T93" fmla="*/ 101 h 565"/>
                    <a:gd name="T94" fmla="*/ 9 w 165"/>
                    <a:gd name="T95" fmla="*/ 84 h 565"/>
                    <a:gd name="T96" fmla="*/ 4 w 165"/>
                    <a:gd name="T97" fmla="*/ 68 h 565"/>
                    <a:gd name="T98" fmla="*/ 2 w 165"/>
                    <a:gd name="T99" fmla="*/ 51 h 565"/>
                    <a:gd name="T100" fmla="*/ 2 w 165"/>
                    <a:gd name="T101" fmla="*/ 36 h 565"/>
                    <a:gd name="T102" fmla="*/ 0 w 165"/>
                    <a:gd name="T103" fmla="*/ 25 h 565"/>
                    <a:gd name="T104" fmla="*/ 2 w 165"/>
                    <a:gd name="T105" fmla="*/ 13 h 565"/>
                    <a:gd name="T106" fmla="*/ 4 w 165"/>
                    <a:gd name="T107" fmla="*/ 6 h 565"/>
                    <a:gd name="T108" fmla="*/ 15 w 165"/>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5"/>
                    <a:gd name="T166" fmla="*/ 0 h 565"/>
                    <a:gd name="T167" fmla="*/ 165 w 165"/>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5" h="565">
                      <a:moveTo>
                        <a:pt x="15" y="0"/>
                      </a:moveTo>
                      <a:lnTo>
                        <a:pt x="15" y="4"/>
                      </a:lnTo>
                      <a:lnTo>
                        <a:pt x="15" y="7"/>
                      </a:lnTo>
                      <a:lnTo>
                        <a:pt x="15" y="13"/>
                      </a:lnTo>
                      <a:lnTo>
                        <a:pt x="15" y="19"/>
                      </a:lnTo>
                      <a:lnTo>
                        <a:pt x="15" y="26"/>
                      </a:lnTo>
                      <a:lnTo>
                        <a:pt x="15" y="34"/>
                      </a:lnTo>
                      <a:lnTo>
                        <a:pt x="17" y="44"/>
                      </a:lnTo>
                      <a:lnTo>
                        <a:pt x="17" y="51"/>
                      </a:lnTo>
                      <a:lnTo>
                        <a:pt x="21" y="61"/>
                      </a:lnTo>
                      <a:lnTo>
                        <a:pt x="23" y="70"/>
                      </a:lnTo>
                      <a:lnTo>
                        <a:pt x="28" y="82"/>
                      </a:lnTo>
                      <a:lnTo>
                        <a:pt x="34" y="91"/>
                      </a:lnTo>
                      <a:lnTo>
                        <a:pt x="40" y="99"/>
                      </a:lnTo>
                      <a:lnTo>
                        <a:pt x="49" y="106"/>
                      </a:lnTo>
                      <a:lnTo>
                        <a:pt x="59" y="114"/>
                      </a:lnTo>
                      <a:lnTo>
                        <a:pt x="68" y="122"/>
                      </a:lnTo>
                      <a:lnTo>
                        <a:pt x="80" y="127"/>
                      </a:lnTo>
                      <a:lnTo>
                        <a:pt x="89" y="135"/>
                      </a:lnTo>
                      <a:lnTo>
                        <a:pt x="99" y="142"/>
                      </a:lnTo>
                      <a:lnTo>
                        <a:pt x="106" y="148"/>
                      </a:lnTo>
                      <a:lnTo>
                        <a:pt x="116" y="158"/>
                      </a:lnTo>
                      <a:lnTo>
                        <a:pt x="121" y="165"/>
                      </a:lnTo>
                      <a:lnTo>
                        <a:pt x="129" y="175"/>
                      </a:lnTo>
                      <a:lnTo>
                        <a:pt x="135" y="184"/>
                      </a:lnTo>
                      <a:lnTo>
                        <a:pt x="140" y="196"/>
                      </a:lnTo>
                      <a:lnTo>
                        <a:pt x="146" y="205"/>
                      </a:lnTo>
                      <a:lnTo>
                        <a:pt x="152" y="220"/>
                      </a:lnTo>
                      <a:lnTo>
                        <a:pt x="156" y="234"/>
                      </a:lnTo>
                      <a:lnTo>
                        <a:pt x="158" y="249"/>
                      </a:lnTo>
                      <a:lnTo>
                        <a:pt x="161" y="264"/>
                      </a:lnTo>
                      <a:lnTo>
                        <a:pt x="165" y="283"/>
                      </a:lnTo>
                      <a:lnTo>
                        <a:pt x="165" y="302"/>
                      </a:lnTo>
                      <a:lnTo>
                        <a:pt x="165" y="323"/>
                      </a:lnTo>
                      <a:lnTo>
                        <a:pt x="165" y="344"/>
                      </a:lnTo>
                      <a:lnTo>
                        <a:pt x="165" y="367"/>
                      </a:lnTo>
                      <a:lnTo>
                        <a:pt x="161" y="390"/>
                      </a:lnTo>
                      <a:lnTo>
                        <a:pt x="159" y="412"/>
                      </a:lnTo>
                      <a:lnTo>
                        <a:pt x="158" y="435"/>
                      </a:lnTo>
                      <a:lnTo>
                        <a:pt x="154" y="458"/>
                      </a:lnTo>
                      <a:lnTo>
                        <a:pt x="150" y="479"/>
                      </a:lnTo>
                      <a:lnTo>
                        <a:pt x="146" y="498"/>
                      </a:lnTo>
                      <a:lnTo>
                        <a:pt x="140" y="515"/>
                      </a:lnTo>
                      <a:lnTo>
                        <a:pt x="137" y="532"/>
                      </a:lnTo>
                      <a:lnTo>
                        <a:pt x="133" y="544"/>
                      </a:lnTo>
                      <a:lnTo>
                        <a:pt x="127" y="553"/>
                      </a:lnTo>
                      <a:lnTo>
                        <a:pt x="123" y="561"/>
                      </a:lnTo>
                      <a:lnTo>
                        <a:pt x="118" y="565"/>
                      </a:lnTo>
                      <a:lnTo>
                        <a:pt x="114" y="565"/>
                      </a:lnTo>
                      <a:lnTo>
                        <a:pt x="110" y="565"/>
                      </a:lnTo>
                      <a:lnTo>
                        <a:pt x="108" y="563"/>
                      </a:lnTo>
                      <a:lnTo>
                        <a:pt x="106" y="563"/>
                      </a:lnTo>
                      <a:lnTo>
                        <a:pt x="104" y="557"/>
                      </a:lnTo>
                      <a:lnTo>
                        <a:pt x="106" y="551"/>
                      </a:lnTo>
                      <a:lnTo>
                        <a:pt x="106" y="547"/>
                      </a:lnTo>
                      <a:lnTo>
                        <a:pt x="106" y="544"/>
                      </a:lnTo>
                      <a:lnTo>
                        <a:pt x="108" y="538"/>
                      </a:lnTo>
                      <a:lnTo>
                        <a:pt x="110" y="532"/>
                      </a:lnTo>
                      <a:lnTo>
                        <a:pt x="112" y="527"/>
                      </a:lnTo>
                      <a:lnTo>
                        <a:pt x="114" y="521"/>
                      </a:lnTo>
                      <a:lnTo>
                        <a:pt x="116" y="513"/>
                      </a:lnTo>
                      <a:lnTo>
                        <a:pt x="118" y="508"/>
                      </a:lnTo>
                      <a:lnTo>
                        <a:pt x="118" y="498"/>
                      </a:lnTo>
                      <a:lnTo>
                        <a:pt x="121" y="487"/>
                      </a:lnTo>
                      <a:lnTo>
                        <a:pt x="123" y="471"/>
                      </a:lnTo>
                      <a:lnTo>
                        <a:pt x="125" y="456"/>
                      </a:lnTo>
                      <a:lnTo>
                        <a:pt x="127" y="439"/>
                      </a:lnTo>
                      <a:lnTo>
                        <a:pt x="129" y="420"/>
                      </a:lnTo>
                      <a:lnTo>
                        <a:pt x="131" y="401"/>
                      </a:lnTo>
                      <a:lnTo>
                        <a:pt x="133" y="380"/>
                      </a:lnTo>
                      <a:lnTo>
                        <a:pt x="135" y="359"/>
                      </a:lnTo>
                      <a:lnTo>
                        <a:pt x="135" y="338"/>
                      </a:lnTo>
                      <a:lnTo>
                        <a:pt x="135" y="317"/>
                      </a:lnTo>
                      <a:lnTo>
                        <a:pt x="135" y="296"/>
                      </a:lnTo>
                      <a:lnTo>
                        <a:pt x="133" y="277"/>
                      </a:lnTo>
                      <a:lnTo>
                        <a:pt x="131" y="260"/>
                      </a:lnTo>
                      <a:lnTo>
                        <a:pt x="127" y="243"/>
                      </a:lnTo>
                      <a:lnTo>
                        <a:pt x="123" y="230"/>
                      </a:lnTo>
                      <a:lnTo>
                        <a:pt x="118" y="217"/>
                      </a:lnTo>
                      <a:lnTo>
                        <a:pt x="112" y="205"/>
                      </a:lnTo>
                      <a:lnTo>
                        <a:pt x="106" y="194"/>
                      </a:lnTo>
                      <a:lnTo>
                        <a:pt x="99" y="184"/>
                      </a:lnTo>
                      <a:lnTo>
                        <a:pt x="91" y="177"/>
                      </a:lnTo>
                      <a:lnTo>
                        <a:pt x="83" y="167"/>
                      </a:lnTo>
                      <a:lnTo>
                        <a:pt x="76" y="161"/>
                      </a:lnTo>
                      <a:lnTo>
                        <a:pt x="68" y="154"/>
                      </a:lnTo>
                      <a:lnTo>
                        <a:pt x="61" y="148"/>
                      </a:lnTo>
                      <a:lnTo>
                        <a:pt x="53" y="141"/>
                      </a:lnTo>
                      <a:lnTo>
                        <a:pt x="45" y="135"/>
                      </a:lnTo>
                      <a:lnTo>
                        <a:pt x="38" y="129"/>
                      </a:lnTo>
                      <a:lnTo>
                        <a:pt x="32" y="122"/>
                      </a:lnTo>
                      <a:lnTo>
                        <a:pt x="26" y="114"/>
                      </a:lnTo>
                      <a:lnTo>
                        <a:pt x="21" y="108"/>
                      </a:lnTo>
                      <a:lnTo>
                        <a:pt x="17" y="101"/>
                      </a:lnTo>
                      <a:lnTo>
                        <a:pt x="11" y="93"/>
                      </a:lnTo>
                      <a:lnTo>
                        <a:pt x="9" y="84"/>
                      </a:lnTo>
                      <a:lnTo>
                        <a:pt x="5" y="76"/>
                      </a:lnTo>
                      <a:lnTo>
                        <a:pt x="4" y="68"/>
                      </a:lnTo>
                      <a:lnTo>
                        <a:pt x="2" y="59"/>
                      </a:lnTo>
                      <a:lnTo>
                        <a:pt x="2" y="51"/>
                      </a:lnTo>
                      <a:lnTo>
                        <a:pt x="2" y="44"/>
                      </a:lnTo>
                      <a:lnTo>
                        <a:pt x="2" y="36"/>
                      </a:lnTo>
                      <a:lnTo>
                        <a:pt x="0" y="30"/>
                      </a:lnTo>
                      <a:lnTo>
                        <a:pt x="0" y="25"/>
                      </a:lnTo>
                      <a:lnTo>
                        <a:pt x="2" y="17"/>
                      </a:lnTo>
                      <a:lnTo>
                        <a:pt x="2" y="13"/>
                      </a:lnTo>
                      <a:lnTo>
                        <a:pt x="2" y="7"/>
                      </a:lnTo>
                      <a:lnTo>
                        <a:pt x="4" y="6"/>
                      </a:lnTo>
                      <a:lnTo>
                        <a:pt x="15" y="0"/>
                      </a:lnTo>
                      <a:close/>
                    </a:path>
                  </a:pathLst>
                </a:custGeom>
                <a:solidFill>
                  <a:srgbClr val="000000"/>
                </a:solidFill>
                <a:ln w="9525">
                  <a:noFill/>
                  <a:round/>
                  <a:headEnd/>
                  <a:tailEnd/>
                </a:ln>
              </p:spPr>
              <p:txBody>
                <a:bodyPr/>
                <a:lstStyle/>
                <a:p>
                  <a:pPr algn="l" eaLnBrk="1" hangingPunct="1"/>
                  <a:endParaRPr lang="en-US"/>
                </a:p>
              </p:txBody>
            </p:sp>
            <p:sp>
              <p:nvSpPr>
                <p:cNvPr id="1475" name="Freeform 640"/>
                <p:cNvSpPr>
                  <a:spLocks noChangeAspect="1"/>
                </p:cNvSpPr>
                <p:nvPr/>
              </p:nvSpPr>
              <p:spPr bwMode="auto">
                <a:xfrm>
                  <a:off x="3860" y="2492"/>
                  <a:ext cx="135" cy="37"/>
                </a:xfrm>
                <a:custGeom>
                  <a:avLst/>
                  <a:gdLst>
                    <a:gd name="T0" fmla="*/ 2 w 270"/>
                    <a:gd name="T1" fmla="*/ 0 h 74"/>
                    <a:gd name="T2" fmla="*/ 4 w 270"/>
                    <a:gd name="T3" fmla="*/ 2 h 74"/>
                    <a:gd name="T4" fmla="*/ 6 w 270"/>
                    <a:gd name="T5" fmla="*/ 2 h 74"/>
                    <a:gd name="T6" fmla="*/ 9 w 270"/>
                    <a:gd name="T7" fmla="*/ 6 h 74"/>
                    <a:gd name="T8" fmla="*/ 15 w 270"/>
                    <a:gd name="T9" fmla="*/ 10 h 74"/>
                    <a:gd name="T10" fmla="*/ 21 w 270"/>
                    <a:gd name="T11" fmla="*/ 13 h 74"/>
                    <a:gd name="T12" fmla="*/ 28 w 270"/>
                    <a:gd name="T13" fmla="*/ 17 h 74"/>
                    <a:gd name="T14" fmla="*/ 36 w 270"/>
                    <a:gd name="T15" fmla="*/ 21 h 74"/>
                    <a:gd name="T16" fmla="*/ 45 w 270"/>
                    <a:gd name="T17" fmla="*/ 25 h 74"/>
                    <a:gd name="T18" fmla="*/ 55 w 270"/>
                    <a:gd name="T19" fmla="*/ 29 h 74"/>
                    <a:gd name="T20" fmla="*/ 66 w 270"/>
                    <a:gd name="T21" fmla="*/ 32 h 74"/>
                    <a:gd name="T22" fmla="*/ 80 w 270"/>
                    <a:gd name="T23" fmla="*/ 36 h 74"/>
                    <a:gd name="T24" fmla="*/ 93 w 270"/>
                    <a:gd name="T25" fmla="*/ 38 h 74"/>
                    <a:gd name="T26" fmla="*/ 106 w 270"/>
                    <a:gd name="T27" fmla="*/ 40 h 74"/>
                    <a:gd name="T28" fmla="*/ 123 w 270"/>
                    <a:gd name="T29" fmla="*/ 42 h 74"/>
                    <a:gd name="T30" fmla="*/ 140 w 270"/>
                    <a:gd name="T31" fmla="*/ 42 h 74"/>
                    <a:gd name="T32" fmla="*/ 156 w 270"/>
                    <a:gd name="T33" fmla="*/ 42 h 74"/>
                    <a:gd name="T34" fmla="*/ 171 w 270"/>
                    <a:gd name="T35" fmla="*/ 40 h 74"/>
                    <a:gd name="T36" fmla="*/ 184 w 270"/>
                    <a:gd name="T37" fmla="*/ 40 h 74"/>
                    <a:gd name="T38" fmla="*/ 197 w 270"/>
                    <a:gd name="T39" fmla="*/ 38 h 74"/>
                    <a:gd name="T40" fmla="*/ 209 w 270"/>
                    <a:gd name="T41" fmla="*/ 36 h 74"/>
                    <a:gd name="T42" fmla="*/ 220 w 270"/>
                    <a:gd name="T43" fmla="*/ 32 h 74"/>
                    <a:gd name="T44" fmla="*/ 228 w 270"/>
                    <a:gd name="T45" fmla="*/ 31 h 74"/>
                    <a:gd name="T46" fmla="*/ 237 w 270"/>
                    <a:gd name="T47" fmla="*/ 29 h 74"/>
                    <a:gd name="T48" fmla="*/ 245 w 270"/>
                    <a:gd name="T49" fmla="*/ 27 h 74"/>
                    <a:gd name="T50" fmla="*/ 251 w 270"/>
                    <a:gd name="T51" fmla="*/ 25 h 74"/>
                    <a:gd name="T52" fmla="*/ 256 w 270"/>
                    <a:gd name="T53" fmla="*/ 23 h 74"/>
                    <a:gd name="T54" fmla="*/ 262 w 270"/>
                    <a:gd name="T55" fmla="*/ 19 h 74"/>
                    <a:gd name="T56" fmla="*/ 270 w 270"/>
                    <a:gd name="T57" fmla="*/ 17 h 74"/>
                    <a:gd name="T58" fmla="*/ 260 w 270"/>
                    <a:gd name="T59" fmla="*/ 27 h 74"/>
                    <a:gd name="T60" fmla="*/ 254 w 270"/>
                    <a:gd name="T61" fmla="*/ 31 h 74"/>
                    <a:gd name="T62" fmla="*/ 251 w 270"/>
                    <a:gd name="T63" fmla="*/ 36 h 74"/>
                    <a:gd name="T64" fmla="*/ 243 w 270"/>
                    <a:gd name="T65" fmla="*/ 42 h 74"/>
                    <a:gd name="T66" fmla="*/ 235 w 270"/>
                    <a:gd name="T67" fmla="*/ 48 h 74"/>
                    <a:gd name="T68" fmla="*/ 226 w 270"/>
                    <a:gd name="T69" fmla="*/ 53 h 74"/>
                    <a:gd name="T70" fmla="*/ 216 w 270"/>
                    <a:gd name="T71" fmla="*/ 59 h 74"/>
                    <a:gd name="T72" fmla="*/ 205 w 270"/>
                    <a:gd name="T73" fmla="*/ 63 h 74"/>
                    <a:gd name="T74" fmla="*/ 192 w 270"/>
                    <a:gd name="T75" fmla="*/ 67 h 74"/>
                    <a:gd name="T76" fmla="*/ 178 w 270"/>
                    <a:gd name="T77" fmla="*/ 70 h 74"/>
                    <a:gd name="T78" fmla="*/ 163 w 270"/>
                    <a:gd name="T79" fmla="*/ 72 h 74"/>
                    <a:gd name="T80" fmla="*/ 148 w 270"/>
                    <a:gd name="T81" fmla="*/ 74 h 74"/>
                    <a:gd name="T82" fmla="*/ 131 w 270"/>
                    <a:gd name="T83" fmla="*/ 74 h 74"/>
                    <a:gd name="T84" fmla="*/ 112 w 270"/>
                    <a:gd name="T85" fmla="*/ 70 h 74"/>
                    <a:gd name="T86" fmla="*/ 97 w 270"/>
                    <a:gd name="T87" fmla="*/ 69 h 74"/>
                    <a:gd name="T88" fmla="*/ 82 w 270"/>
                    <a:gd name="T89" fmla="*/ 67 h 74"/>
                    <a:gd name="T90" fmla="*/ 70 w 270"/>
                    <a:gd name="T91" fmla="*/ 65 h 74"/>
                    <a:gd name="T92" fmla="*/ 59 w 270"/>
                    <a:gd name="T93" fmla="*/ 61 h 74"/>
                    <a:gd name="T94" fmla="*/ 49 w 270"/>
                    <a:gd name="T95" fmla="*/ 57 h 74"/>
                    <a:gd name="T96" fmla="*/ 40 w 270"/>
                    <a:gd name="T97" fmla="*/ 55 h 74"/>
                    <a:gd name="T98" fmla="*/ 34 w 270"/>
                    <a:gd name="T99" fmla="*/ 51 h 74"/>
                    <a:gd name="T100" fmla="*/ 26 w 270"/>
                    <a:gd name="T101" fmla="*/ 48 h 74"/>
                    <a:gd name="T102" fmla="*/ 21 w 270"/>
                    <a:gd name="T103" fmla="*/ 44 h 74"/>
                    <a:gd name="T104" fmla="*/ 17 w 270"/>
                    <a:gd name="T105" fmla="*/ 40 h 74"/>
                    <a:gd name="T106" fmla="*/ 13 w 270"/>
                    <a:gd name="T107" fmla="*/ 38 h 74"/>
                    <a:gd name="T108" fmla="*/ 7 w 270"/>
                    <a:gd name="T109" fmla="*/ 32 h 74"/>
                    <a:gd name="T110" fmla="*/ 4 w 270"/>
                    <a:gd name="T111" fmla="*/ 27 h 74"/>
                    <a:gd name="T112" fmla="*/ 2 w 270"/>
                    <a:gd name="T113" fmla="*/ 21 h 74"/>
                    <a:gd name="T114" fmla="*/ 0 w 270"/>
                    <a:gd name="T115" fmla="*/ 15 h 74"/>
                    <a:gd name="T116" fmla="*/ 0 w 270"/>
                    <a:gd name="T117" fmla="*/ 12 h 74"/>
                    <a:gd name="T118" fmla="*/ 0 w 270"/>
                    <a:gd name="T119" fmla="*/ 8 h 74"/>
                    <a:gd name="T120" fmla="*/ 0 w 270"/>
                    <a:gd name="T121" fmla="*/ 2 h 74"/>
                    <a:gd name="T122" fmla="*/ 2 w 270"/>
                    <a:gd name="T123" fmla="*/ 0 h 74"/>
                    <a:gd name="T124" fmla="*/ 2 w 270"/>
                    <a:gd name="T125" fmla="*/ 0 h 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0"/>
                    <a:gd name="T190" fmla="*/ 0 h 74"/>
                    <a:gd name="T191" fmla="*/ 270 w 270"/>
                    <a:gd name="T192" fmla="*/ 74 h 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0" h="74">
                      <a:moveTo>
                        <a:pt x="2" y="0"/>
                      </a:moveTo>
                      <a:lnTo>
                        <a:pt x="4" y="2"/>
                      </a:lnTo>
                      <a:lnTo>
                        <a:pt x="6" y="2"/>
                      </a:lnTo>
                      <a:lnTo>
                        <a:pt x="9" y="6"/>
                      </a:lnTo>
                      <a:lnTo>
                        <a:pt x="15" y="10"/>
                      </a:lnTo>
                      <a:lnTo>
                        <a:pt x="21" y="13"/>
                      </a:lnTo>
                      <a:lnTo>
                        <a:pt x="28" y="17"/>
                      </a:lnTo>
                      <a:lnTo>
                        <a:pt x="36" y="21"/>
                      </a:lnTo>
                      <a:lnTo>
                        <a:pt x="45" y="25"/>
                      </a:lnTo>
                      <a:lnTo>
                        <a:pt x="55" y="29"/>
                      </a:lnTo>
                      <a:lnTo>
                        <a:pt x="66" y="32"/>
                      </a:lnTo>
                      <a:lnTo>
                        <a:pt x="80" y="36"/>
                      </a:lnTo>
                      <a:lnTo>
                        <a:pt x="93" y="38"/>
                      </a:lnTo>
                      <a:lnTo>
                        <a:pt x="106" y="40"/>
                      </a:lnTo>
                      <a:lnTo>
                        <a:pt x="123" y="42"/>
                      </a:lnTo>
                      <a:lnTo>
                        <a:pt x="140" y="42"/>
                      </a:lnTo>
                      <a:lnTo>
                        <a:pt x="156" y="42"/>
                      </a:lnTo>
                      <a:lnTo>
                        <a:pt x="171" y="40"/>
                      </a:lnTo>
                      <a:lnTo>
                        <a:pt x="184" y="40"/>
                      </a:lnTo>
                      <a:lnTo>
                        <a:pt x="197" y="38"/>
                      </a:lnTo>
                      <a:lnTo>
                        <a:pt x="209" y="36"/>
                      </a:lnTo>
                      <a:lnTo>
                        <a:pt x="220" y="32"/>
                      </a:lnTo>
                      <a:lnTo>
                        <a:pt x="228" y="31"/>
                      </a:lnTo>
                      <a:lnTo>
                        <a:pt x="237" y="29"/>
                      </a:lnTo>
                      <a:lnTo>
                        <a:pt x="245" y="27"/>
                      </a:lnTo>
                      <a:lnTo>
                        <a:pt x="251" y="25"/>
                      </a:lnTo>
                      <a:lnTo>
                        <a:pt x="256" y="23"/>
                      </a:lnTo>
                      <a:lnTo>
                        <a:pt x="262" y="19"/>
                      </a:lnTo>
                      <a:lnTo>
                        <a:pt x="270" y="17"/>
                      </a:lnTo>
                      <a:lnTo>
                        <a:pt x="260" y="27"/>
                      </a:lnTo>
                      <a:lnTo>
                        <a:pt x="254" y="31"/>
                      </a:lnTo>
                      <a:lnTo>
                        <a:pt x="251" y="36"/>
                      </a:lnTo>
                      <a:lnTo>
                        <a:pt x="243" y="42"/>
                      </a:lnTo>
                      <a:lnTo>
                        <a:pt x="235" y="48"/>
                      </a:lnTo>
                      <a:lnTo>
                        <a:pt x="226" y="53"/>
                      </a:lnTo>
                      <a:lnTo>
                        <a:pt x="216" y="59"/>
                      </a:lnTo>
                      <a:lnTo>
                        <a:pt x="205" y="63"/>
                      </a:lnTo>
                      <a:lnTo>
                        <a:pt x="192" y="67"/>
                      </a:lnTo>
                      <a:lnTo>
                        <a:pt x="178" y="70"/>
                      </a:lnTo>
                      <a:lnTo>
                        <a:pt x="163" y="72"/>
                      </a:lnTo>
                      <a:lnTo>
                        <a:pt x="148" y="74"/>
                      </a:lnTo>
                      <a:lnTo>
                        <a:pt x="131" y="74"/>
                      </a:lnTo>
                      <a:lnTo>
                        <a:pt x="112" y="70"/>
                      </a:lnTo>
                      <a:lnTo>
                        <a:pt x="97" y="69"/>
                      </a:lnTo>
                      <a:lnTo>
                        <a:pt x="82" y="67"/>
                      </a:lnTo>
                      <a:lnTo>
                        <a:pt x="70" y="65"/>
                      </a:lnTo>
                      <a:lnTo>
                        <a:pt x="59" y="61"/>
                      </a:lnTo>
                      <a:lnTo>
                        <a:pt x="49" y="57"/>
                      </a:lnTo>
                      <a:lnTo>
                        <a:pt x="40" y="55"/>
                      </a:lnTo>
                      <a:lnTo>
                        <a:pt x="34" y="51"/>
                      </a:lnTo>
                      <a:lnTo>
                        <a:pt x="26" y="48"/>
                      </a:lnTo>
                      <a:lnTo>
                        <a:pt x="21" y="44"/>
                      </a:lnTo>
                      <a:lnTo>
                        <a:pt x="17" y="40"/>
                      </a:lnTo>
                      <a:lnTo>
                        <a:pt x="13" y="38"/>
                      </a:lnTo>
                      <a:lnTo>
                        <a:pt x="7" y="32"/>
                      </a:lnTo>
                      <a:lnTo>
                        <a:pt x="4" y="27"/>
                      </a:lnTo>
                      <a:lnTo>
                        <a:pt x="2" y="21"/>
                      </a:lnTo>
                      <a:lnTo>
                        <a:pt x="0" y="15"/>
                      </a:lnTo>
                      <a:lnTo>
                        <a:pt x="0" y="12"/>
                      </a:lnTo>
                      <a:lnTo>
                        <a:pt x="0" y="8"/>
                      </a:lnTo>
                      <a:lnTo>
                        <a:pt x="0" y="2"/>
                      </a:lnTo>
                      <a:lnTo>
                        <a:pt x="2" y="0"/>
                      </a:lnTo>
                      <a:close/>
                    </a:path>
                  </a:pathLst>
                </a:custGeom>
                <a:solidFill>
                  <a:srgbClr val="000000"/>
                </a:solidFill>
                <a:ln w="9525">
                  <a:noFill/>
                  <a:round/>
                  <a:headEnd/>
                  <a:tailEnd/>
                </a:ln>
              </p:spPr>
              <p:txBody>
                <a:bodyPr/>
                <a:lstStyle/>
                <a:p>
                  <a:pPr algn="l" eaLnBrk="1" hangingPunct="1"/>
                  <a:endParaRPr lang="en-US"/>
                </a:p>
              </p:txBody>
            </p:sp>
            <p:sp>
              <p:nvSpPr>
                <p:cNvPr id="1476" name="Freeform 641"/>
                <p:cNvSpPr>
                  <a:spLocks noChangeAspect="1"/>
                </p:cNvSpPr>
                <p:nvPr/>
              </p:nvSpPr>
              <p:spPr bwMode="auto">
                <a:xfrm>
                  <a:off x="3857" y="2315"/>
                  <a:ext cx="148" cy="88"/>
                </a:xfrm>
                <a:custGeom>
                  <a:avLst/>
                  <a:gdLst>
                    <a:gd name="T0" fmla="*/ 126 w 297"/>
                    <a:gd name="T1" fmla="*/ 2 h 177"/>
                    <a:gd name="T2" fmla="*/ 109 w 297"/>
                    <a:gd name="T3" fmla="*/ 6 h 177"/>
                    <a:gd name="T4" fmla="*/ 86 w 297"/>
                    <a:gd name="T5" fmla="*/ 14 h 177"/>
                    <a:gd name="T6" fmla="*/ 65 w 297"/>
                    <a:gd name="T7" fmla="*/ 23 h 177"/>
                    <a:gd name="T8" fmla="*/ 46 w 297"/>
                    <a:gd name="T9" fmla="*/ 37 h 177"/>
                    <a:gd name="T10" fmla="*/ 31 w 297"/>
                    <a:gd name="T11" fmla="*/ 52 h 177"/>
                    <a:gd name="T12" fmla="*/ 25 w 297"/>
                    <a:gd name="T13" fmla="*/ 71 h 177"/>
                    <a:gd name="T14" fmla="*/ 25 w 297"/>
                    <a:gd name="T15" fmla="*/ 92 h 177"/>
                    <a:gd name="T16" fmla="*/ 38 w 297"/>
                    <a:gd name="T17" fmla="*/ 113 h 177"/>
                    <a:gd name="T18" fmla="*/ 61 w 297"/>
                    <a:gd name="T19" fmla="*/ 130 h 177"/>
                    <a:gd name="T20" fmla="*/ 93 w 297"/>
                    <a:gd name="T21" fmla="*/ 139 h 177"/>
                    <a:gd name="T22" fmla="*/ 128 w 297"/>
                    <a:gd name="T23" fmla="*/ 145 h 177"/>
                    <a:gd name="T24" fmla="*/ 166 w 297"/>
                    <a:gd name="T25" fmla="*/ 147 h 177"/>
                    <a:gd name="T26" fmla="*/ 200 w 297"/>
                    <a:gd name="T27" fmla="*/ 143 h 177"/>
                    <a:gd name="T28" fmla="*/ 230 w 297"/>
                    <a:gd name="T29" fmla="*/ 134 h 177"/>
                    <a:gd name="T30" fmla="*/ 255 w 297"/>
                    <a:gd name="T31" fmla="*/ 124 h 177"/>
                    <a:gd name="T32" fmla="*/ 266 w 297"/>
                    <a:gd name="T33" fmla="*/ 111 h 177"/>
                    <a:gd name="T34" fmla="*/ 270 w 297"/>
                    <a:gd name="T35" fmla="*/ 95 h 177"/>
                    <a:gd name="T36" fmla="*/ 268 w 297"/>
                    <a:gd name="T37" fmla="*/ 80 h 177"/>
                    <a:gd name="T38" fmla="*/ 262 w 297"/>
                    <a:gd name="T39" fmla="*/ 67 h 177"/>
                    <a:gd name="T40" fmla="*/ 255 w 297"/>
                    <a:gd name="T41" fmla="*/ 54 h 177"/>
                    <a:gd name="T42" fmla="*/ 245 w 297"/>
                    <a:gd name="T43" fmla="*/ 42 h 177"/>
                    <a:gd name="T44" fmla="*/ 236 w 297"/>
                    <a:gd name="T45" fmla="*/ 33 h 177"/>
                    <a:gd name="T46" fmla="*/ 236 w 297"/>
                    <a:gd name="T47" fmla="*/ 31 h 177"/>
                    <a:gd name="T48" fmla="*/ 247 w 297"/>
                    <a:gd name="T49" fmla="*/ 33 h 177"/>
                    <a:gd name="T50" fmla="*/ 261 w 297"/>
                    <a:gd name="T51" fmla="*/ 38 h 177"/>
                    <a:gd name="T52" fmla="*/ 274 w 297"/>
                    <a:gd name="T53" fmla="*/ 46 h 177"/>
                    <a:gd name="T54" fmla="*/ 287 w 297"/>
                    <a:gd name="T55" fmla="*/ 57 h 177"/>
                    <a:gd name="T56" fmla="*/ 295 w 297"/>
                    <a:gd name="T57" fmla="*/ 75 h 177"/>
                    <a:gd name="T58" fmla="*/ 297 w 297"/>
                    <a:gd name="T59" fmla="*/ 94 h 177"/>
                    <a:gd name="T60" fmla="*/ 289 w 297"/>
                    <a:gd name="T61" fmla="*/ 120 h 177"/>
                    <a:gd name="T62" fmla="*/ 268 w 297"/>
                    <a:gd name="T63" fmla="*/ 143 h 177"/>
                    <a:gd name="T64" fmla="*/ 238 w 297"/>
                    <a:gd name="T65" fmla="*/ 160 h 177"/>
                    <a:gd name="T66" fmla="*/ 198 w 297"/>
                    <a:gd name="T67" fmla="*/ 172 h 177"/>
                    <a:gd name="T68" fmla="*/ 158 w 297"/>
                    <a:gd name="T69" fmla="*/ 177 h 177"/>
                    <a:gd name="T70" fmla="*/ 114 w 297"/>
                    <a:gd name="T71" fmla="*/ 173 h 177"/>
                    <a:gd name="T72" fmla="*/ 74 w 297"/>
                    <a:gd name="T73" fmla="*/ 168 h 177"/>
                    <a:gd name="T74" fmla="*/ 42 w 297"/>
                    <a:gd name="T75" fmla="*/ 154 h 177"/>
                    <a:gd name="T76" fmla="*/ 19 w 297"/>
                    <a:gd name="T77" fmla="*/ 135 h 177"/>
                    <a:gd name="T78" fmla="*/ 6 w 297"/>
                    <a:gd name="T79" fmla="*/ 113 h 177"/>
                    <a:gd name="T80" fmla="*/ 0 w 297"/>
                    <a:gd name="T81" fmla="*/ 94 h 177"/>
                    <a:gd name="T82" fmla="*/ 0 w 297"/>
                    <a:gd name="T83" fmla="*/ 73 h 177"/>
                    <a:gd name="T84" fmla="*/ 6 w 297"/>
                    <a:gd name="T85" fmla="*/ 56 h 177"/>
                    <a:gd name="T86" fmla="*/ 15 w 297"/>
                    <a:gd name="T87" fmla="*/ 40 h 177"/>
                    <a:gd name="T88" fmla="*/ 25 w 297"/>
                    <a:gd name="T89" fmla="*/ 27 h 177"/>
                    <a:gd name="T90" fmla="*/ 36 w 297"/>
                    <a:gd name="T91" fmla="*/ 18 h 177"/>
                    <a:gd name="T92" fmla="*/ 48 w 297"/>
                    <a:gd name="T93" fmla="*/ 12 h 177"/>
                    <a:gd name="T94" fmla="*/ 59 w 297"/>
                    <a:gd name="T95" fmla="*/ 6 h 177"/>
                    <a:gd name="T96" fmla="*/ 72 w 297"/>
                    <a:gd name="T97" fmla="*/ 4 h 177"/>
                    <a:gd name="T98" fmla="*/ 86 w 297"/>
                    <a:gd name="T99" fmla="*/ 2 h 177"/>
                    <a:gd name="T100" fmla="*/ 101 w 297"/>
                    <a:gd name="T101" fmla="*/ 2 h 177"/>
                    <a:gd name="T102" fmla="*/ 112 w 297"/>
                    <a:gd name="T103" fmla="*/ 0 h 177"/>
                    <a:gd name="T104" fmla="*/ 124 w 297"/>
                    <a:gd name="T105" fmla="*/ 2 h 177"/>
                    <a:gd name="T106" fmla="*/ 131 w 297"/>
                    <a:gd name="T107" fmla="*/ 2 h 177"/>
                    <a:gd name="T108" fmla="*/ 133 w 297"/>
                    <a:gd name="T109" fmla="*/ 2 h 1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97"/>
                    <a:gd name="T166" fmla="*/ 0 h 177"/>
                    <a:gd name="T167" fmla="*/ 297 w 297"/>
                    <a:gd name="T168" fmla="*/ 177 h 1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97" h="177">
                      <a:moveTo>
                        <a:pt x="133" y="2"/>
                      </a:moveTo>
                      <a:lnTo>
                        <a:pt x="126" y="2"/>
                      </a:lnTo>
                      <a:lnTo>
                        <a:pt x="118" y="4"/>
                      </a:lnTo>
                      <a:lnTo>
                        <a:pt x="109" y="6"/>
                      </a:lnTo>
                      <a:lnTo>
                        <a:pt x="97" y="10"/>
                      </a:lnTo>
                      <a:lnTo>
                        <a:pt x="86" y="14"/>
                      </a:lnTo>
                      <a:lnTo>
                        <a:pt x="76" y="18"/>
                      </a:lnTo>
                      <a:lnTo>
                        <a:pt x="65" y="23"/>
                      </a:lnTo>
                      <a:lnTo>
                        <a:pt x="55" y="31"/>
                      </a:lnTo>
                      <a:lnTo>
                        <a:pt x="46" y="37"/>
                      </a:lnTo>
                      <a:lnTo>
                        <a:pt x="38" y="44"/>
                      </a:lnTo>
                      <a:lnTo>
                        <a:pt x="31" y="52"/>
                      </a:lnTo>
                      <a:lnTo>
                        <a:pt x="27" y="61"/>
                      </a:lnTo>
                      <a:lnTo>
                        <a:pt x="25" y="71"/>
                      </a:lnTo>
                      <a:lnTo>
                        <a:pt x="23" y="80"/>
                      </a:lnTo>
                      <a:lnTo>
                        <a:pt x="25" y="92"/>
                      </a:lnTo>
                      <a:lnTo>
                        <a:pt x="31" y="103"/>
                      </a:lnTo>
                      <a:lnTo>
                        <a:pt x="38" y="113"/>
                      </a:lnTo>
                      <a:lnTo>
                        <a:pt x="50" y="122"/>
                      </a:lnTo>
                      <a:lnTo>
                        <a:pt x="61" y="130"/>
                      </a:lnTo>
                      <a:lnTo>
                        <a:pt x="76" y="135"/>
                      </a:lnTo>
                      <a:lnTo>
                        <a:pt x="93" y="139"/>
                      </a:lnTo>
                      <a:lnTo>
                        <a:pt x="110" y="143"/>
                      </a:lnTo>
                      <a:lnTo>
                        <a:pt x="128" y="145"/>
                      </a:lnTo>
                      <a:lnTo>
                        <a:pt x="147" y="147"/>
                      </a:lnTo>
                      <a:lnTo>
                        <a:pt x="166" y="147"/>
                      </a:lnTo>
                      <a:lnTo>
                        <a:pt x="183" y="145"/>
                      </a:lnTo>
                      <a:lnTo>
                        <a:pt x="200" y="143"/>
                      </a:lnTo>
                      <a:lnTo>
                        <a:pt x="217" y="139"/>
                      </a:lnTo>
                      <a:lnTo>
                        <a:pt x="230" y="134"/>
                      </a:lnTo>
                      <a:lnTo>
                        <a:pt x="243" y="130"/>
                      </a:lnTo>
                      <a:lnTo>
                        <a:pt x="255" y="124"/>
                      </a:lnTo>
                      <a:lnTo>
                        <a:pt x="262" y="118"/>
                      </a:lnTo>
                      <a:lnTo>
                        <a:pt x="266" y="111"/>
                      </a:lnTo>
                      <a:lnTo>
                        <a:pt x="270" y="103"/>
                      </a:lnTo>
                      <a:lnTo>
                        <a:pt x="270" y="95"/>
                      </a:lnTo>
                      <a:lnTo>
                        <a:pt x="270" y="90"/>
                      </a:lnTo>
                      <a:lnTo>
                        <a:pt x="268" y="80"/>
                      </a:lnTo>
                      <a:lnTo>
                        <a:pt x="266" y="75"/>
                      </a:lnTo>
                      <a:lnTo>
                        <a:pt x="262" y="67"/>
                      </a:lnTo>
                      <a:lnTo>
                        <a:pt x="259" y="61"/>
                      </a:lnTo>
                      <a:lnTo>
                        <a:pt x="255" y="54"/>
                      </a:lnTo>
                      <a:lnTo>
                        <a:pt x="249" y="48"/>
                      </a:lnTo>
                      <a:lnTo>
                        <a:pt x="245" y="42"/>
                      </a:lnTo>
                      <a:lnTo>
                        <a:pt x="242" y="38"/>
                      </a:lnTo>
                      <a:lnTo>
                        <a:pt x="236" y="33"/>
                      </a:lnTo>
                      <a:lnTo>
                        <a:pt x="234" y="31"/>
                      </a:lnTo>
                      <a:lnTo>
                        <a:pt x="236" y="31"/>
                      </a:lnTo>
                      <a:lnTo>
                        <a:pt x="242" y="31"/>
                      </a:lnTo>
                      <a:lnTo>
                        <a:pt x="247" y="33"/>
                      </a:lnTo>
                      <a:lnTo>
                        <a:pt x="253" y="37"/>
                      </a:lnTo>
                      <a:lnTo>
                        <a:pt x="261" y="38"/>
                      </a:lnTo>
                      <a:lnTo>
                        <a:pt x="266" y="42"/>
                      </a:lnTo>
                      <a:lnTo>
                        <a:pt x="274" y="46"/>
                      </a:lnTo>
                      <a:lnTo>
                        <a:pt x="280" y="52"/>
                      </a:lnTo>
                      <a:lnTo>
                        <a:pt x="287" y="57"/>
                      </a:lnTo>
                      <a:lnTo>
                        <a:pt x="291" y="65"/>
                      </a:lnTo>
                      <a:lnTo>
                        <a:pt x="295" y="75"/>
                      </a:lnTo>
                      <a:lnTo>
                        <a:pt x="297" y="82"/>
                      </a:lnTo>
                      <a:lnTo>
                        <a:pt x="297" y="94"/>
                      </a:lnTo>
                      <a:lnTo>
                        <a:pt x="293" y="105"/>
                      </a:lnTo>
                      <a:lnTo>
                        <a:pt x="289" y="120"/>
                      </a:lnTo>
                      <a:lnTo>
                        <a:pt x="280" y="132"/>
                      </a:lnTo>
                      <a:lnTo>
                        <a:pt x="268" y="143"/>
                      </a:lnTo>
                      <a:lnTo>
                        <a:pt x="255" y="153"/>
                      </a:lnTo>
                      <a:lnTo>
                        <a:pt x="238" y="160"/>
                      </a:lnTo>
                      <a:lnTo>
                        <a:pt x="219" y="166"/>
                      </a:lnTo>
                      <a:lnTo>
                        <a:pt x="198" y="172"/>
                      </a:lnTo>
                      <a:lnTo>
                        <a:pt x="177" y="173"/>
                      </a:lnTo>
                      <a:lnTo>
                        <a:pt x="158" y="177"/>
                      </a:lnTo>
                      <a:lnTo>
                        <a:pt x="135" y="175"/>
                      </a:lnTo>
                      <a:lnTo>
                        <a:pt x="114" y="173"/>
                      </a:lnTo>
                      <a:lnTo>
                        <a:pt x="93" y="172"/>
                      </a:lnTo>
                      <a:lnTo>
                        <a:pt x="74" y="168"/>
                      </a:lnTo>
                      <a:lnTo>
                        <a:pt x="57" y="160"/>
                      </a:lnTo>
                      <a:lnTo>
                        <a:pt x="42" y="154"/>
                      </a:lnTo>
                      <a:lnTo>
                        <a:pt x="29" y="145"/>
                      </a:lnTo>
                      <a:lnTo>
                        <a:pt x="19" y="135"/>
                      </a:lnTo>
                      <a:lnTo>
                        <a:pt x="12" y="124"/>
                      </a:lnTo>
                      <a:lnTo>
                        <a:pt x="6" y="113"/>
                      </a:lnTo>
                      <a:lnTo>
                        <a:pt x="2" y="101"/>
                      </a:lnTo>
                      <a:lnTo>
                        <a:pt x="0" y="94"/>
                      </a:lnTo>
                      <a:lnTo>
                        <a:pt x="0" y="82"/>
                      </a:lnTo>
                      <a:lnTo>
                        <a:pt x="0" y="73"/>
                      </a:lnTo>
                      <a:lnTo>
                        <a:pt x="2" y="63"/>
                      </a:lnTo>
                      <a:lnTo>
                        <a:pt x="6" y="56"/>
                      </a:lnTo>
                      <a:lnTo>
                        <a:pt x="10" y="48"/>
                      </a:lnTo>
                      <a:lnTo>
                        <a:pt x="15" y="40"/>
                      </a:lnTo>
                      <a:lnTo>
                        <a:pt x="19" y="33"/>
                      </a:lnTo>
                      <a:lnTo>
                        <a:pt x="25" y="27"/>
                      </a:lnTo>
                      <a:lnTo>
                        <a:pt x="31" y="21"/>
                      </a:lnTo>
                      <a:lnTo>
                        <a:pt x="36" y="18"/>
                      </a:lnTo>
                      <a:lnTo>
                        <a:pt x="42" y="14"/>
                      </a:lnTo>
                      <a:lnTo>
                        <a:pt x="48" y="12"/>
                      </a:lnTo>
                      <a:lnTo>
                        <a:pt x="53" y="8"/>
                      </a:lnTo>
                      <a:lnTo>
                        <a:pt x="59" y="6"/>
                      </a:lnTo>
                      <a:lnTo>
                        <a:pt x="65" y="4"/>
                      </a:lnTo>
                      <a:lnTo>
                        <a:pt x="72" y="4"/>
                      </a:lnTo>
                      <a:lnTo>
                        <a:pt x="78" y="2"/>
                      </a:lnTo>
                      <a:lnTo>
                        <a:pt x="86" y="2"/>
                      </a:lnTo>
                      <a:lnTo>
                        <a:pt x="93" y="2"/>
                      </a:lnTo>
                      <a:lnTo>
                        <a:pt x="101" y="2"/>
                      </a:lnTo>
                      <a:lnTo>
                        <a:pt x="107" y="0"/>
                      </a:lnTo>
                      <a:lnTo>
                        <a:pt x="112" y="0"/>
                      </a:lnTo>
                      <a:lnTo>
                        <a:pt x="118" y="0"/>
                      </a:lnTo>
                      <a:lnTo>
                        <a:pt x="124" y="2"/>
                      </a:lnTo>
                      <a:lnTo>
                        <a:pt x="128" y="2"/>
                      </a:lnTo>
                      <a:lnTo>
                        <a:pt x="131" y="2"/>
                      </a:lnTo>
                      <a:lnTo>
                        <a:pt x="133" y="2"/>
                      </a:lnTo>
                      <a:close/>
                    </a:path>
                  </a:pathLst>
                </a:custGeom>
                <a:solidFill>
                  <a:srgbClr val="000000"/>
                </a:solidFill>
                <a:ln w="9525">
                  <a:noFill/>
                  <a:round/>
                  <a:headEnd/>
                  <a:tailEnd/>
                </a:ln>
              </p:spPr>
              <p:txBody>
                <a:bodyPr/>
                <a:lstStyle/>
                <a:p>
                  <a:pPr algn="l" eaLnBrk="1" hangingPunct="1"/>
                  <a:endParaRPr lang="en-US"/>
                </a:p>
              </p:txBody>
            </p:sp>
            <p:sp>
              <p:nvSpPr>
                <p:cNvPr id="1477" name="Freeform 642"/>
                <p:cNvSpPr>
                  <a:spLocks noChangeAspect="1"/>
                </p:cNvSpPr>
                <p:nvPr/>
              </p:nvSpPr>
              <p:spPr bwMode="auto">
                <a:xfrm>
                  <a:off x="3863" y="2411"/>
                  <a:ext cx="29" cy="27"/>
                </a:xfrm>
                <a:custGeom>
                  <a:avLst/>
                  <a:gdLst>
                    <a:gd name="T0" fmla="*/ 20 w 57"/>
                    <a:gd name="T1" fmla="*/ 4 h 56"/>
                    <a:gd name="T2" fmla="*/ 17 w 57"/>
                    <a:gd name="T3" fmla="*/ 6 h 56"/>
                    <a:gd name="T4" fmla="*/ 11 w 57"/>
                    <a:gd name="T5" fmla="*/ 12 h 56"/>
                    <a:gd name="T6" fmla="*/ 7 w 57"/>
                    <a:gd name="T7" fmla="*/ 18 h 56"/>
                    <a:gd name="T8" fmla="*/ 3 w 57"/>
                    <a:gd name="T9" fmla="*/ 25 h 56"/>
                    <a:gd name="T10" fmla="*/ 1 w 57"/>
                    <a:gd name="T11" fmla="*/ 29 h 56"/>
                    <a:gd name="T12" fmla="*/ 0 w 57"/>
                    <a:gd name="T13" fmla="*/ 33 h 56"/>
                    <a:gd name="T14" fmla="*/ 0 w 57"/>
                    <a:gd name="T15" fmla="*/ 37 h 56"/>
                    <a:gd name="T16" fmla="*/ 0 w 57"/>
                    <a:gd name="T17" fmla="*/ 42 h 56"/>
                    <a:gd name="T18" fmla="*/ 1 w 57"/>
                    <a:gd name="T19" fmla="*/ 44 h 56"/>
                    <a:gd name="T20" fmla="*/ 3 w 57"/>
                    <a:gd name="T21" fmla="*/ 48 h 56"/>
                    <a:gd name="T22" fmla="*/ 7 w 57"/>
                    <a:gd name="T23" fmla="*/ 52 h 56"/>
                    <a:gd name="T24" fmla="*/ 11 w 57"/>
                    <a:gd name="T25" fmla="*/ 54 h 56"/>
                    <a:gd name="T26" fmla="*/ 15 w 57"/>
                    <a:gd name="T27" fmla="*/ 54 h 56"/>
                    <a:gd name="T28" fmla="*/ 20 w 57"/>
                    <a:gd name="T29" fmla="*/ 56 h 56"/>
                    <a:gd name="T30" fmla="*/ 24 w 57"/>
                    <a:gd name="T31" fmla="*/ 54 h 56"/>
                    <a:gd name="T32" fmla="*/ 28 w 57"/>
                    <a:gd name="T33" fmla="*/ 54 h 56"/>
                    <a:gd name="T34" fmla="*/ 32 w 57"/>
                    <a:gd name="T35" fmla="*/ 54 h 56"/>
                    <a:gd name="T36" fmla="*/ 36 w 57"/>
                    <a:gd name="T37" fmla="*/ 52 h 56"/>
                    <a:gd name="T38" fmla="*/ 39 w 57"/>
                    <a:gd name="T39" fmla="*/ 50 h 56"/>
                    <a:gd name="T40" fmla="*/ 43 w 57"/>
                    <a:gd name="T41" fmla="*/ 48 h 56"/>
                    <a:gd name="T42" fmla="*/ 49 w 57"/>
                    <a:gd name="T43" fmla="*/ 44 h 56"/>
                    <a:gd name="T44" fmla="*/ 53 w 57"/>
                    <a:gd name="T45" fmla="*/ 40 h 56"/>
                    <a:gd name="T46" fmla="*/ 55 w 57"/>
                    <a:gd name="T47" fmla="*/ 39 h 56"/>
                    <a:gd name="T48" fmla="*/ 57 w 57"/>
                    <a:gd name="T49" fmla="*/ 39 h 56"/>
                    <a:gd name="T50" fmla="*/ 55 w 57"/>
                    <a:gd name="T51" fmla="*/ 39 h 56"/>
                    <a:gd name="T52" fmla="*/ 51 w 57"/>
                    <a:gd name="T53" fmla="*/ 39 h 56"/>
                    <a:gd name="T54" fmla="*/ 45 w 57"/>
                    <a:gd name="T55" fmla="*/ 39 h 56"/>
                    <a:gd name="T56" fmla="*/ 39 w 57"/>
                    <a:gd name="T57" fmla="*/ 39 h 56"/>
                    <a:gd name="T58" fmla="*/ 32 w 57"/>
                    <a:gd name="T59" fmla="*/ 39 h 56"/>
                    <a:gd name="T60" fmla="*/ 28 w 57"/>
                    <a:gd name="T61" fmla="*/ 37 h 56"/>
                    <a:gd name="T62" fmla="*/ 24 w 57"/>
                    <a:gd name="T63" fmla="*/ 35 h 56"/>
                    <a:gd name="T64" fmla="*/ 24 w 57"/>
                    <a:gd name="T65" fmla="*/ 33 h 56"/>
                    <a:gd name="T66" fmla="*/ 24 w 57"/>
                    <a:gd name="T67" fmla="*/ 29 h 56"/>
                    <a:gd name="T68" fmla="*/ 28 w 57"/>
                    <a:gd name="T69" fmla="*/ 25 h 56"/>
                    <a:gd name="T70" fmla="*/ 32 w 57"/>
                    <a:gd name="T71" fmla="*/ 23 h 56"/>
                    <a:gd name="T72" fmla="*/ 36 w 57"/>
                    <a:gd name="T73" fmla="*/ 19 h 56"/>
                    <a:gd name="T74" fmla="*/ 39 w 57"/>
                    <a:gd name="T75" fmla="*/ 18 h 56"/>
                    <a:gd name="T76" fmla="*/ 43 w 57"/>
                    <a:gd name="T77" fmla="*/ 16 h 56"/>
                    <a:gd name="T78" fmla="*/ 45 w 57"/>
                    <a:gd name="T79" fmla="*/ 16 h 56"/>
                    <a:gd name="T80" fmla="*/ 47 w 57"/>
                    <a:gd name="T81" fmla="*/ 16 h 56"/>
                    <a:gd name="T82" fmla="*/ 45 w 57"/>
                    <a:gd name="T83" fmla="*/ 14 h 56"/>
                    <a:gd name="T84" fmla="*/ 45 w 57"/>
                    <a:gd name="T85" fmla="*/ 12 h 56"/>
                    <a:gd name="T86" fmla="*/ 43 w 57"/>
                    <a:gd name="T87" fmla="*/ 8 h 56"/>
                    <a:gd name="T88" fmla="*/ 41 w 57"/>
                    <a:gd name="T89" fmla="*/ 4 h 56"/>
                    <a:gd name="T90" fmla="*/ 39 w 57"/>
                    <a:gd name="T91" fmla="*/ 0 h 56"/>
                    <a:gd name="T92" fmla="*/ 34 w 57"/>
                    <a:gd name="T93" fmla="*/ 0 h 56"/>
                    <a:gd name="T94" fmla="*/ 28 w 57"/>
                    <a:gd name="T95" fmla="*/ 0 h 56"/>
                    <a:gd name="T96" fmla="*/ 20 w 57"/>
                    <a:gd name="T97" fmla="*/ 4 h 56"/>
                    <a:gd name="T98" fmla="*/ 20 w 57"/>
                    <a:gd name="T99" fmla="*/ 4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7"/>
                    <a:gd name="T151" fmla="*/ 0 h 56"/>
                    <a:gd name="T152" fmla="*/ 57 w 57"/>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7" h="56">
                      <a:moveTo>
                        <a:pt x="20" y="4"/>
                      </a:moveTo>
                      <a:lnTo>
                        <a:pt x="17" y="6"/>
                      </a:lnTo>
                      <a:lnTo>
                        <a:pt x="11" y="12"/>
                      </a:lnTo>
                      <a:lnTo>
                        <a:pt x="7" y="18"/>
                      </a:lnTo>
                      <a:lnTo>
                        <a:pt x="3" y="25"/>
                      </a:lnTo>
                      <a:lnTo>
                        <a:pt x="1" y="29"/>
                      </a:lnTo>
                      <a:lnTo>
                        <a:pt x="0" y="33"/>
                      </a:lnTo>
                      <a:lnTo>
                        <a:pt x="0" y="37"/>
                      </a:lnTo>
                      <a:lnTo>
                        <a:pt x="0" y="42"/>
                      </a:lnTo>
                      <a:lnTo>
                        <a:pt x="1" y="44"/>
                      </a:lnTo>
                      <a:lnTo>
                        <a:pt x="3" y="48"/>
                      </a:lnTo>
                      <a:lnTo>
                        <a:pt x="7" y="52"/>
                      </a:lnTo>
                      <a:lnTo>
                        <a:pt x="11" y="54"/>
                      </a:lnTo>
                      <a:lnTo>
                        <a:pt x="15" y="54"/>
                      </a:lnTo>
                      <a:lnTo>
                        <a:pt x="20" y="56"/>
                      </a:lnTo>
                      <a:lnTo>
                        <a:pt x="24" y="54"/>
                      </a:lnTo>
                      <a:lnTo>
                        <a:pt x="28" y="54"/>
                      </a:lnTo>
                      <a:lnTo>
                        <a:pt x="32" y="54"/>
                      </a:lnTo>
                      <a:lnTo>
                        <a:pt x="36" y="52"/>
                      </a:lnTo>
                      <a:lnTo>
                        <a:pt x="39" y="50"/>
                      </a:lnTo>
                      <a:lnTo>
                        <a:pt x="43" y="48"/>
                      </a:lnTo>
                      <a:lnTo>
                        <a:pt x="49" y="44"/>
                      </a:lnTo>
                      <a:lnTo>
                        <a:pt x="53" y="40"/>
                      </a:lnTo>
                      <a:lnTo>
                        <a:pt x="55" y="39"/>
                      </a:lnTo>
                      <a:lnTo>
                        <a:pt x="57" y="39"/>
                      </a:lnTo>
                      <a:lnTo>
                        <a:pt x="55" y="39"/>
                      </a:lnTo>
                      <a:lnTo>
                        <a:pt x="51" y="39"/>
                      </a:lnTo>
                      <a:lnTo>
                        <a:pt x="45" y="39"/>
                      </a:lnTo>
                      <a:lnTo>
                        <a:pt x="39" y="39"/>
                      </a:lnTo>
                      <a:lnTo>
                        <a:pt x="32" y="39"/>
                      </a:lnTo>
                      <a:lnTo>
                        <a:pt x="28" y="37"/>
                      </a:lnTo>
                      <a:lnTo>
                        <a:pt x="24" y="35"/>
                      </a:lnTo>
                      <a:lnTo>
                        <a:pt x="24" y="33"/>
                      </a:lnTo>
                      <a:lnTo>
                        <a:pt x="24" y="29"/>
                      </a:lnTo>
                      <a:lnTo>
                        <a:pt x="28" y="25"/>
                      </a:lnTo>
                      <a:lnTo>
                        <a:pt x="32" y="23"/>
                      </a:lnTo>
                      <a:lnTo>
                        <a:pt x="36" y="19"/>
                      </a:lnTo>
                      <a:lnTo>
                        <a:pt x="39" y="18"/>
                      </a:lnTo>
                      <a:lnTo>
                        <a:pt x="43" y="16"/>
                      </a:lnTo>
                      <a:lnTo>
                        <a:pt x="45" y="16"/>
                      </a:lnTo>
                      <a:lnTo>
                        <a:pt x="47" y="16"/>
                      </a:lnTo>
                      <a:lnTo>
                        <a:pt x="45" y="14"/>
                      </a:lnTo>
                      <a:lnTo>
                        <a:pt x="45" y="12"/>
                      </a:lnTo>
                      <a:lnTo>
                        <a:pt x="43" y="8"/>
                      </a:lnTo>
                      <a:lnTo>
                        <a:pt x="41" y="4"/>
                      </a:lnTo>
                      <a:lnTo>
                        <a:pt x="39" y="0"/>
                      </a:lnTo>
                      <a:lnTo>
                        <a:pt x="34" y="0"/>
                      </a:lnTo>
                      <a:lnTo>
                        <a:pt x="28" y="0"/>
                      </a:lnTo>
                      <a:lnTo>
                        <a:pt x="20" y="4"/>
                      </a:lnTo>
                      <a:close/>
                    </a:path>
                  </a:pathLst>
                </a:custGeom>
                <a:solidFill>
                  <a:srgbClr val="000000"/>
                </a:solidFill>
                <a:ln w="9525">
                  <a:noFill/>
                  <a:round/>
                  <a:headEnd/>
                  <a:tailEnd/>
                </a:ln>
              </p:spPr>
              <p:txBody>
                <a:bodyPr/>
                <a:lstStyle/>
                <a:p>
                  <a:pPr algn="l" eaLnBrk="1" hangingPunct="1"/>
                  <a:endParaRPr lang="en-US"/>
                </a:p>
              </p:txBody>
            </p:sp>
            <p:sp>
              <p:nvSpPr>
                <p:cNvPr id="1478" name="Freeform 643"/>
                <p:cNvSpPr>
                  <a:spLocks noChangeAspect="1"/>
                </p:cNvSpPr>
                <p:nvPr/>
              </p:nvSpPr>
              <p:spPr bwMode="auto">
                <a:xfrm>
                  <a:off x="3918" y="2419"/>
                  <a:ext cx="29" cy="27"/>
                </a:xfrm>
                <a:custGeom>
                  <a:avLst/>
                  <a:gdLst>
                    <a:gd name="T0" fmla="*/ 21 w 57"/>
                    <a:gd name="T1" fmla="*/ 3 h 53"/>
                    <a:gd name="T2" fmla="*/ 17 w 57"/>
                    <a:gd name="T3" fmla="*/ 5 h 53"/>
                    <a:gd name="T4" fmla="*/ 11 w 57"/>
                    <a:gd name="T5" fmla="*/ 11 h 53"/>
                    <a:gd name="T6" fmla="*/ 7 w 57"/>
                    <a:gd name="T7" fmla="*/ 17 h 53"/>
                    <a:gd name="T8" fmla="*/ 4 w 57"/>
                    <a:gd name="T9" fmla="*/ 24 h 53"/>
                    <a:gd name="T10" fmla="*/ 0 w 57"/>
                    <a:gd name="T11" fmla="*/ 28 h 53"/>
                    <a:gd name="T12" fmla="*/ 0 w 57"/>
                    <a:gd name="T13" fmla="*/ 32 h 53"/>
                    <a:gd name="T14" fmla="*/ 0 w 57"/>
                    <a:gd name="T15" fmla="*/ 36 h 53"/>
                    <a:gd name="T16" fmla="*/ 0 w 57"/>
                    <a:gd name="T17" fmla="*/ 40 h 53"/>
                    <a:gd name="T18" fmla="*/ 0 w 57"/>
                    <a:gd name="T19" fmla="*/ 43 h 53"/>
                    <a:gd name="T20" fmla="*/ 4 w 57"/>
                    <a:gd name="T21" fmla="*/ 47 h 53"/>
                    <a:gd name="T22" fmla="*/ 7 w 57"/>
                    <a:gd name="T23" fmla="*/ 49 h 53"/>
                    <a:gd name="T24" fmla="*/ 11 w 57"/>
                    <a:gd name="T25" fmla="*/ 51 h 53"/>
                    <a:gd name="T26" fmla="*/ 15 w 57"/>
                    <a:gd name="T27" fmla="*/ 53 h 53"/>
                    <a:gd name="T28" fmla="*/ 19 w 57"/>
                    <a:gd name="T29" fmla="*/ 53 h 53"/>
                    <a:gd name="T30" fmla="*/ 24 w 57"/>
                    <a:gd name="T31" fmla="*/ 53 h 53"/>
                    <a:gd name="T32" fmla="*/ 28 w 57"/>
                    <a:gd name="T33" fmla="*/ 53 h 53"/>
                    <a:gd name="T34" fmla="*/ 32 w 57"/>
                    <a:gd name="T35" fmla="*/ 51 h 53"/>
                    <a:gd name="T36" fmla="*/ 36 w 57"/>
                    <a:gd name="T37" fmla="*/ 51 h 53"/>
                    <a:gd name="T38" fmla="*/ 40 w 57"/>
                    <a:gd name="T39" fmla="*/ 49 h 53"/>
                    <a:gd name="T40" fmla="*/ 43 w 57"/>
                    <a:gd name="T41" fmla="*/ 47 h 53"/>
                    <a:gd name="T42" fmla="*/ 47 w 57"/>
                    <a:gd name="T43" fmla="*/ 43 h 53"/>
                    <a:gd name="T44" fmla="*/ 53 w 57"/>
                    <a:gd name="T45" fmla="*/ 40 h 53"/>
                    <a:gd name="T46" fmla="*/ 55 w 57"/>
                    <a:gd name="T47" fmla="*/ 38 h 53"/>
                    <a:gd name="T48" fmla="*/ 57 w 57"/>
                    <a:gd name="T49" fmla="*/ 38 h 53"/>
                    <a:gd name="T50" fmla="*/ 53 w 57"/>
                    <a:gd name="T51" fmla="*/ 38 h 53"/>
                    <a:gd name="T52" fmla="*/ 51 w 57"/>
                    <a:gd name="T53" fmla="*/ 38 h 53"/>
                    <a:gd name="T54" fmla="*/ 43 w 57"/>
                    <a:gd name="T55" fmla="*/ 38 h 53"/>
                    <a:gd name="T56" fmla="*/ 40 w 57"/>
                    <a:gd name="T57" fmla="*/ 38 h 53"/>
                    <a:gd name="T58" fmla="*/ 32 w 57"/>
                    <a:gd name="T59" fmla="*/ 38 h 53"/>
                    <a:gd name="T60" fmla="*/ 28 w 57"/>
                    <a:gd name="T61" fmla="*/ 36 h 53"/>
                    <a:gd name="T62" fmla="*/ 24 w 57"/>
                    <a:gd name="T63" fmla="*/ 34 h 53"/>
                    <a:gd name="T64" fmla="*/ 24 w 57"/>
                    <a:gd name="T65" fmla="*/ 32 h 53"/>
                    <a:gd name="T66" fmla="*/ 24 w 57"/>
                    <a:gd name="T67" fmla="*/ 28 h 53"/>
                    <a:gd name="T68" fmla="*/ 28 w 57"/>
                    <a:gd name="T69" fmla="*/ 24 h 53"/>
                    <a:gd name="T70" fmla="*/ 32 w 57"/>
                    <a:gd name="T71" fmla="*/ 22 h 53"/>
                    <a:gd name="T72" fmla="*/ 36 w 57"/>
                    <a:gd name="T73" fmla="*/ 21 h 53"/>
                    <a:gd name="T74" fmla="*/ 43 w 57"/>
                    <a:gd name="T75" fmla="*/ 15 h 53"/>
                    <a:gd name="T76" fmla="*/ 47 w 57"/>
                    <a:gd name="T77" fmla="*/ 15 h 53"/>
                    <a:gd name="T78" fmla="*/ 45 w 57"/>
                    <a:gd name="T79" fmla="*/ 13 h 53"/>
                    <a:gd name="T80" fmla="*/ 45 w 57"/>
                    <a:gd name="T81" fmla="*/ 11 h 53"/>
                    <a:gd name="T82" fmla="*/ 43 w 57"/>
                    <a:gd name="T83" fmla="*/ 7 h 53"/>
                    <a:gd name="T84" fmla="*/ 42 w 57"/>
                    <a:gd name="T85" fmla="*/ 5 h 53"/>
                    <a:gd name="T86" fmla="*/ 38 w 57"/>
                    <a:gd name="T87" fmla="*/ 1 h 53"/>
                    <a:gd name="T88" fmla="*/ 34 w 57"/>
                    <a:gd name="T89" fmla="*/ 0 h 53"/>
                    <a:gd name="T90" fmla="*/ 28 w 57"/>
                    <a:gd name="T91" fmla="*/ 0 h 53"/>
                    <a:gd name="T92" fmla="*/ 21 w 57"/>
                    <a:gd name="T93" fmla="*/ 3 h 53"/>
                    <a:gd name="T94" fmla="*/ 21 w 57"/>
                    <a:gd name="T95" fmla="*/ 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3"/>
                      </a:moveTo>
                      <a:lnTo>
                        <a:pt x="17" y="5"/>
                      </a:lnTo>
                      <a:lnTo>
                        <a:pt x="11" y="11"/>
                      </a:lnTo>
                      <a:lnTo>
                        <a:pt x="7" y="17"/>
                      </a:lnTo>
                      <a:lnTo>
                        <a:pt x="4" y="24"/>
                      </a:lnTo>
                      <a:lnTo>
                        <a:pt x="0" y="28"/>
                      </a:lnTo>
                      <a:lnTo>
                        <a:pt x="0" y="32"/>
                      </a:lnTo>
                      <a:lnTo>
                        <a:pt x="0" y="36"/>
                      </a:lnTo>
                      <a:lnTo>
                        <a:pt x="0" y="40"/>
                      </a:lnTo>
                      <a:lnTo>
                        <a:pt x="0" y="43"/>
                      </a:lnTo>
                      <a:lnTo>
                        <a:pt x="4" y="47"/>
                      </a:lnTo>
                      <a:lnTo>
                        <a:pt x="7" y="49"/>
                      </a:lnTo>
                      <a:lnTo>
                        <a:pt x="11" y="51"/>
                      </a:lnTo>
                      <a:lnTo>
                        <a:pt x="15" y="53"/>
                      </a:lnTo>
                      <a:lnTo>
                        <a:pt x="19" y="53"/>
                      </a:lnTo>
                      <a:lnTo>
                        <a:pt x="24" y="53"/>
                      </a:lnTo>
                      <a:lnTo>
                        <a:pt x="28" y="53"/>
                      </a:lnTo>
                      <a:lnTo>
                        <a:pt x="32" y="51"/>
                      </a:lnTo>
                      <a:lnTo>
                        <a:pt x="36" y="51"/>
                      </a:lnTo>
                      <a:lnTo>
                        <a:pt x="40" y="49"/>
                      </a:lnTo>
                      <a:lnTo>
                        <a:pt x="43" y="47"/>
                      </a:lnTo>
                      <a:lnTo>
                        <a:pt x="47" y="43"/>
                      </a:lnTo>
                      <a:lnTo>
                        <a:pt x="53" y="40"/>
                      </a:lnTo>
                      <a:lnTo>
                        <a:pt x="55" y="38"/>
                      </a:lnTo>
                      <a:lnTo>
                        <a:pt x="57" y="38"/>
                      </a:lnTo>
                      <a:lnTo>
                        <a:pt x="53" y="38"/>
                      </a:lnTo>
                      <a:lnTo>
                        <a:pt x="51" y="38"/>
                      </a:lnTo>
                      <a:lnTo>
                        <a:pt x="43" y="38"/>
                      </a:lnTo>
                      <a:lnTo>
                        <a:pt x="40" y="38"/>
                      </a:lnTo>
                      <a:lnTo>
                        <a:pt x="32" y="38"/>
                      </a:lnTo>
                      <a:lnTo>
                        <a:pt x="28" y="36"/>
                      </a:lnTo>
                      <a:lnTo>
                        <a:pt x="24" y="34"/>
                      </a:lnTo>
                      <a:lnTo>
                        <a:pt x="24" y="32"/>
                      </a:lnTo>
                      <a:lnTo>
                        <a:pt x="24" y="28"/>
                      </a:lnTo>
                      <a:lnTo>
                        <a:pt x="28" y="24"/>
                      </a:lnTo>
                      <a:lnTo>
                        <a:pt x="32" y="22"/>
                      </a:lnTo>
                      <a:lnTo>
                        <a:pt x="36" y="21"/>
                      </a:lnTo>
                      <a:lnTo>
                        <a:pt x="43" y="15"/>
                      </a:lnTo>
                      <a:lnTo>
                        <a:pt x="47" y="15"/>
                      </a:lnTo>
                      <a:lnTo>
                        <a:pt x="45" y="13"/>
                      </a:lnTo>
                      <a:lnTo>
                        <a:pt x="45" y="11"/>
                      </a:lnTo>
                      <a:lnTo>
                        <a:pt x="43" y="7"/>
                      </a:lnTo>
                      <a:lnTo>
                        <a:pt x="42" y="5"/>
                      </a:lnTo>
                      <a:lnTo>
                        <a:pt x="38" y="1"/>
                      </a:lnTo>
                      <a:lnTo>
                        <a:pt x="34" y="0"/>
                      </a:lnTo>
                      <a:lnTo>
                        <a:pt x="28" y="0"/>
                      </a:lnTo>
                      <a:lnTo>
                        <a:pt x="21" y="3"/>
                      </a:lnTo>
                      <a:close/>
                    </a:path>
                  </a:pathLst>
                </a:custGeom>
                <a:solidFill>
                  <a:srgbClr val="000000"/>
                </a:solidFill>
                <a:ln w="9525">
                  <a:noFill/>
                  <a:round/>
                  <a:headEnd/>
                  <a:tailEnd/>
                </a:ln>
              </p:spPr>
              <p:txBody>
                <a:bodyPr/>
                <a:lstStyle/>
                <a:p>
                  <a:pPr algn="l" eaLnBrk="1" hangingPunct="1"/>
                  <a:endParaRPr lang="en-US"/>
                </a:p>
              </p:txBody>
            </p:sp>
            <p:sp>
              <p:nvSpPr>
                <p:cNvPr id="1479" name="Freeform 644"/>
                <p:cNvSpPr>
                  <a:spLocks noChangeAspect="1"/>
                </p:cNvSpPr>
                <p:nvPr/>
              </p:nvSpPr>
              <p:spPr bwMode="auto">
                <a:xfrm>
                  <a:off x="3976" y="2406"/>
                  <a:ext cx="29" cy="28"/>
                </a:xfrm>
                <a:custGeom>
                  <a:avLst/>
                  <a:gdLst>
                    <a:gd name="T0" fmla="*/ 21 w 57"/>
                    <a:gd name="T1" fmla="*/ 4 h 55"/>
                    <a:gd name="T2" fmla="*/ 17 w 57"/>
                    <a:gd name="T3" fmla="*/ 6 h 55"/>
                    <a:gd name="T4" fmla="*/ 11 w 57"/>
                    <a:gd name="T5" fmla="*/ 11 h 55"/>
                    <a:gd name="T6" fmla="*/ 9 w 57"/>
                    <a:gd name="T7" fmla="*/ 13 h 55"/>
                    <a:gd name="T8" fmla="*/ 7 w 57"/>
                    <a:gd name="T9" fmla="*/ 17 h 55"/>
                    <a:gd name="T10" fmla="*/ 5 w 57"/>
                    <a:gd name="T11" fmla="*/ 23 h 55"/>
                    <a:gd name="T12" fmla="*/ 3 w 57"/>
                    <a:gd name="T13" fmla="*/ 27 h 55"/>
                    <a:gd name="T14" fmla="*/ 2 w 57"/>
                    <a:gd name="T15" fmla="*/ 30 h 55"/>
                    <a:gd name="T16" fmla="*/ 0 w 57"/>
                    <a:gd name="T17" fmla="*/ 34 h 55"/>
                    <a:gd name="T18" fmla="*/ 0 w 57"/>
                    <a:gd name="T19" fmla="*/ 38 h 55"/>
                    <a:gd name="T20" fmla="*/ 0 w 57"/>
                    <a:gd name="T21" fmla="*/ 42 h 55"/>
                    <a:gd name="T22" fmla="*/ 0 w 57"/>
                    <a:gd name="T23" fmla="*/ 44 h 55"/>
                    <a:gd name="T24" fmla="*/ 3 w 57"/>
                    <a:gd name="T25" fmla="*/ 48 h 55"/>
                    <a:gd name="T26" fmla="*/ 5 w 57"/>
                    <a:gd name="T27" fmla="*/ 51 h 55"/>
                    <a:gd name="T28" fmla="*/ 11 w 57"/>
                    <a:gd name="T29" fmla="*/ 53 h 55"/>
                    <a:gd name="T30" fmla="*/ 15 w 57"/>
                    <a:gd name="T31" fmla="*/ 53 h 55"/>
                    <a:gd name="T32" fmla="*/ 21 w 57"/>
                    <a:gd name="T33" fmla="*/ 55 h 55"/>
                    <a:gd name="T34" fmla="*/ 24 w 57"/>
                    <a:gd name="T35" fmla="*/ 53 h 55"/>
                    <a:gd name="T36" fmla="*/ 28 w 57"/>
                    <a:gd name="T37" fmla="*/ 53 h 55"/>
                    <a:gd name="T38" fmla="*/ 36 w 57"/>
                    <a:gd name="T39" fmla="*/ 51 h 55"/>
                    <a:gd name="T40" fmla="*/ 43 w 57"/>
                    <a:gd name="T41" fmla="*/ 48 h 55"/>
                    <a:gd name="T42" fmla="*/ 49 w 57"/>
                    <a:gd name="T43" fmla="*/ 44 h 55"/>
                    <a:gd name="T44" fmla="*/ 53 w 57"/>
                    <a:gd name="T45" fmla="*/ 40 h 55"/>
                    <a:gd name="T46" fmla="*/ 57 w 57"/>
                    <a:gd name="T47" fmla="*/ 38 h 55"/>
                    <a:gd name="T48" fmla="*/ 57 w 57"/>
                    <a:gd name="T49" fmla="*/ 38 h 55"/>
                    <a:gd name="T50" fmla="*/ 55 w 57"/>
                    <a:gd name="T51" fmla="*/ 38 h 55"/>
                    <a:gd name="T52" fmla="*/ 51 w 57"/>
                    <a:gd name="T53" fmla="*/ 38 h 55"/>
                    <a:gd name="T54" fmla="*/ 45 w 57"/>
                    <a:gd name="T55" fmla="*/ 38 h 55"/>
                    <a:gd name="T56" fmla="*/ 40 w 57"/>
                    <a:gd name="T57" fmla="*/ 38 h 55"/>
                    <a:gd name="T58" fmla="*/ 34 w 57"/>
                    <a:gd name="T59" fmla="*/ 38 h 55"/>
                    <a:gd name="T60" fmla="*/ 28 w 57"/>
                    <a:gd name="T61" fmla="*/ 36 h 55"/>
                    <a:gd name="T62" fmla="*/ 24 w 57"/>
                    <a:gd name="T63" fmla="*/ 34 h 55"/>
                    <a:gd name="T64" fmla="*/ 24 w 57"/>
                    <a:gd name="T65" fmla="*/ 32 h 55"/>
                    <a:gd name="T66" fmla="*/ 28 w 57"/>
                    <a:gd name="T67" fmla="*/ 25 h 55"/>
                    <a:gd name="T68" fmla="*/ 36 w 57"/>
                    <a:gd name="T69" fmla="*/ 19 h 55"/>
                    <a:gd name="T70" fmla="*/ 40 w 57"/>
                    <a:gd name="T71" fmla="*/ 17 h 55"/>
                    <a:gd name="T72" fmla="*/ 43 w 57"/>
                    <a:gd name="T73" fmla="*/ 15 h 55"/>
                    <a:gd name="T74" fmla="*/ 45 w 57"/>
                    <a:gd name="T75" fmla="*/ 15 h 55"/>
                    <a:gd name="T76" fmla="*/ 47 w 57"/>
                    <a:gd name="T77" fmla="*/ 15 h 55"/>
                    <a:gd name="T78" fmla="*/ 45 w 57"/>
                    <a:gd name="T79" fmla="*/ 13 h 55"/>
                    <a:gd name="T80" fmla="*/ 45 w 57"/>
                    <a:gd name="T81" fmla="*/ 11 h 55"/>
                    <a:gd name="T82" fmla="*/ 43 w 57"/>
                    <a:gd name="T83" fmla="*/ 8 h 55"/>
                    <a:gd name="T84" fmla="*/ 42 w 57"/>
                    <a:gd name="T85" fmla="*/ 4 h 55"/>
                    <a:gd name="T86" fmla="*/ 38 w 57"/>
                    <a:gd name="T87" fmla="*/ 0 h 55"/>
                    <a:gd name="T88" fmla="*/ 34 w 57"/>
                    <a:gd name="T89" fmla="*/ 0 h 55"/>
                    <a:gd name="T90" fmla="*/ 28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1" y="11"/>
                      </a:lnTo>
                      <a:lnTo>
                        <a:pt x="9" y="13"/>
                      </a:lnTo>
                      <a:lnTo>
                        <a:pt x="7" y="17"/>
                      </a:lnTo>
                      <a:lnTo>
                        <a:pt x="5" y="23"/>
                      </a:lnTo>
                      <a:lnTo>
                        <a:pt x="3" y="27"/>
                      </a:lnTo>
                      <a:lnTo>
                        <a:pt x="2" y="30"/>
                      </a:lnTo>
                      <a:lnTo>
                        <a:pt x="0" y="34"/>
                      </a:lnTo>
                      <a:lnTo>
                        <a:pt x="0" y="38"/>
                      </a:lnTo>
                      <a:lnTo>
                        <a:pt x="0" y="42"/>
                      </a:lnTo>
                      <a:lnTo>
                        <a:pt x="0" y="44"/>
                      </a:lnTo>
                      <a:lnTo>
                        <a:pt x="3" y="48"/>
                      </a:lnTo>
                      <a:lnTo>
                        <a:pt x="5" y="51"/>
                      </a:lnTo>
                      <a:lnTo>
                        <a:pt x="11" y="53"/>
                      </a:lnTo>
                      <a:lnTo>
                        <a:pt x="15" y="53"/>
                      </a:lnTo>
                      <a:lnTo>
                        <a:pt x="21" y="55"/>
                      </a:lnTo>
                      <a:lnTo>
                        <a:pt x="24" y="53"/>
                      </a:lnTo>
                      <a:lnTo>
                        <a:pt x="28" y="53"/>
                      </a:lnTo>
                      <a:lnTo>
                        <a:pt x="36" y="51"/>
                      </a:lnTo>
                      <a:lnTo>
                        <a:pt x="43" y="48"/>
                      </a:lnTo>
                      <a:lnTo>
                        <a:pt x="49" y="44"/>
                      </a:lnTo>
                      <a:lnTo>
                        <a:pt x="53" y="40"/>
                      </a:lnTo>
                      <a:lnTo>
                        <a:pt x="57" y="38"/>
                      </a:lnTo>
                      <a:lnTo>
                        <a:pt x="55" y="38"/>
                      </a:lnTo>
                      <a:lnTo>
                        <a:pt x="51" y="38"/>
                      </a:lnTo>
                      <a:lnTo>
                        <a:pt x="45" y="38"/>
                      </a:lnTo>
                      <a:lnTo>
                        <a:pt x="40" y="38"/>
                      </a:lnTo>
                      <a:lnTo>
                        <a:pt x="34" y="38"/>
                      </a:lnTo>
                      <a:lnTo>
                        <a:pt x="28" y="36"/>
                      </a:lnTo>
                      <a:lnTo>
                        <a:pt x="24" y="34"/>
                      </a:lnTo>
                      <a:lnTo>
                        <a:pt x="24" y="32"/>
                      </a:lnTo>
                      <a:lnTo>
                        <a:pt x="28" y="25"/>
                      </a:lnTo>
                      <a:lnTo>
                        <a:pt x="36" y="19"/>
                      </a:lnTo>
                      <a:lnTo>
                        <a:pt x="40" y="17"/>
                      </a:lnTo>
                      <a:lnTo>
                        <a:pt x="43" y="15"/>
                      </a:lnTo>
                      <a:lnTo>
                        <a:pt x="45" y="15"/>
                      </a:lnTo>
                      <a:lnTo>
                        <a:pt x="47" y="15"/>
                      </a:lnTo>
                      <a:lnTo>
                        <a:pt x="45" y="13"/>
                      </a:lnTo>
                      <a:lnTo>
                        <a:pt x="45" y="11"/>
                      </a:lnTo>
                      <a:lnTo>
                        <a:pt x="43" y="8"/>
                      </a:lnTo>
                      <a:lnTo>
                        <a:pt x="42" y="4"/>
                      </a:lnTo>
                      <a:lnTo>
                        <a:pt x="38" y="0"/>
                      </a:lnTo>
                      <a:lnTo>
                        <a:pt x="34" y="0"/>
                      </a:lnTo>
                      <a:lnTo>
                        <a:pt x="28"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480" name="Freeform 645"/>
                <p:cNvSpPr>
                  <a:spLocks noChangeAspect="1"/>
                </p:cNvSpPr>
                <p:nvPr/>
              </p:nvSpPr>
              <p:spPr bwMode="auto">
                <a:xfrm>
                  <a:off x="3885" y="2452"/>
                  <a:ext cx="29" cy="26"/>
                </a:xfrm>
                <a:custGeom>
                  <a:avLst/>
                  <a:gdLst>
                    <a:gd name="T0" fmla="*/ 21 w 57"/>
                    <a:gd name="T1" fmla="*/ 4 h 53"/>
                    <a:gd name="T2" fmla="*/ 17 w 57"/>
                    <a:gd name="T3" fmla="*/ 6 h 53"/>
                    <a:gd name="T4" fmla="*/ 12 w 57"/>
                    <a:gd name="T5" fmla="*/ 12 h 53"/>
                    <a:gd name="T6" fmla="*/ 10 w 57"/>
                    <a:gd name="T7" fmla="*/ 14 h 53"/>
                    <a:gd name="T8" fmla="*/ 8 w 57"/>
                    <a:gd name="T9" fmla="*/ 17 h 53"/>
                    <a:gd name="T10" fmla="*/ 6 w 57"/>
                    <a:gd name="T11" fmla="*/ 21 h 53"/>
                    <a:gd name="T12" fmla="*/ 4 w 57"/>
                    <a:gd name="T13" fmla="*/ 25 h 53"/>
                    <a:gd name="T14" fmla="*/ 0 w 57"/>
                    <a:gd name="T15" fmla="*/ 33 h 53"/>
                    <a:gd name="T16" fmla="*/ 0 w 57"/>
                    <a:gd name="T17" fmla="*/ 40 h 53"/>
                    <a:gd name="T18" fmla="*/ 0 w 57"/>
                    <a:gd name="T19" fmla="*/ 44 h 53"/>
                    <a:gd name="T20" fmla="*/ 4 w 57"/>
                    <a:gd name="T21" fmla="*/ 48 h 53"/>
                    <a:gd name="T22" fmla="*/ 6 w 57"/>
                    <a:gd name="T23" fmla="*/ 50 h 53"/>
                    <a:gd name="T24" fmla="*/ 12 w 57"/>
                    <a:gd name="T25" fmla="*/ 53 h 53"/>
                    <a:gd name="T26" fmla="*/ 15 w 57"/>
                    <a:gd name="T27" fmla="*/ 53 h 53"/>
                    <a:gd name="T28" fmla="*/ 21 w 57"/>
                    <a:gd name="T29" fmla="*/ 53 h 53"/>
                    <a:gd name="T30" fmla="*/ 25 w 57"/>
                    <a:gd name="T31" fmla="*/ 53 h 53"/>
                    <a:gd name="T32" fmla="*/ 29 w 57"/>
                    <a:gd name="T33" fmla="*/ 53 h 53"/>
                    <a:gd name="T34" fmla="*/ 36 w 57"/>
                    <a:gd name="T35" fmla="*/ 52 h 53"/>
                    <a:gd name="T36" fmla="*/ 44 w 57"/>
                    <a:gd name="T37" fmla="*/ 48 h 53"/>
                    <a:gd name="T38" fmla="*/ 50 w 57"/>
                    <a:gd name="T39" fmla="*/ 44 h 53"/>
                    <a:gd name="T40" fmla="*/ 53 w 57"/>
                    <a:gd name="T41" fmla="*/ 40 h 53"/>
                    <a:gd name="T42" fmla="*/ 55 w 57"/>
                    <a:gd name="T43" fmla="*/ 38 h 53"/>
                    <a:gd name="T44" fmla="*/ 57 w 57"/>
                    <a:gd name="T45" fmla="*/ 38 h 53"/>
                    <a:gd name="T46" fmla="*/ 55 w 57"/>
                    <a:gd name="T47" fmla="*/ 38 h 53"/>
                    <a:gd name="T48" fmla="*/ 52 w 57"/>
                    <a:gd name="T49" fmla="*/ 38 h 53"/>
                    <a:gd name="T50" fmla="*/ 46 w 57"/>
                    <a:gd name="T51" fmla="*/ 38 h 53"/>
                    <a:gd name="T52" fmla="*/ 40 w 57"/>
                    <a:gd name="T53" fmla="*/ 38 h 53"/>
                    <a:gd name="T54" fmla="*/ 34 w 57"/>
                    <a:gd name="T55" fmla="*/ 38 h 53"/>
                    <a:gd name="T56" fmla="*/ 29 w 57"/>
                    <a:gd name="T57" fmla="*/ 36 h 53"/>
                    <a:gd name="T58" fmla="*/ 27 w 57"/>
                    <a:gd name="T59" fmla="*/ 34 h 53"/>
                    <a:gd name="T60" fmla="*/ 25 w 57"/>
                    <a:gd name="T61" fmla="*/ 33 h 53"/>
                    <a:gd name="T62" fmla="*/ 27 w 57"/>
                    <a:gd name="T63" fmla="*/ 29 h 53"/>
                    <a:gd name="T64" fmla="*/ 29 w 57"/>
                    <a:gd name="T65" fmla="*/ 25 h 53"/>
                    <a:gd name="T66" fmla="*/ 33 w 57"/>
                    <a:gd name="T67" fmla="*/ 23 h 53"/>
                    <a:gd name="T68" fmla="*/ 36 w 57"/>
                    <a:gd name="T69" fmla="*/ 19 h 53"/>
                    <a:gd name="T70" fmla="*/ 40 w 57"/>
                    <a:gd name="T71" fmla="*/ 17 h 53"/>
                    <a:gd name="T72" fmla="*/ 44 w 57"/>
                    <a:gd name="T73" fmla="*/ 15 h 53"/>
                    <a:gd name="T74" fmla="*/ 46 w 57"/>
                    <a:gd name="T75" fmla="*/ 15 h 53"/>
                    <a:gd name="T76" fmla="*/ 48 w 57"/>
                    <a:gd name="T77" fmla="*/ 15 h 53"/>
                    <a:gd name="T78" fmla="*/ 48 w 57"/>
                    <a:gd name="T79" fmla="*/ 14 h 53"/>
                    <a:gd name="T80" fmla="*/ 46 w 57"/>
                    <a:gd name="T81" fmla="*/ 12 h 53"/>
                    <a:gd name="T82" fmla="*/ 44 w 57"/>
                    <a:gd name="T83" fmla="*/ 8 h 53"/>
                    <a:gd name="T84" fmla="*/ 42 w 57"/>
                    <a:gd name="T85" fmla="*/ 4 h 53"/>
                    <a:gd name="T86" fmla="*/ 38 w 57"/>
                    <a:gd name="T87" fmla="*/ 0 h 53"/>
                    <a:gd name="T88" fmla="*/ 34 w 57"/>
                    <a:gd name="T89" fmla="*/ 0 h 53"/>
                    <a:gd name="T90" fmla="*/ 27 w 57"/>
                    <a:gd name="T91" fmla="*/ 0 h 53"/>
                    <a:gd name="T92" fmla="*/ 21 w 57"/>
                    <a:gd name="T93" fmla="*/ 4 h 53"/>
                    <a:gd name="T94" fmla="*/ 21 w 57"/>
                    <a:gd name="T95" fmla="*/ 4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3"/>
                    <a:gd name="T146" fmla="*/ 57 w 57"/>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3">
                      <a:moveTo>
                        <a:pt x="21" y="4"/>
                      </a:moveTo>
                      <a:lnTo>
                        <a:pt x="17" y="6"/>
                      </a:lnTo>
                      <a:lnTo>
                        <a:pt x="12" y="12"/>
                      </a:lnTo>
                      <a:lnTo>
                        <a:pt x="10" y="14"/>
                      </a:lnTo>
                      <a:lnTo>
                        <a:pt x="8" y="17"/>
                      </a:lnTo>
                      <a:lnTo>
                        <a:pt x="6" y="21"/>
                      </a:lnTo>
                      <a:lnTo>
                        <a:pt x="4" y="25"/>
                      </a:lnTo>
                      <a:lnTo>
                        <a:pt x="0" y="33"/>
                      </a:lnTo>
                      <a:lnTo>
                        <a:pt x="0" y="40"/>
                      </a:lnTo>
                      <a:lnTo>
                        <a:pt x="0" y="44"/>
                      </a:lnTo>
                      <a:lnTo>
                        <a:pt x="4" y="48"/>
                      </a:lnTo>
                      <a:lnTo>
                        <a:pt x="6" y="50"/>
                      </a:lnTo>
                      <a:lnTo>
                        <a:pt x="12" y="53"/>
                      </a:lnTo>
                      <a:lnTo>
                        <a:pt x="15" y="53"/>
                      </a:lnTo>
                      <a:lnTo>
                        <a:pt x="21" y="53"/>
                      </a:lnTo>
                      <a:lnTo>
                        <a:pt x="25" y="53"/>
                      </a:lnTo>
                      <a:lnTo>
                        <a:pt x="29" y="53"/>
                      </a:lnTo>
                      <a:lnTo>
                        <a:pt x="36" y="52"/>
                      </a:lnTo>
                      <a:lnTo>
                        <a:pt x="44" y="48"/>
                      </a:lnTo>
                      <a:lnTo>
                        <a:pt x="50" y="44"/>
                      </a:lnTo>
                      <a:lnTo>
                        <a:pt x="53" y="40"/>
                      </a:lnTo>
                      <a:lnTo>
                        <a:pt x="55" y="38"/>
                      </a:lnTo>
                      <a:lnTo>
                        <a:pt x="57" y="38"/>
                      </a:lnTo>
                      <a:lnTo>
                        <a:pt x="55" y="38"/>
                      </a:lnTo>
                      <a:lnTo>
                        <a:pt x="52" y="38"/>
                      </a:lnTo>
                      <a:lnTo>
                        <a:pt x="46" y="38"/>
                      </a:lnTo>
                      <a:lnTo>
                        <a:pt x="40" y="38"/>
                      </a:lnTo>
                      <a:lnTo>
                        <a:pt x="34" y="38"/>
                      </a:lnTo>
                      <a:lnTo>
                        <a:pt x="29" y="36"/>
                      </a:lnTo>
                      <a:lnTo>
                        <a:pt x="27" y="34"/>
                      </a:lnTo>
                      <a:lnTo>
                        <a:pt x="25" y="33"/>
                      </a:lnTo>
                      <a:lnTo>
                        <a:pt x="27" y="29"/>
                      </a:lnTo>
                      <a:lnTo>
                        <a:pt x="29" y="25"/>
                      </a:lnTo>
                      <a:lnTo>
                        <a:pt x="33" y="23"/>
                      </a:lnTo>
                      <a:lnTo>
                        <a:pt x="36" y="19"/>
                      </a:lnTo>
                      <a:lnTo>
                        <a:pt x="40" y="17"/>
                      </a:lnTo>
                      <a:lnTo>
                        <a:pt x="44" y="15"/>
                      </a:lnTo>
                      <a:lnTo>
                        <a:pt x="46" y="15"/>
                      </a:lnTo>
                      <a:lnTo>
                        <a:pt x="48" y="15"/>
                      </a:lnTo>
                      <a:lnTo>
                        <a:pt x="48" y="14"/>
                      </a:lnTo>
                      <a:lnTo>
                        <a:pt x="46" y="12"/>
                      </a:lnTo>
                      <a:lnTo>
                        <a:pt x="44" y="8"/>
                      </a:lnTo>
                      <a:lnTo>
                        <a:pt x="42" y="4"/>
                      </a:lnTo>
                      <a:lnTo>
                        <a:pt x="38" y="0"/>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481" name="Freeform 646"/>
                <p:cNvSpPr>
                  <a:spLocks noChangeAspect="1"/>
                </p:cNvSpPr>
                <p:nvPr/>
              </p:nvSpPr>
              <p:spPr bwMode="auto">
                <a:xfrm>
                  <a:off x="3952" y="2454"/>
                  <a:ext cx="28" cy="28"/>
                </a:xfrm>
                <a:custGeom>
                  <a:avLst/>
                  <a:gdLst>
                    <a:gd name="T0" fmla="*/ 21 w 57"/>
                    <a:gd name="T1" fmla="*/ 4 h 55"/>
                    <a:gd name="T2" fmla="*/ 17 w 57"/>
                    <a:gd name="T3" fmla="*/ 6 h 55"/>
                    <a:gd name="T4" fmla="*/ 12 w 57"/>
                    <a:gd name="T5" fmla="*/ 11 h 55"/>
                    <a:gd name="T6" fmla="*/ 10 w 57"/>
                    <a:gd name="T7" fmla="*/ 13 h 55"/>
                    <a:gd name="T8" fmla="*/ 6 w 57"/>
                    <a:gd name="T9" fmla="*/ 17 h 55"/>
                    <a:gd name="T10" fmla="*/ 4 w 57"/>
                    <a:gd name="T11" fmla="*/ 23 h 55"/>
                    <a:gd name="T12" fmla="*/ 2 w 57"/>
                    <a:gd name="T13" fmla="*/ 27 h 55"/>
                    <a:gd name="T14" fmla="*/ 0 w 57"/>
                    <a:gd name="T15" fmla="*/ 34 h 55"/>
                    <a:gd name="T16" fmla="*/ 0 w 57"/>
                    <a:gd name="T17" fmla="*/ 42 h 55"/>
                    <a:gd name="T18" fmla="*/ 0 w 57"/>
                    <a:gd name="T19" fmla="*/ 44 h 55"/>
                    <a:gd name="T20" fmla="*/ 4 w 57"/>
                    <a:gd name="T21" fmla="*/ 47 h 55"/>
                    <a:gd name="T22" fmla="*/ 6 w 57"/>
                    <a:gd name="T23" fmla="*/ 51 h 55"/>
                    <a:gd name="T24" fmla="*/ 12 w 57"/>
                    <a:gd name="T25" fmla="*/ 53 h 55"/>
                    <a:gd name="T26" fmla="*/ 15 w 57"/>
                    <a:gd name="T27" fmla="*/ 53 h 55"/>
                    <a:gd name="T28" fmla="*/ 21 w 57"/>
                    <a:gd name="T29" fmla="*/ 55 h 55"/>
                    <a:gd name="T30" fmla="*/ 25 w 57"/>
                    <a:gd name="T31" fmla="*/ 53 h 55"/>
                    <a:gd name="T32" fmla="*/ 31 w 57"/>
                    <a:gd name="T33" fmla="*/ 53 h 55"/>
                    <a:gd name="T34" fmla="*/ 36 w 57"/>
                    <a:gd name="T35" fmla="*/ 51 h 55"/>
                    <a:gd name="T36" fmla="*/ 44 w 57"/>
                    <a:gd name="T37" fmla="*/ 47 h 55"/>
                    <a:gd name="T38" fmla="*/ 50 w 57"/>
                    <a:gd name="T39" fmla="*/ 44 h 55"/>
                    <a:gd name="T40" fmla="*/ 53 w 57"/>
                    <a:gd name="T41" fmla="*/ 40 h 55"/>
                    <a:gd name="T42" fmla="*/ 55 w 57"/>
                    <a:gd name="T43" fmla="*/ 38 h 55"/>
                    <a:gd name="T44" fmla="*/ 57 w 57"/>
                    <a:gd name="T45" fmla="*/ 38 h 55"/>
                    <a:gd name="T46" fmla="*/ 55 w 57"/>
                    <a:gd name="T47" fmla="*/ 38 h 55"/>
                    <a:gd name="T48" fmla="*/ 52 w 57"/>
                    <a:gd name="T49" fmla="*/ 38 h 55"/>
                    <a:gd name="T50" fmla="*/ 46 w 57"/>
                    <a:gd name="T51" fmla="*/ 38 h 55"/>
                    <a:gd name="T52" fmla="*/ 40 w 57"/>
                    <a:gd name="T53" fmla="*/ 38 h 55"/>
                    <a:gd name="T54" fmla="*/ 34 w 57"/>
                    <a:gd name="T55" fmla="*/ 36 h 55"/>
                    <a:gd name="T56" fmla="*/ 29 w 57"/>
                    <a:gd name="T57" fmla="*/ 36 h 55"/>
                    <a:gd name="T58" fmla="*/ 25 w 57"/>
                    <a:gd name="T59" fmla="*/ 34 h 55"/>
                    <a:gd name="T60" fmla="*/ 25 w 57"/>
                    <a:gd name="T61" fmla="*/ 32 h 55"/>
                    <a:gd name="T62" fmla="*/ 25 w 57"/>
                    <a:gd name="T63" fmla="*/ 28 h 55"/>
                    <a:gd name="T64" fmla="*/ 29 w 57"/>
                    <a:gd name="T65" fmla="*/ 25 h 55"/>
                    <a:gd name="T66" fmla="*/ 33 w 57"/>
                    <a:gd name="T67" fmla="*/ 23 h 55"/>
                    <a:gd name="T68" fmla="*/ 36 w 57"/>
                    <a:gd name="T69" fmla="*/ 19 h 55"/>
                    <a:gd name="T70" fmla="*/ 40 w 57"/>
                    <a:gd name="T71" fmla="*/ 17 h 55"/>
                    <a:gd name="T72" fmla="*/ 44 w 57"/>
                    <a:gd name="T73" fmla="*/ 15 h 55"/>
                    <a:gd name="T74" fmla="*/ 46 w 57"/>
                    <a:gd name="T75" fmla="*/ 15 h 55"/>
                    <a:gd name="T76" fmla="*/ 48 w 57"/>
                    <a:gd name="T77" fmla="*/ 15 h 55"/>
                    <a:gd name="T78" fmla="*/ 46 w 57"/>
                    <a:gd name="T79" fmla="*/ 13 h 55"/>
                    <a:gd name="T80" fmla="*/ 46 w 57"/>
                    <a:gd name="T81" fmla="*/ 11 h 55"/>
                    <a:gd name="T82" fmla="*/ 44 w 57"/>
                    <a:gd name="T83" fmla="*/ 8 h 55"/>
                    <a:gd name="T84" fmla="*/ 42 w 57"/>
                    <a:gd name="T85" fmla="*/ 4 h 55"/>
                    <a:gd name="T86" fmla="*/ 38 w 57"/>
                    <a:gd name="T87" fmla="*/ 2 h 55"/>
                    <a:gd name="T88" fmla="*/ 34 w 57"/>
                    <a:gd name="T89" fmla="*/ 0 h 55"/>
                    <a:gd name="T90" fmla="*/ 27 w 57"/>
                    <a:gd name="T91" fmla="*/ 0 h 55"/>
                    <a:gd name="T92" fmla="*/ 21 w 57"/>
                    <a:gd name="T93" fmla="*/ 4 h 55"/>
                    <a:gd name="T94" fmla="*/ 21 w 57"/>
                    <a:gd name="T95" fmla="*/ 4 h 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
                    <a:gd name="T145" fmla="*/ 0 h 55"/>
                    <a:gd name="T146" fmla="*/ 57 w 57"/>
                    <a:gd name="T147" fmla="*/ 55 h 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 h="55">
                      <a:moveTo>
                        <a:pt x="21" y="4"/>
                      </a:moveTo>
                      <a:lnTo>
                        <a:pt x="17" y="6"/>
                      </a:lnTo>
                      <a:lnTo>
                        <a:pt x="12" y="11"/>
                      </a:lnTo>
                      <a:lnTo>
                        <a:pt x="10" y="13"/>
                      </a:lnTo>
                      <a:lnTo>
                        <a:pt x="6" y="17"/>
                      </a:lnTo>
                      <a:lnTo>
                        <a:pt x="4" y="23"/>
                      </a:lnTo>
                      <a:lnTo>
                        <a:pt x="2" y="27"/>
                      </a:lnTo>
                      <a:lnTo>
                        <a:pt x="0" y="34"/>
                      </a:lnTo>
                      <a:lnTo>
                        <a:pt x="0" y="42"/>
                      </a:lnTo>
                      <a:lnTo>
                        <a:pt x="0" y="44"/>
                      </a:lnTo>
                      <a:lnTo>
                        <a:pt x="4" y="47"/>
                      </a:lnTo>
                      <a:lnTo>
                        <a:pt x="6" y="51"/>
                      </a:lnTo>
                      <a:lnTo>
                        <a:pt x="12" y="53"/>
                      </a:lnTo>
                      <a:lnTo>
                        <a:pt x="15" y="53"/>
                      </a:lnTo>
                      <a:lnTo>
                        <a:pt x="21" y="55"/>
                      </a:lnTo>
                      <a:lnTo>
                        <a:pt x="25" y="53"/>
                      </a:lnTo>
                      <a:lnTo>
                        <a:pt x="31" y="53"/>
                      </a:lnTo>
                      <a:lnTo>
                        <a:pt x="36" y="51"/>
                      </a:lnTo>
                      <a:lnTo>
                        <a:pt x="44" y="47"/>
                      </a:lnTo>
                      <a:lnTo>
                        <a:pt x="50" y="44"/>
                      </a:lnTo>
                      <a:lnTo>
                        <a:pt x="53" y="40"/>
                      </a:lnTo>
                      <a:lnTo>
                        <a:pt x="55" y="38"/>
                      </a:lnTo>
                      <a:lnTo>
                        <a:pt x="57" y="38"/>
                      </a:lnTo>
                      <a:lnTo>
                        <a:pt x="55" y="38"/>
                      </a:lnTo>
                      <a:lnTo>
                        <a:pt x="52" y="38"/>
                      </a:lnTo>
                      <a:lnTo>
                        <a:pt x="46" y="38"/>
                      </a:lnTo>
                      <a:lnTo>
                        <a:pt x="40" y="38"/>
                      </a:lnTo>
                      <a:lnTo>
                        <a:pt x="34" y="36"/>
                      </a:lnTo>
                      <a:lnTo>
                        <a:pt x="29" y="36"/>
                      </a:lnTo>
                      <a:lnTo>
                        <a:pt x="25" y="34"/>
                      </a:lnTo>
                      <a:lnTo>
                        <a:pt x="25" y="32"/>
                      </a:lnTo>
                      <a:lnTo>
                        <a:pt x="25" y="28"/>
                      </a:lnTo>
                      <a:lnTo>
                        <a:pt x="29" y="25"/>
                      </a:lnTo>
                      <a:lnTo>
                        <a:pt x="33" y="23"/>
                      </a:lnTo>
                      <a:lnTo>
                        <a:pt x="36" y="19"/>
                      </a:lnTo>
                      <a:lnTo>
                        <a:pt x="40" y="17"/>
                      </a:lnTo>
                      <a:lnTo>
                        <a:pt x="44" y="15"/>
                      </a:lnTo>
                      <a:lnTo>
                        <a:pt x="46" y="15"/>
                      </a:lnTo>
                      <a:lnTo>
                        <a:pt x="48" y="15"/>
                      </a:lnTo>
                      <a:lnTo>
                        <a:pt x="46" y="13"/>
                      </a:lnTo>
                      <a:lnTo>
                        <a:pt x="46" y="11"/>
                      </a:lnTo>
                      <a:lnTo>
                        <a:pt x="44" y="8"/>
                      </a:lnTo>
                      <a:lnTo>
                        <a:pt x="42" y="4"/>
                      </a:lnTo>
                      <a:lnTo>
                        <a:pt x="38" y="2"/>
                      </a:lnTo>
                      <a:lnTo>
                        <a:pt x="34" y="0"/>
                      </a:lnTo>
                      <a:lnTo>
                        <a:pt x="27" y="0"/>
                      </a:lnTo>
                      <a:lnTo>
                        <a:pt x="21" y="4"/>
                      </a:lnTo>
                      <a:close/>
                    </a:path>
                  </a:pathLst>
                </a:custGeom>
                <a:solidFill>
                  <a:srgbClr val="000000"/>
                </a:solidFill>
                <a:ln w="9525">
                  <a:noFill/>
                  <a:round/>
                  <a:headEnd/>
                  <a:tailEnd/>
                </a:ln>
              </p:spPr>
              <p:txBody>
                <a:bodyPr/>
                <a:lstStyle/>
                <a:p>
                  <a:pPr algn="l" eaLnBrk="1" hangingPunct="1"/>
                  <a:endParaRPr lang="en-US"/>
                </a:p>
              </p:txBody>
            </p:sp>
            <p:sp>
              <p:nvSpPr>
                <p:cNvPr id="1482" name="Freeform 647"/>
                <p:cNvSpPr>
                  <a:spLocks noChangeAspect="1"/>
                </p:cNvSpPr>
                <p:nvPr/>
              </p:nvSpPr>
              <p:spPr bwMode="auto">
                <a:xfrm>
                  <a:off x="3888" y="2254"/>
                  <a:ext cx="61" cy="27"/>
                </a:xfrm>
                <a:custGeom>
                  <a:avLst/>
                  <a:gdLst>
                    <a:gd name="T0" fmla="*/ 2 w 122"/>
                    <a:gd name="T1" fmla="*/ 32 h 55"/>
                    <a:gd name="T2" fmla="*/ 8 w 122"/>
                    <a:gd name="T3" fmla="*/ 38 h 55"/>
                    <a:gd name="T4" fmla="*/ 13 w 122"/>
                    <a:gd name="T5" fmla="*/ 42 h 55"/>
                    <a:gd name="T6" fmla="*/ 23 w 122"/>
                    <a:gd name="T7" fmla="*/ 47 h 55"/>
                    <a:gd name="T8" fmla="*/ 34 w 122"/>
                    <a:gd name="T9" fmla="*/ 51 h 55"/>
                    <a:gd name="T10" fmla="*/ 47 w 122"/>
                    <a:gd name="T11" fmla="*/ 53 h 55"/>
                    <a:gd name="T12" fmla="*/ 65 w 122"/>
                    <a:gd name="T13" fmla="*/ 55 h 55"/>
                    <a:gd name="T14" fmla="*/ 82 w 122"/>
                    <a:gd name="T15" fmla="*/ 51 h 55"/>
                    <a:gd name="T16" fmla="*/ 97 w 122"/>
                    <a:gd name="T17" fmla="*/ 47 h 55"/>
                    <a:gd name="T18" fmla="*/ 108 w 122"/>
                    <a:gd name="T19" fmla="*/ 42 h 55"/>
                    <a:gd name="T20" fmla="*/ 116 w 122"/>
                    <a:gd name="T21" fmla="*/ 36 h 55"/>
                    <a:gd name="T22" fmla="*/ 122 w 122"/>
                    <a:gd name="T23" fmla="*/ 28 h 55"/>
                    <a:gd name="T24" fmla="*/ 120 w 122"/>
                    <a:gd name="T25" fmla="*/ 15 h 55"/>
                    <a:gd name="T26" fmla="*/ 112 w 122"/>
                    <a:gd name="T27" fmla="*/ 5 h 55"/>
                    <a:gd name="T28" fmla="*/ 104 w 122"/>
                    <a:gd name="T29" fmla="*/ 2 h 55"/>
                    <a:gd name="T30" fmla="*/ 95 w 122"/>
                    <a:gd name="T31" fmla="*/ 0 h 55"/>
                    <a:gd name="T32" fmla="*/ 87 w 122"/>
                    <a:gd name="T33" fmla="*/ 0 h 55"/>
                    <a:gd name="T34" fmla="*/ 80 w 122"/>
                    <a:gd name="T35" fmla="*/ 0 h 55"/>
                    <a:gd name="T36" fmla="*/ 70 w 122"/>
                    <a:gd name="T37" fmla="*/ 0 h 55"/>
                    <a:gd name="T38" fmla="*/ 65 w 122"/>
                    <a:gd name="T39" fmla="*/ 2 h 55"/>
                    <a:gd name="T40" fmla="*/ 65 w 122"/>
                    <a:gd name="T41" fmla="*/ 4 h 55"/>
                    <a:gd name="T42" fmla="*/ 74 w 122"/>
                    <a:gd name="T43" fmla="*/ 7 h 55"/>
                    <a:gd name="T44" fmla="*/ 84 w 122"/>
                    <a:gd name="T45" fmla="*/ 17 h 55"/>
                    <a:gd name="T46" fmla="*/ 85 w 122"/>
                    <a:gd name="T47" fmla="*/ 23 h 55"/>
                    <a:gd name="T48" fmla="*/ 84 w 122"/>
                    <a:gd name="T49" fmla="*/ 24 h 55"/>
                    <a:gd name="T50" fmla="*/ 76 w 122"/>
                    <a:gd name="T51" fmla="*/ 26 h 55"/>
                    <a:gd name="T52" fmla="*/ 65 w 122"/>
                    <a:gd name="T53" fmla="*/ 26 h 55"/>
                    <a:gd name="T54" fmla="*/ 53 w 122"/>
                    <a:gd name="T55" fmla="*/ 26 h 55"/>
                    <a:gd name="T56" fmla="*/ 42 w 122"/>
                    <a:gd name="T57" fmla="*/ 24 h 55"/>
                    <a:gd name="T58" fmla="*/ 30 w 122"/>
                    <a:gd name="T59" fmla="*/ 23 h 55"/>
                    <a:gd name="T60" fmla="*/ 21 w 122"/>
                    <a:gd name="T61" fmla="*/ 19 h 55"/>
                    <a:gd name="T62" fmla="*/ 11 w 122"/>
                    <a:gd name="T63" fmla="*/ 17 h 55"/>
                    <a:gd name="T64" fmla="*/ 0 w 122"/>
                    <a:gd name="T65" fmla="*/ 32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55"/>
                    <a:gd name="T101" fmla="*/ 122 w 122"/>
                    <a:gd name="T102" fmla="*/ 55 h 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55">
                      <a:moveTo>
                        <a:pt x="0" y="32"/>
                      </a:moveTo>
                      <a:lnTo>
                        <a:pt x="2" y="32"/>
                      </a:lnTo>
                      <a:lnTo>
                        <a:pt x="6" y="36"/>
                      </a:lnTo>
                      <a:lnTo>
                        <a:pt x="8" y="38"/>
                      </a:lnTo>
                      <a:lnTo>
                        <a:pt x="9" y="40"/>
                      </a:lnTo>
                      <a:lnTo>
                        <a:pt x="13" y="42"/>
                      </a:lnTo>
                      <a:lnTo>
                        <a:pt x="19" y="45"/>
                      </a:lnTo>
                      <a:lnTo>
                        <a:pt x="23" y="47"/>
                      </a:lnTo>
                      <a:lnTo>
                        <a:pt x="28" y="49"/>
                      </a:lnTo>
                      <a:lnTo>
                        <a:pt x="34" y="51"/>
                      </a:lnTo>
                      <a:lnTo>
                        <a:pt x="42" y="53"/>
                      </a:lnTo>
                      <a:lnTo>
                        <a:pt x="47" y="53"/>
                      </a:lnTo>
                      <a:lnTo>
                        <a:pt x="57" y="55"/>
                      </a:lnTo>
                      <a:lnTo>
                        <a:pt x="65" y="55"/>
                      </a:lnTo>
                      <a:lnTo>
                        <a:pt x="74" y="55"/>
                      </a:lnTo>
                      <a:lnTo>
                        <a:pt x="82" y="51"/>
                      </a:lnTo>
                      <a:lnTo>
                        <a:pt x="89" y="49"/>
                      </a:lnTo>
                      <a:lnTo>
                        <a:pt x="97" y="47"/>
                      </a:lnTo>
                      <a:lnTo>
                        <a:pt x="103" y="45"/>
                      </a:lnTo>
                      <a:lnTo>
                        <a:pt x="108" y="42"/>
                      </a:lnTo>
                      <a:lnTo>
                        <a:pt x="112" y="40"/>
                      </a:lnTo>
                      <a:lnTo>
                        <a:pt x="116" y="36"/>
                      </a:lnTo>
                      <a:lnTo>
                        <a:pt x="118" y="34"/>
                      </a:lnTo>
                      <a:lnTo>
                        <a:pt x="122" y="28"/>
                      </a:lnTo>
                      <a:lnTo>
                        <a:pt x="122" y="23"/>
                      </a:lnTo>
                      <a:lnTo>
                        <a:pt x="120" y="15"/>
                      </a:lnTo>
                      <a:lnTo>
                        <a:pt x="116" y="9"/>
                      </a:lnTo>
                      <a:lnTo>
                        <a:pt x="112" y="5"/>
                      </a:lnTo>
                      <a:lnTo>
                        <a:pt x="108" y="4"/>
                      </a:lnTo>
                      <a:lnTo>
                        <a:pt x="104" y="2"/>
                      </a:lnTo>
                      <a:lnTo>
                        <a:pt x="101" y="2"/>
                      </a:lnTo>
                      <a:lnTo>
                        <a:pt x="95" y="0"/>
                      </a:lnTo>
                      <a:lnTo>
                        <a:pt x="91" y="0"/>
                      </a:lnTo>
                      <a:lnTo>
                        <a:pt x="87" y="0"/>
                      </a:lnTo>
                      <a:lnTo>
                        <a:pt x="84" y="0"/>
                      </a:lnTo>
                      <a:lnTo>
                        <a:pt x="80" y="0"/>
                      </a:lnTo>
                      <a:lnTo>
                        <a:pt x="74" y="0"/>
                      </a:lnTo>
                      <a:lnTo>
                        <a:pt x="70" y="0"/>
                      </a:lnTo>
                      <a:lnTo>
                        <a:pt x="68" y="2"/>
                      </a:lnTo>
                      <a:lnTo>
                        <a:pt x="65" y="2"/>
                      </a:lnTo>
                      <a:lnTo>
                        <a:pt x="63" y="4"/>
                      </a:lnTo>
                      <a:lnTo>
                        <a:pt x="65" y="4"/>
                      </a:lnTo>
                      <a:lnTo>
                        <a:pt x="68" y="5"/>
                      </a:lnTo>
                      <a:lnTo>
                        <a:pt x="74" y="7"/>
                      </a:lnTo>
                      <a:lnTo>
                        <a:pt x="80" y="13"/>
                      </a:lnTo>
                      <a:lnTo>
                        <a:pt x="84" y="17"/>
                      </a:lnTo>
                      <a:lnTo>
                        <a:pt x="87" y="21"/>
                      </a:lnTo>
                      <a:lnTo>
                        <a:pt x="85" y="23"/>
                      </a:lnTo>
                      <a:lnTo>
                        <a:pt x="84" y="24"/>
                      </a:lnTo>
                      <a:lnTo>
                        <a:pt x="80" y="26"/>
                      </a:lnTo>
                      <a:lnTo>
                        <a:pt x="76" y="26"/>
                      </a:lnTo>
                      <a:lnTo>
                        <a:pt x="70" y="26"/>
                      </a:lnTo>
                      <a:lnTo>
                        <a:pt x="65" y="26"/>
                      </a:lnTo>
                      <a:lnTo>
                        <a:pt x="61" y="26"/>
                      </a:lnTo>
                      <a:lnTo>
                        <a:pt x="53" y="26"/>
                      </a:lnTo>
                      <a:lnTo>
                        <a:pt x="47" y="24"/>
                      </a:lnTo>
                      <a:lnTo>
                        <a:pt x="42" y="24"/>
                      </a:lnTo>
                      <a:lnTo>
                        <a:pt x="36" y="24"/>
                      </a:lnTo>
                      <a:lnTo>
                        <a:pt x="30" y="23"/>
                      </a:lnTo>
                      <a:lnTo>
                        <a:pt x="27" y="21"/>
                      </a:lnTo>
                      <a:lnTo>
                        <a:pt x="21" y="19"/>
                      </a:lnTo>
                      <a:lnTo>
                        <a:pt x="17" y="19"/>
                      </a:lnTo>
                      <a:lnTo>
                        <a:pt x="11" y="17"/>
                      </a:lnTo>
                      <a:lnTo>
                        <a:pt x="9" y="17"/>
                      </a:lnTo>
                      <a:lnTo>
                        <a:pt x="0" y="32"/>
                      </a:lnTo>
                      <a:close/>
                    </a:path>
                  </a:pathLst>
                </a:custGeom>
                <a:solidFill>
                  <a:srgbClr val="000000"/>
                </a:solidFill>
                <a:ln w="9525">
                  <a:noFill/>
                  <a:round/>
                  <a:headEnd/>
                  <a:tailEnd/>
                </a:ln>
              </p:spPr>
              <p:txBody>
                <a:bodyPr/>
                <a:lstStyle/>
                <a:p>
                  <a:pPr algn="l" eaLnBrk="1" hangingPunct="1"/>
                  <a:endParaRPr lang="en-US"/>
                </a:p>
              </p:txBody>
            </p:sp>
            <p:sp>
              <p:nvSpPr>
                <p:cNvPr id="1483" name="Freeform 648"/>
                <p:cNvSpPr>
                  <a:spLocks noChangeAspect="1"/>
                </p:cNvSpPr>
                <p:nvPr/>
              </p:nvSpPr>
              <p:spPr bwMode="auto">
                <a:xfrm>
                  <a:off x="3893" y="2335"/>
                  <a:ext cx="77" cy="42"/>
                </a:xfrm>
                <a:custGeom>
                  <a:avLst/>
                  <a:gdLst>
                    <a:gd name="T0" fmla="*/ 2 w 154"/>
                    <a:gd name="T1" fmla="*/ 36 h 86"/>
                    <a:gd name="T2" fmla="*/ 8 w 154"/>
                    <a:gd name="T3" fmla="*/ 27 h 86"/>
                    <a:gd name="T4" fmla="*/ 18 w 154"/>
                    <a:gd name="T5" fmla="*/ 19 h 86"/>
                    <a:gd name="T6" fmla="*/ 27 w 154"/>
                    <a:gd name="T7" fmla="*/ 12 h 86"/>
                    <a:gd name="T8" fmla="*/ 38 w 154"/>
                    <a:gd name="T9" fmla="*/ 4 h 86"/>
                    <a:gd name="T10" fmla="*/ 50 w 154"/>
                    <a:gd name="T11" fmla="*/ 0 h 86"/>
                    <a:gd name="T12" fmla="*/ 63 w 154"/>
                    <a:gd name="T13" fmla="*/ 0 h 86"/>
                    <a:gd name="T14" fmla="*/ 75 w 154"/>
                    <a:gd name="T15" fmla="*/ 6 h 86"/>
                    <a:gd name="T16" fmla="*/ 76 w 154"/>
                    <a:gd name="T17" fmla="*/ 10 h 86"/>
                    <a:gd name="T18" fmla="*/ 75 w 154"/>
                    <a:gd name="T19" fmla="*/ 21 h 86"/>
                    <a:gd name="T20" fmla="*/ 65 w 154"/>
                    <a:gd name="T21" fmla="*/ 36 h 86"/>
                    <a:gd name="T22" fmla="*/ 61 w 154"/>
                    <a:gd name="T23" fmla="*/ 50 h 86"/>
                    <a:gd name="T24" fmla="*/ 71 w 154"/>
                    <a:gd name="T25" fmla="*/ 54 h 86"/>
                    <a:gd name="T26" fmla="*/ 80 w 154"/>
                    <a:gd name="T27" fmla="*/ 54 h 86"/>
                    <a:gd name="T28" fmla="*/ 90 w 154"/>
                    <a:gd name="T29" fmla="*/ 48 h 86"/>
                    <a:gd name="T30" fmla="*/ 99 w 154"/>
                    <a:gd name="T31" fmla="*/ 42 h 86"/>
                    <a:gd name="T32" fmla="*/ 111 w 154"/>
                    <a:gd name="T33" fmla="*/ 35 h 86"/>
                    <a:gd name="T34" fmla="*/ 120 w 154"/>
                    <a:gd name="T35" fmla="*/ 29 h 86"/>
                    <a:gd name="T36" fmla="*/ 132 w 154"/>
                    <a:gd name="T37" fmla="*/ 27 h 86"/>
                    <a:gd name="T38" fmla="*/ 143 w 154"/>
                    <a:gd name="T39" fmla="*/ 27 h 86"/>
                    <a:gd name="T40" fmla="*/ 152 w 154"/>
                    <a:gd name="T41" fmla="*/ 35 h 86"/>
                    <a:gd name="T42" fmla="*/ 154 w 154"/>
                    <a:gd name="T43" fmla="*/ 42 h 86"/>
                    <a:gd name="T44" fmla="*/ 151 w 154"/>
                    <a:gd name="T45" fmla="*/ 52 h 86"/>
                    <a:gd name="T46" fmla="*/ 145 w 154"/>
                    <a:gd name="T47" fmla="*/ 59 h 86"/>
                    <a:gd name="T48" fmla="*/ 135 w 154"/>
                    <a:gd name="T49" fmla="*/ 69 h 86"/>
                    <a:gd name="T50" fmla="*/ 126 w 154"/>
                    <a:gd name="T51" fmla="*/ 76 h 86"/>
                    <a:gd name="T52" fmla="*/ 116 w 154"/>
                    <a:gd name="T53" fmla="*/ 84 h 86"/>
                    <a:gd name="T54" fmla="*/ 114 w 154"/>
                    <a:gd name="T55" fmla="*/ 84 h 86"/>
                    <a:gd name="T56" fmla="*/ 116 w 154"/>
                    <a:gd name="T57" fmla="*/ 75 h 86"/>
                    <a:gd name="T58" fmla="*/ 118 w 154"/>
                    <a:gd name="T59" fmla="*/ 61 h 86"/>
                    <a:gd name="T60" fmla="*/ 114 w 154"/>
                    <a:gd name="T61" fmla="*/ 54 h 86"/>
                    <a:gd name="T62" fmla="*/ 103 w 154"/>
                    <a:gd name="T63" fmla="*/ 55 h 86"/>
                    <a:gd name="T64" fmla="*/ 88 w 154"/>
                    <a:gd name="T65" fmla="*/ 63 h 86"/>
                    <a:gd name="T66" fmla="*/ 73 w 154"/>
                    <a:gd name="T67" fmla="*/ 73 h 86"/>
                    <a:gd name="T68" fmla="*/ 59 w 154"/>
                    <a:gd name="T69" fmla="*/ 78 h 86"/>
                    <a:gd name="T70" fmla="*/ 46 w 154"/>
                    <a:gd name="T71" fmla="*/ 71 h 86"/>
                    <a:gd name="T72" fmla="*/ 46 w 154"/>
                    <a:gd name="T73" fmla="*/ 59 h 86"/>
                    <a:gd name="T74" fmla="*/ 50 w 154"/>
                    <a:gd name="T75" fmla="*/ 52 h 86"/>
                    <a:gd name="T76" fmla="*/ 52 w 154"/>
                    <a:gd name="T77" fmla="*/ 44 h 86"/>
                    <a:gd name="T78" fmla="*/ 54 w 154"/>
                    <a:gd name="T79" fmla="*/ 35 h 86"/>
                    <a:gd name="T80" fmla="*/ 52 w 154"/>
                    <a:gd name="T81" fmla="*/ 27 h 86"/>
                    <a:gd name="T82" fmla="*/ 42 w 154"/>
                    <a:gd name="T83" fmla="*/ 25 h 86"/>
                    <a:gd name="T84" fmla="*/ 35 w 154"/>
                    <a:gd name="T85" fmla="*/ 27 h 86"/>
                    <a:gd name="T86" fmla="*/ 27 w 154"/>
                    <a:gd name="T87" fmla="*/ 29 h 86"/>
                    <a:gd name="T88" fmla="*/ 19 w 154"/>
                    <a:gd name="T89" fmla="*/ 31 h 86"/>
                    <a:gd name="T90" fmla="*/ 10 w 154"/>
                    <a:gd name="T91" fmla="*/ 35 h 86"/>
                    <a:gd name="T92" fmla="*/ 2 w 154"/>
                    <a:gd name="T93" fmla="*/ 38 h 86"/>
                    <a:gd name="T94" fmla="*/ 0 w 154"/>
                    <a:gd name="T95" fmla="*/ 40 h 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4"/>
                    <a:gd name="T145" fmla="*/ 0 h 86"/>
                    <a:gd name="T146" fmla="*/ 154 w 154"/>
                    <a:gd name="T147" fmla="*/ 86 h 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4" h="86">
                      <a:moveTo>
                        <a:pt x="0" y="40"/>
                      </a:moveTo>
                      <a:lnTo>
                        <a:pt x="2" y="36"/>
                      </a:lnTo>
                      <a:lnTo>
                        <a:pt x="6" y="33"/>
                      </a:lnTo>
                      <a:lnTo>
                        <a:pt x="8" y="27"/>
                      </a:lnTo>
                      <a:lnTo>
                        <a:pt x="14" y="23"/>
                      </a:lnTo>
                      <a:lnTo>
                        <a:pt x="18" y="19"/>
                      </a:lnTo>
                      <a:lnTo>
                        <a:pt x="23" y="16"/>
                      </a:lnTo>
                      <a:lnTo>
                        <a:pt x="27" y="12"/>
                      </a:lnTo>
                      <a:lnTo>
                        <a:pt x="33" y="8"/>
                      </a:lnTo>
                      <a:lnTo>
                        <a:pt x="38" y="4"/>
                      </a:lnTo>
                      <a:lnTo>
                        <a:pt x="44" y="2"/>
                      </a:lnTo>
                      <a:lnTo>
                        <a:pt x="50" y="0"/>
                      </a:lnTo>
                      <a:lnTo>
                        <a:pt x="57" y="0"/>
                      </a:lnTo>
                      <a:lnTo>
                        <a:pt x="63" y="0"/>
                      </a:lnTo>
                      <a:lnTo>
                        <a:pt x="69" y="2"/>
                      </a:lnTo>
                      <a:lnTo>
                        <a:pt x="75" y="6"/>
                      </a:lnTo>
                      <a:lnTo>
                        <a:pt x="76" y="8"/>
                      </a:lnTo>
                      <a:lnTo>
                        <a:pt x="76" y="10"/>
                      </a:lnTo>
                      <a:lnTo>
                        <a:pt x="78" y="14"/>
                      </a:lnTo>
                      <a:lnTo>
                        <a:pt x="75" y="21"/>
                      </a:lnTo>
                      <a:lnTo>
                        <a:pt x="71" y="29"/>
                      </a:lnTo>
                      <a:lnTo>
                        <a:pt x="65" y="36"/>
                      </a:lnTo>
                      <a:lnTo>
                        <a:pt x="61" y="44"/>
                      </a:lnTo>
                      <a:lnTo>
                        <a:pt x="61" y="50"/>
                      </a:lnTo>
                      <a:lnTo>
                        <a:pt x="67" y="54"/>
                      </a:lnTo>
                      <a:lnTo>
                        <a:pt x="71" y="54"/>
                      </a:lnTo>
                      <a:lnTo>
                        <a:pt x="75" y="55"/>
                      </a:lnTo>
                      <a:lnTo>
                        <a:pt x="80" y="54"/>
                      </a:lnTo>
                      <a:lnTo>
                        <a:pt x="84" y="52"/>
                      </a:lnTo>
                      <a:lnTo>
                        <a:pt x="90" y="48"/>
                      </a:lnTo>
                      <a:lnTo>
                        <a:pt x="94" y="46"/>
                      </a:lnTo>
                      <a:lnTo>
                        <a:pt x="99" y="42"/>
                      </a:lnTo>
                      <a:lnTo>
                        <a:pt x="105" y="38"/>
                      </a:lnTo>
                      <a:lnTo>
                        <a:pt x="111" y="35"/>
                      </a:lnTo>
                      <a:lnTo>
                        <a:pt x="116" y="33"/>
                      </a:lnTo>
                      <a:lnTo>
                        <a:pt x="120" y="29"/>
                      </a:lnTo>
                      <a:lnTo>
                        <a:pt x="126" y="27"/>
                      </a:lnTo>
                      <a:lnTo>
                        <a:pt x="132" y="27"/>
                      </a:lnTo>
                      <a:lnTo>
                        <a:pt x="137" y="27"/>
                      </a:lnTo>
                      <a:lnTo>
                        <a:pt x="143" y="27"/>
                      </a:lnTo>
                      <a:lnTo>
                        <a:pt x="149" y="31"/>
                      </a:lnTo>
                      <a:lnTo>
                        <a:pt x="152" y="35"/>
                      </a:lnTo>
                      <a:lnTo>
                        <a:pt x="154" y="38"/>
                      </a:lnTo>
                      <a:lnTo>
                        <a:pt x="154" y="42"/>
                      </a:lnTo>
                      <a:lnTo>
                        <a:pt x="154" y="46"/>
                      </a:lnTo>
                      <a:lnTo>
                        <a:pt x="151" y="52"/>
                      </a:lnTo>
                      <a:lnTo>
                        <a:pt x="149" y="55"/>
                      </a:lnTo>
                      <a:lnTo>
                        <a:pt x="145" y="59"/>
                      </a:lnTo>
                      <a:lnTo>
                        <a:pt x="141" y="65"/>
                      </a:lnTo>
                      <a:lnTo>
                        <a:pt x="135" y="69"/>
                      </a:lnTo>
                      <a:lnTo>
                        <a:pt x="132" y="73"/>
                      </a:lnTo>
                      <a:lnTo>
                        <a:pt x="126" y="76"/>
                      </a:lnTo>
                      <a:lnTo>
                        <a:pt x="124" y="80"/>
                      </a:lnTo>
                      <a:lnTo>
                        <a:pt x="116" y="84"/>
                      </a:lnTo>
                      <a:lnTo>
                        <a:pt x="114" y="86"/>
                      </a:lnTo>
                      <a:lnTo>
                        <a:pt x="114" y="84"/>
                      </a:lnTo>
                      <a:lnTo>
                        <a:pt x="116" y="80"/>
                      </a:lnTo>
                      <a:lnTo>
                        <a:pt x="116" y="75"/>
                      </a:lnTo>
                      <a:lnTo>
                        <a:pt x="118" y="69"/>
                      </a:lnTo>
                      <a:lnTo>
                        <a:pt x="118" y="61"/>
                      </a:lnTo>
                      <a:lnTo>
                        <a:pt x="118" y="57"/>
                      </a:lnTo>
                      <a:lnTo>
                        <a:pt x="114" y="54"/>
                      </a:lnTo>
                      <a:lnTo>
                        <a:pt x="111" y="54"/>
                      </a:lnTo>
                      <a:lnTo>
                        <a:pt x="103" y="55"/>
                      </a:lnTo>
                      <a:lnTo>
                        <a:pt x="95" y="59"/>
                      </a:lnTo>
                      <a:lnTo>
                        <a:pt x="88" y="63"/>
                      </a:lnTo>
                      <a:lnTo>
                        <a:pt x="80" y="69"/>
                      </a:lnTo>
                      <a:lnTo>
                        <a:pt x="73" y="73"/>
                      </a:lnTo>
                      <a:lnTo>
                        <a:pt x="65" y="76"/>
                      </a:lnTo>
                      <a:lnTo>
                        <a:pt x="59" y="78"/>
                      </a:lnTo>
                      <a:lnTo>
                        <a:pt x="52" y="76"/>
                      </a:lnTo>
                      <a:lnTo>
                        <a:pt x="46" y="71"/>
                      </a:lnTo>
                      <a:lnTo>
                        <a:pt x="46" y="65"/>
                      </a:lnTo>
                      <a:lnTo>
                        <a:pt x="46" y="59"/>
                      </a:lnTo>
                      <a:lnTo>
                        <a:pt x="48" y="55"/>
                      </a:lnTo>
                      <a:lnTo>
                        <a:pt x="50" y="52"/>
                      </a:lnTo>
                      <a:lnTo>
                        <a:pt x="52" y="48"/>
                      </a:lnTo>
                      <a:lnTo>
                        <a:pt x="52" y="44"/>
                      </a:lnTo>
                      <a:lnTo>
                        <a:pt x="54" y="38"/>
                      </a:lnTo>
                      <a:lnTo>
                        <a:pt x="54" y="35"/>
                      </a:lnTo>
                      <a:lnTo>
                        <a:pt x="56" y="33"/>
                      </a:lnTo>
                      <a:lnTo>
                        <a:pt x="52" y="27"/>
                      </a:lnTo>
                      <a:lnTo>
                        <a:pt x="48" y="25"/>
                      </a:lnTo>
                      <a:lnTo>
                        <a:pt x="42" y="25"/>
                      </a:lnTo>
                      <a:lnTo>
                        <a:pt x="40" y="25"/>
                      </a:lnTo>
                      <a:lnTo>
                        <a:pt x="35" y="27"/>
                      </a:lnTo>
                      <a:lnTo>
                        <a:pt x="31" y="27"/>
                      </a:lnTo>
                      <a:lnTo>
                        <a:pt x="27" y="29"/>
                      </a:lnTo>
                      <a:lnTo>
                        <a:pt x="23" y="31"/>
                      </a:lnTo>
                      <a:lnTo>
                        <a:pt x="19" y="31"/>
                      </a:lnTo>
                      <a:lnTo>
                        <a:pt x="16" y="33"/>
                      </a:lnTo>
                      <a:lnTo>
                        <a:pt x="10" y="35"/>
                      </a:lnTo>
                      <a:lnTo>
                        <a:pt x="6" y="36"/>
                      </a:lnTo>
                      <a:lnTo>
                        <a:pt x="2" y="38"/>
                      </a:lnTo>
                      <a:lnTo>
                        <a:pt x="0" y="40"/>
                      </a:lnTo>
                      <a:close/>
                    </a:path>
                  </a:pathLst>
                </a:custGeom>
                <a:solidFill>
                  <a:srgbClr val="000000"/>
                </a:solidFill>
                <a:ln w="9525">
                  <a:noFill/>
                  <a:round/>
                  <a:headEnd/>
                  <a:tailEnd/>
                </a:ln>
              </p:spPr>
              <p:txBody>
                <a:bodyPr/>
                <a:lstStyle/>
                <a:p>
                  <a:pPr algn="l" eaLnBrk="1" hangingPunct="1"/>
                  <a:endParaRPr lang="en-US"/>
                </a:p>
              </p:txBody>
            </p:sp>
          </p:grpSp>
          <p:grpSp>
            <p:nvGrpSpPr>
              <p:cNvPr id="1334" name="Group 649"/>
              <p:cNvGrpSpPr>
                <a:grpSpLocks noChangeAspect="1"/>
              </p:cNvGrpSpPr>
              <p:nvPr/>
            </p:nvGrpSpPr>
            <p:grpSpPr bwMode="auto">
              <a:xfrm>
                <a:off x="3387" y="1850"/>
                <a:ext cx="264" cy="344"/>
                <a:chOff x="3226" y="2374"/>
                <a:chExt cx="264" cy="344"/>
              </a:xfrm>
            </p:grpSpPr>
            <p:sp>
              <p:nvSpPr>
                <p:cNvPr id="1441" name="Freeform 650"/>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442" name="Freeform 651"/>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443" name="Freeform 652"/>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444" name="Freeform 653"/>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445" name="Freeform 654"/>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446" name="Freeform 655"/>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447" name="Freeform 656"/>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448" name="Freeform 657"/>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449" name="Freeform 658"/>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450" name="Freeform 659"/>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451" name="Freeform 660"/>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452" name="Freeform 661"/>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453" name="Freeform 662"/>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454" name="Freeform 663"/>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455" name="Freeform 664"/>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456" name="Freeform 665"/>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457" name="Freeform 666"/>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458" name="Freeform 667"/>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459" name="Freeform 668"/>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460" name="Freeform 669"/>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461" name="Freeform 670"/>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1335" name="Group 671"/>
              <p:cNvGrpSpPr>
                <a:grpSpLocks noChangeAspect="1"/>
              </p:cNvGrpSpPr>
              <p:nvPr/>
            </p:nvGrpSpPr>
            <p:grpSpPr bwMode="auto">
              <a:xfrm>
                <a:off x="2283" y="1610"/>
                <a:ext cx="274" cy="383"/>
                <a:chOff x="2730" y="1980"/>
                <a:chExt cx="274" cy="383"/>
              </a:xfrm>
            </p:grpSpPr>
            <p:sp>
              <p:nvSpPr>
                <p:cNvPr id="1424" name="Freeform 672"/>
                <p:cNvSpPr>
                  <a:spLocks noChangeAspect="1"/>
                </p:cNvSpPr>
                <p:nvPr/>
              </p:nvSpPr>
              <p:spPr bwMode="auto">
                <a:xfrm>
                  <a:off x="2740" y="1999"/>
                  <a:ext cx="260" cy="360"/>
                </a:xfrm>
                <a:custGeom>
                  <a:avLst/>
                  <a:gdLst>
                    <a:gd name="T0" fmla="*/ 57 w 518"/>
                    <a:gd name="T1" fmla="*/ 378 h 720"/>
                    <a:gd name="T2" fmla="*/ 207 w 518"/>
                    <a:gd name="T3" fmla="*/ 717 h 720"/>
                    <a:gd name="T4" fmla="*/ 211 w 518"/>
                    <a:gd name="T5" fmla="*/ 717 h 720"/>
                    <a:gd name="T6" fmla="*/ 222 w 518"/>
                    <a:gd name="T7" fmla="*/ 717 h 720"/>
                    <a:gd name="T8" fmla="*/ 239 w 518"/>
                    <a:gd name="T9" fmla="*/ 718 h 720"/>
                    <a:gd name="T10" fmla="*/ 260 w 518"/>
                    <a:gd name="T11" fmla="*/ 720 h 720"/>
                    <a:gd name="T12" fmla="*/ 281 w 518"/>
                    <a:gd name="T13" fmla="*/ 717 h 720"/>
                    <a:gd name="T14" fmla="*/ 306 w 518"/>
                    <a:gd name="T15" fmla="*/ 715 h 720"/>
                    <a:gd name="T16" fmla="*/ 325 w 518"/>
                    <a:gd name="T17" fmla="*/ 707 h 720"/>
                    <a:gd name="T18" fmla="*/ 344 w 518"/>
                    <a:gd name="T19" fmla="*/ 698 h 720"/>
                    <a:gd name="T20" fmla="*/ 363 w 518"/>
                    <a:gd name="T21" fmla="*/ 667 h 720"/>
                    <a:gd name="T22" fmla="*/ 385 w 518"/>
                    <a:gd name="T23" fmla="*/ 606 h 720"/>
                    <a:gd name="T24" fmla="*/ 410 w 518"/>
                    <a:gd name="T25" fmla="*/ 528 h 720"/>
                    <a:gd name="T26" fmla="*/ 435 w 518"/>
                    <a:gd name="T27" fmla="*/ 443 h 720"/>
                    <a:gd name="T28" fmla="*/ 458 w 518"/>
                    <a:gd name="T29" fmla="*/ 357 h 720"/>
                    <a:gd name="T30" fmla="*/ 477 w 518"/>
                    <a:gd name="T31" fmla="*/ 285 h 720"/>
                    <a:gd name="T32" fmla="*/ 490 w 518"/>
                    <a:gd name="T33" fmla="*/ 234 h 720"/>
                    <a:gd name="T34" fmla="*/ 496 w 518"/>
                    <a:gd name="T35" fmla="*/ 215 h 720"/>
                    <a:gd name="T36" fmla="*/ 496 w 518"/>
                    <a:gd name="T37" fmla="*/ 211 h 720"/>
                    <a:gd name="T38" fmla="*/ 494 w 518"/>
                    <a:gd name="T39" fmla="*/ 203 h 720"/>
                    <a:gd name="T40" fmla="*/ 492 w 518"/>
                    <a:gd name="T41" fmla="*/ 190 h 720"/>
                    <a:gd name="T42" fmla="*/ 492 w 518"/>
                    <a:gd name="T43" fmla="*/ 175 h 720"/>
                    <a:gd name="T44" fmla="*/ 492 w 518"/>
                    <a:gd name="T45" fmla="*/ 156 h 720"/>
                    <a:gd name="T46" fmla="*/ 492 w 518"/>
                    <a:gd name="T47" fmla="*/ 137 h 720"/>
                    <a:gd name="T48" fmla="*/ 492 w 518"/>
                    <a:gd name="T49" fmla="*/ 118 h 720"/>
                    <a:gd name="T50" fmla="*/ 496 w 518"/>
                    <a:gd name="T51" fmla="*/ 100 h 720"/>
                    <a:gd name="T52" fmla="*/ 497 w 518"/>
                    <a:gd name="T53" fmla="*/ 83 h 720"/>
                    <a:gd name="T54" fmla="*/ 501 w 518"/>
                    <a:gd name="T55" fmla="*/ 64 h 720"/>
                    <a:gd name="T56" fmla="*/ 505 w 518"/>
                    <a:gd name="T57" fmla="*/ 47 h 720"/>
                    <a:gd name="T58" fmla="*/ 509 w 518"/>
                    <a:gd name="T59" fmla="*/ 32 h 720"/>
                    <a:gd name="T60" fmla="*/ 513 w 518"/>
                    <a:gd name="T61" fmla="*/ 19 h 720"/>
                    <a:gd name="T62" fmla="*/ 518 w 518"/>
                    <a:gd name="T63" fmla="*/ 0 h 720"/>
                    <a:gd name="T64" fmla="*/ 0 w 518"/>
                    <a:gd name="T65" fmla="*/ 7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8"/>
                    <a:gd name="T100" fmla="*/ 0 h 720"/>
                    <a:gd name="T101" fmla="*/ 518 w 518"/>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8" h="720">
                      <a:moveTo>
                        <a:pt x="0" y="7"/>
                      </a:moveTo>
                      <a:lnTo>
                        <a:pt x="57" y="378"/>
                      </a:lnTo>
                      <a:lnTo>
                        <a:pt x="49" y="515"/>
                      </a:lnTo>
                      <a:lnTo>
                        <a:pt x="207" y="717"/>
                      </a:lnTo>
                      <a:lnTo>
                        <a:pt x="209" y="717"/>
                      </a:lnTo>
                      <a:lnTo>
                        <a:pt x="211" y="717"/>
                      </a:lnTo>
                      <a:lnTo>
                        <a:pt x="214" y="717"/>
                      </a:lnTo>
                      <a:lnTo>
                        <a:pt x="222" y="717"/>
                      </a:lnTo>
                      <a:lnTo>
                        <a:pt x="230" y="717"/>
                      </a:lnTo>
                      <a:lnTo>
                        <a:pt x="239" y="718"/>
                      </a:lnTo>
                      <a:lnTo>
                        <a:pt x="249" y="718"/>
                      </a:lnTo>
                      <a:lnTo>
                        <a:pt x="260" y="720"/>
                      </a:lnTo>
                      <a:lnTo>
                        <a:pt x="271" y="718"/>
                      </a:lnTo>
                      <a:lnTo>
                        <a:pt x="281" y="717"/>
                      </a:lnTo>
                      <a:lnTo>
                        <a:pt x="292" y="717"/>
                      </a:lnTo>
                      <a:lnTo>
                        <a:pt x="306" y="715"/>
                      </a:lnTo>
                      <a:lnTo>
                        <a:pt x="315" y="711"/>
                      </a:lnTo>
                      <a:lnTo>
                        <a:pt x="325" y="707"/>
                      </a:lnTo>
                      <a:lnTo>
                        <a:pt x="334" y="701"/>
                      </a:lnTo>
                      <a:lnTo>
                        <a:pt x="344" y="698"/>
                      </a:lnTo>
                      <a:lnTo>
                        <a:pt x="351" y="684"/>
                      </a:lnTo>
                      <a:lnTo>
                        <a:pt x="363" y="667"/>
                      </a:lnTo>
                      <a:lnTo>
                        <a:pt x="372" y="639"/>
                      </a:lnTo>
                      <a:lnTo>
                        <a:pt x="385" y="606"/>
                      </a:lnTo>
                      <a:lnTo>
                        <a:pt x="397" y="568"/>
                      </a:lnTo>
                      <a:lnTo>
                        <a:pt x="410" y="528"/>
                      </a:lnTo>
                      <a:lnTo>
                        <a:pt x="421" y="486"/>
                      </a:lnTo>
                      <a:lnTo>
                        <a:pt x="435" y="443"/>
                      </a:lnTo>
                      <a:lnTo>
                        <a:pt x="446" y="399"/>
                      </a:lnTo>
                      <a:lnTo>
                        <a:pt x="458" y="357"/>
                      </a:lnTo>
                      <a:lnTo>
                        <a:pt x="467" y="319"/>
                      </a:lnTo>
                      <a:lnTo>
                        <a:pt x="477" y="285"/>
                      </a:lnTo>
                      <a:lnTo>
                        <a:pt x="484" y="256"/>
                      </a:lnTo>
                      <a:lnTo>
                        <a:pt x="490" y="234"/>
                      </a:lnTo>
                      <a:lnTo>
                        <a:pt x="494" y="220"/>
                      </a:lnTo>
                      <a:lnTo>
                        <a:pt x="496" y="215"/>
                      </a:lnTo>
                      <a:lnTo>
                        <a:pt x="496" y="211"/>
                      </a:lnTo>
                      <a:lnTo>
                        <a:pt x="494" y="209"/>
                      </a:lnTo>
                      <a:lnTo>
                        <a:pt x="494" y="203"/>
                      </a:lnTo>
                      <a:lnTo>
                        <a:pt x="494" y="197"/>
                      </a:lnTo>
                      <a:lnTo>
                        <a:pt x="492" y="190"/>
                      </a:lnTo>
                      <a:lnTo>
                        <a:pt x="492" y="182"/>
                      </a:lnTo>
                      <a:lnTo>
                        <a:pt x="492" y="175"/>
                      </a:lnTo>
                      <a:lnTo>
                        <a:pt x="492" y="165"/>
                      </a:lnTo>
                      <a:lnTo>
                        <a:pt x="492" y="156"/>
                      </a:lnTo>
                      <a:lnTo>
                        <a:pt x="492" y="146"/>
                      </a:lnTo>
                      <a:lnTo>
                        <a:pt x="492" y="137"/>
                      </a:lnTo>
                      <a:lnTo>
                        <a:pt x="492" y="127"/>
                      </a:lnTo>
                      <a:lnTo>
                        <a:pt x="492" y="118"/>
                      </a:lnTo>
                      <a:lnTo>
                        <a:pt x="494" y="108"/>
                      </a:lnTo>
                      <a:lnTo>
                        <a:pt x="496" y="100"/>
                      </a:lnTo>
                      <a:lnTo>
                        <a:pt x="496" y="91"/>
                      </a:lnTo>
                      <a:lnTo>
                        <a:pt x="497" y="83"/>
                      </a:lnTo>
                      <a:lnTo>
                        <a:pt x="499" y="74"/>
                      </a:lnTo>
                      <a:lnTo>
                        <a:pt x="501" y="64"/>
                      </a:lnTo>
                      <a:lnTo>
                        <a:pt x="503" y="57"/>
                      </a:lnTo>
                      <a:lnTo>
                        <a:pt x="505" y="47"/>
                      </a:lnTo>
                      <a:lnTo>
                        <a:pt x="507" y="40"/>
                      </a:lnTo>
                      <a:lnTo>
                        <a:pt x="509" y="32"/>
                      </a:lnTo>
                      <a:lnTo>
                        <a:pt x="511" y="24"/>
                      </a:lnTo>
                      <a:lnTo>
                        <a:pt x="513" y="19"/>
                      </a:lnTo>
                      <a:lnTo>
                        <a:pt x="515" y="11"/>
                      </a:lnTo>
                      <a:lnTo>
                        <a:pt x="518" y="0"/>
                      </a:lnTo>
                      <a:lnTo>
                        <a:pt x="0" y="7"/>
                      </a:lnTo>
                      <a:close/>
                    </a:path>
                  </a:pathLst>
                </a:custGeom>
                <a:solidFill>
                  <a:srgbClr val="F0D663"/>
                </a:solidFill>
                <a:ln w="9525">
                  <a:noFill/>
                  <a:round/>
                  <a:headEnd/>
                  <a:tailEnd/>
                </a:ln>
              </p:spPr>
              <p:txBody>
                <a:bodyPr/>
                <a:lstStyle/>
                <a:p>
                  <a:pPr algn="l" eaLnBrk="1" hangingPunct="1"/>
                  <a:endParaRPr lang="en-US"/>
                </a:p>
              </p:txBody>
            </p:sp>
            <p:sp>
              <p:nvSpPr>
                <p:cNvPr id="1425" name="Freeform 673"/>
                <p:cNvSpPr>
                  <a:spLocks noChangeAspect="1"/>
                </p:cNvSpPr>
                <p:nvPr/>
              </p:nvSpPr>
              <p:spPr bwMode="auto">
                <a:xfrm>
                  <a:off x="2769" y="2033"/>
                  <a:ext cx="120" cy="242"/>
                </a:xfrm>
                <a:custGeom>
                  <a:avLst/>
                  <a:gdLst>
                    <a:gd name="T0" fmla="*/ 11 w 241"/>
                    <a:gd name="T1" fmla="*/ 4 h 483"/>
                    <a:gd name="T2" fmla="*/ 26 w 241"/>
                    <a:gd name="T3" fmla="*/ 12 h 483"/>
                    <a:gd name="T4" fmla="*/ 51 w 241"/>
                    <a:gd name="T5" fmla="*/ 21 h 483"/>
                    <a:gd name="T6" fmla="*/ 78 w 241"/>
                    <a:gd name="T7" fmla="*/ 29 h 483"/>
                    <a:gd name="T8" fmla="*/ 112 w 241"/>
                    <a:gd name="T9" fmla="*/ 38 h 483"/>
                    <a:gd name="T10" fmla="*/ 140 w 241"/>
                    <a:gd name="T11" fmla="*/ 40 h 483"/>
                    <a:gd name="T12" fmla="*/ 167 w 241"/>
                    <a:gd name="T13" fmla="*/ 44 h 483"/>
                    <a:gd name="T14" fmla="*/ 190 w 241"/>
                    <a:gd name="T15" fmla="*/ 44 h 483"/>
                    <a:gd name="T16" fmla="*/ 205 w 241"/>
                    <a:gd name="T17" fmla="*/ 44 h 483"/>
                    <a:gd name="T18" fmla="*/ 214 w 241"/>
                    <a:gd name="T19" fmla="*/ 44 h 483"/>
                    <a:gd name="T20" fmla="*/ 214 w 241"/>
                    <a:gd name="T21" fmla="*/ 48 h 483"/>
                    <a:gd name="T22" fmla="*/ 211 w 241"/>
                    <a:gd name="T23" fmla="*/ 57 h 483"/>
                    <a:gd name="T24" fmla="*/ 209 w 241"/>
                    <a:gd name="T25" fmla="*/ 76 h 483"/>
                    <a:gd name="T26" fmla="*/ 205 w 241"/>
                    <a:gd name="T27" fmla="*/ 97 h 483"/>
                    <a:gd name="T28" fmla="*/ 201 w 241"/>
                    <a:gd name="T29" fmla="*/ 122 h 483"/>
                    <a:gd name="T30" fmla="*/ 199 w 241"/>
                    <a:gd name="T31" fmla="*/ 137 h 483"/>
                    <a:gd name="T32" fmla="*/ 188 w 241"/>
                    <a:gd name="T33" fmla="*/ 139 h 483"/>
                    <a:gd name="T34" fmla="*/ 165 w 241"/>
                    <a:gd name="T35" fmla="*/ 141 h 483"/>
                    <a:gd name="T36" fmla="*/ 136 w 241"/>
                    <a:gd name="T37" fmla="*/ 141 h 483"/>
                    <a:gd name="T38" fmla="*/ 102 w 241"/>
                    <a:gd name="T39" fmla="*/ 139 h 483"/>
                    <a:gd name="T40" fmla="*/ 119 w 241"/>
                    <a:gd name="T41" fmla="*/ 154 h 483"/>
                    <a:gd name="T42" fmla="*/ 150 w 241"/>
                    <a:gd name="T43" fmla="*/ 167 h 483"/>
                    <a:gd name="T44" fmla="*/ 180 w 241"/>
                    <a:gd name="T45" fmla="*/ 179 h 483"/>
                    <a:gd name="T46" fmla="*/ 195 w 241"/>
                    <a:gd name="T47" fmla="*/ 185 h 483"/>
                    <a:gd name="T48" fmla="*/ 195 w 241"/>
                    <a:gd name="T49" fmla="*/ 202 h 483"/>
                    <a:gd name="T50" fmla="*/ 195 w 241"/>
                    <a:gd name="T51" fmla="*/ 234 h 483"/>
                    <a:gd name="T52" fmla="*/ 195 w 241"/>
                    <a:gd name="T53" fmla="*/ 276 h 483"/>
                    <a:gd name="T54" fmla="*/ 199 w 241"/>
                    <a:gd name="T55" fmla="*/ 320 h 483"/>
                    <a:gd name="T56" fmla="*/ 209 w 241"/>
                    <a:gd name="T57" fmla="*/ 359 h 483"/>
                    <a:gd name="T58" fmla="*/ 216 w 241"/>
                    <a:gd name="T59" fmla="*/ 394 h 483"/>
                    <a:gd name="T60" fmla="*/ 224 w 241"/>
                    <a:gd name="T61" fmla="*/ 426 h 483"/>
                    <a:gd name="T62" fmla="*/ 231 w 241"/>
                    <a:gd name="T63" fmla="*/ 453 h 483"/>
                    <a:gd name="T64" fmla="*/ 237 w 241"/>
                    <a:gd name="T65" fmla="*/ 474 h 483"/>
                    <a:gd name="T66" fmla="*/ 241 w 241"/>
                    <a:gd name="T67" fmla="*/ 483 h 483"/>
                    <a:gd name="T68" fmla="*/ 239 w 241"/>
                    <a:gd name="T69" fmla="*/ 483 h 483"/>
                    <a:gd name="T70" fmla="*/ 228 w 241"/>
                    <a:gd name="T71" fmla="*/ 483 h 483"/>
                    <a:gd name="T72" fmla="*/ 209 w 241"/>
                    <a:gd name="T73" fmla="*/ 483 h 483"/>
                    <a:gd name="T74" fmla="*/ 182 w 241"/>
                    <a:gd name="T75" fmla="*/ 483 h 483"/>
                    <a:gd name="T76" fmla="*/ 150 w 241"/>
                    <a:gd name="T77" fmla="*/ 481 h 483"/>
                    <a:gd name="T78" fmla="*/ 112 w 241"/>
                    <a:gd name="T79" fmla="*/ 474 h 483"/>
                    <a:gd name="T80" fmla="*/ 76 w 241"/>
                    <a:gd name="T81" fmla="*/ 422 h 483"/>
                    <a:gd name="T82" fmla="*/ 45 w 241"/>
                    <a:gd name="T83" fmla="*/ 333 h 483"/>
                    <a:gd name="T84" fmla="*/ 24 w 241"/>
                    <a:gd name="T85" fmla="*/ 232 h 483"/>
                    <a:gd name="T86" fmla="*/ 9 w 241"/>
                    <a:gd name="T87" fmla="*/ 143 h 483"/>
                    <a:gd name="T88" fmla="*/ 7 w 241"/>
                    <a:gd name="T89" fmla="*/ 88 h 483"/>
                    <a:gd name="T90" fmla="*/ 19 w 241"/>
                    <a:gd name="T91" fmla="*/ 88 h 483"/>
                    <a:gd name="T92" fmla="*/ 32 w 241"/>
                    <a:gd name="T93" fmla="*/ 88 h 483"/>
                    <a:gd name="T94" fmla="*/ 49 w 241"/>
                    <a:gd name="T95" fmla="*/ 88 h 483"/>
                    <a:gd name="T96" fmla="*/ 72 w 241"/>
                    <a:gd name="T97" fmla="*/ 89 h 483"/>
                    <a:gd name="T98" fmla="*/ 102 w 241"/>
                    <a:gd name="T99" fmla="*/ 88 h 483"/>
                    <a:gd name="T100" fmla="*/ 112 w 241"/>
                    <a:gd name="T101" fmla="*/ 86 h 483"/>
                    <a:gd name="T102" fmla="*/ 93 w 241"/>
                    <a:gd name="T103" fmla="*/ 78 h 483"/>
                    <a:gd name="T104" fmla="*/ 68 w 241"/>
                    <a:gd name="T105" fmla="*/ 67 h 483"/>
                    <a:gd name="T106" fmla="*/ 40 w 241"/>
                    <a:gd name="T107" fmla="*/ 53 h 483"/>
                    <a:gd name="T108" fmla="*/ 17 w 241"/>
                    <a:gd name="T109" fmla="*/ 42 h 483"/>
                    <a:gd name="T110" fmla="*/ 2 w 241"/>
                    <a:gd name="T111" fmla="*/ 31 h 483"/>
                    <a:gd name="T112" fmla="*/ 0 w 241"/>
                    <a:gd name="T113" fmla="*/ 13 h 483"/>
                    <a:gd name="T114" fmla="*/ 2 w 241"/>
                    <a:gd name="T115" fmla="*/ 0 h 4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1"/>
                    <a:gd name="T175" fmla="*/ 0 h 483"/>
                    <a:gd name="T176" fmla="*/ 241 w 241"/>
                    <a:gd name="T177" fmla="*/ 483 h 4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1" h="483">
                      <a:moveTo>
                        <a:pt x="2" y="0"/>
                      </a:moveTo>
                      <a:lnTo>
                        <a:pt x="3" y="0"/>
                      </a:lnTo>
                      <a:lnTo>
                        <a:pt x="11" y="4"/>
                      </a:lnTo>
                      <a:lnTo>
                        <a:pt x="15" y="6"/>
                      </a:lnTo>
                      <a:lnTo>
                        <a:pt x="21" y="8"/>
                      </a:lnTo>
                      <a:lnTo>
                        <a:pt x="26" y="12"/>
                      </a:lnTo>
                      <a:lnTo>
                        <a:pt x="34" y="15"/>
                      </a:lnTo>
                      <a:lnTo>
                        <a:pt x="41" y="17"/>
                      </a:lnTo>
                      <a:lnTo>
                        <a:pt x="51" y="21"/>
                      </a:lnTo>
                      <a:lnTo>
                        <a:pt x="59" y="23"/>
                      </a:lnTo>
                      <a:lnTo>
                        <a:pt x="70" y="27"/>
                      </a:lnTo>
                      <a:lnTo>
                        <a:pt x="78" y="29"/>
                      </a:lnTo>
                      <a:lnTo>
                        <a:pt x="89" y="32"/>
                      </a:lnTo>
                      <a:lnTo>
                        <a:pt x="100" y="34"/>
                      </a:lnTo>
                      <a:lnTo>
                        <a:pt x="112" y="38"/>
                      </a:lnTo>
                      <a:lnTo>
                        <a:pt x="121" y="38"/>
                      </a:lnTo>
                      <a:lnTo>
                        <a:pt x="131" y="40"/>
                      </a:lnTo>
                      <a:lnTo>
                        <a:pt x="140" y="40"/>
                      </a:lnTo>
                      <a:lnTo>
                        <a:pt x="150" y="42"/>
                      </a:lnTo>
                      <a:lnTo>
                        <a:pt x="159" y="42"/>
                      </a:lnTo>
                      <a:lnTo>
                        <a:pt x="167" y="44"/>
                      </a:lnTo>
                      <a:lnTo>
                        <a:pt x="176" y="44"/>
                      </a:lnTo>
                      <a:lnTo>
                        <a:pt x="184" y="44"/>
                      </a:lnTo>
                      <a:lnTo>
                        <a:pt x="190" y="44"/>
                      </a:lnTo>
                      <a:lnTo>
                        <a:pt x="195" y="44"/>
                      </a:lnTo>
                      <a:lnTo>
                        <a:pt x="201" y="44"/>
                      </a:lnTo>
                      <a:lnTo>
                        <a:pt x="205" y="44"/>
                      </a:lnTo>
                      <a:lnTo>
                        <a:pt x="209" y="44"/>
                      </a:lnTo>
                      <a:lnTo>
                        <a:pt x="212" y="44"/>
                      </a:lnTo>
                      <a:lnTo>
                        <a:pt x="214" y="44"/>
                      </a:lnTo>
                      <a:lnTo>
                        <a:pt x="214" y="46"/>
                      </a:lnTo>
                      <a:lnTo>
                        <a:pt x="214" y="48"/>
                      </a:lnTo>
                      <a:lnTo>
                        <a:pt x="212" y="50"/>
                      </a:lnTo>
                      <a:lnTo>
                        <a:pt x="212" y="53"/>
                      </a:lnTo>
                      <a:lnTo>
                        <a:pt x="211" y="57"/>
                      </a:lnTo>
                      <a:lnTo>
                        <a:pt x="211" y="63"/>
                      </a:lnTo>
                      <a:lnTo>
                        <a:pt x="209" y="69"/>
                      </a:lnTo>
                      <a:lnTo>
                        <a:pt x="209" y="76"/>
                      </a:lnTo>
                      <a:lnTo>
                        <a:pt x="207" y="82"/>
                      </a:lnTo>
                      <a:lnTo>
                        <a:pt x="207" y="89"/>
                      </a:lnTo>
                      <a:lnTo>
                        <a:pt x="205" y="97"/>
                      </a:lnTo>
                      <a:lnTo>
                        <a:pt x="205" y="107"/>
                      </a:lnTo>
                      <a:lnTo>
                        <a:pt x="203" y="114"/>
                      </a:lnTo>
                      <a:lnTo>
                        <a:pt x="201" y="122"/>
                      </a:lnTo>
                      <a:lnTo>
                        <a:pt x="201" y="129"/>
                      </a:lnTo>
                      <a:lnTo>
                        <a:pt x="201" y="137"/>
                      </a:lnTo>
                      <a:lnTo>
                        <a:pt x="199" y="137"/>
                      </a:lnTo>
                      <a:lnTo>
                        <a:pt x="197" y="137"/>
                      </a:lnTo>
                      <a:lnTo>
                        <a:pt x="193" y="139"/>
                      </a:lnTo>
                      <a:lnTo>
                        <a:pt x="188" y="139"/>
                      </a:lnTo>
                      <a:lnTo>
                        <a:pt x="180" y="139"/>
                      </a:lnTo>
                      <a:lnTo>
                        <a:pt x="173" y="141"/>
                      </a:lnTo>
                      <a:lnTo>
                        <a:pt x="165" y="141"/>
                      </a:lnTo>
                      <a:lnTo>
                        <a:pt x="157" y="143"/>
                      </a:lnTo>
                      <a:lnTo>
                        <a:pt x="146" y="141"/>
                      </a:lnTo>
                      <a:lnTo>
                        <a:pt x="136" y="141"/>
                      </a:lnTo>
                      <a:lnTo>
                        <a:pt x="125" y="141"/>
                      </a:lnTo>
                      <a:lnTo>
                        <a:pt x="114" y="141"/>
                      </a:lnTo>
                      <a:lnTo>
                        <a:pt x="102" y="139"/>
                      </a:lnTo>
                      <a:lnTo>
                        <a:pt x="74" y="135"/>
                      </a:lnTo>
                      <a:lnTo>
                        <a:pt x="108" y="150"/>
                      </a:lnTo>
                      <a:lnTo>
                        <a:pt x="119" y="154"/>
                      </a:lnTo>
                      <a:lnTo>
                        <a:pt x="129" y="160"/>
                      </a:lnTo>
                      <a:lnTo>
                        <a:pt x="140" y="164"/>
                      </a:lnTo>
                      <a:lnTo>
                        <a:pt x="150" y="167"/>
                      </a:lnTo>
                      <a:lnTo>
                        <a:pt x="161" y="171"/>
                      </a:lnTo>
                      <a:lnTo>
                        <a:pt x="171" y="175"/>
                      </a:lnTo>
                      <a:lnTo>
                        <a:pt x="180" y="179"/>
                      </a:lnTo>
                      <a:lnTo>
                        <a:pt x="188" y="181"/>
                      </a:lnTo>
                      <a:lnTo>
                        <a:pt x="195" y="185"/>
                      </a:lnTo>
                      <a:lnTo>
                        <a:pt x="195" y="188"/>
                      </a:lnTo>
                      <a:lnTo>
                        <a:pt x="195" y="194"/>
                      </a:lnTo>
                      <a:lnTo>
                        <a:pt x="195" y="202"/>
                      </a:lnTo>
                      <a:lnTo>
                        <a:pt x="195" y="211"/>
                      </a:lnTo>
                      <a:lnTo>
                        <a:pt x="195" y="223"/>
                      </a:lnTo>
                      <a:lnTo>
                        <a:pt x="195" y="234"/>
                      </a:lnTo>
                      <a:lnTo>
                        <a:pt x="195" y="247"/>
                      </a:lnTo>
                      <a:lnTo>
                        <a:pt x="195" y="261"/>
                      </a:lnTo>
                      <a:lnTo>
                        <a:pt x="195" y="276"/>
                      </a:lnTo>
                      <a:lnTo>
                        <a:pt x="197" y="291"/>
                      </a:lnTo>
                      <a:lnTo>
                        <a:pt x="199" y="304"/>
                      </a:lnTo>
                      <a:lnTo>
                        <a:pt x="199" y="320"/>
                      </a:lnTo>
                      <a:lnTo>
                        <a:pt x="201" y="333"/>
                      </a:lnTo>
                      <a:lnTo>
                        <a:pt x="205" y="346"/>
                      </a:lnTo>
                      <a:lnTo>
                        <a:pt x="209" y="359"/>
                      </a:lnTo>
                      <a:lnTo>
                        <a:pt x="211" y="371"/>
                      </a:lnTo>
                      <a:lnTo>
                        <a:pt x="212" y="382"/>
                      </a:lnTo>
                      <a:lnTo>
                        <a:pt x="216" y="394"/>
                      </a:lnTo>
                      <a:lnTo>
                        <a:pt x="218" y="405"/>
                      </a:lnTo>
                      <a:lnTo>
                        <a:pt x="220" y="415"/>
                      </a:lnTo>
                      <a:lnTo>
                        <a:pt x="224" y="426"/>
                      </a:lnTo>
                      <a:lnTo>
                        <a:pt x="226" y="436"/>
                      </a:lnTo>
                      <a:lnTo>
                        <a:pt x="230" y="445"/>
                      </a:lnTo>
                      <a:lnTo>
                        <a:pt x="231" y="453"/>
                      </a:lnTo>
                      <a:lnTo>
                        <a:pt x="233" y="460"/>
                      </a:lnTo>
                      <a:lnTo>
                        <a:pt x="235" y="466"/>
                      </a:lnTo>
                      <a:lnTo>
                        <a:pt x="237" y="474"/>
                      </a:lnTo>
                      <a:lnTo>
                        <a:pt x="239" y="475"/>
                      </a:lnTo>
                      <a:lnTo>
                        <a:pt x="239" y="479"/>
                      </a:lnTo>
                      <a:lnTo>
                        <a:pt x="241" y="483"/>
                      </a:lnTo>
                      <a:lnTo>
                        <a:pt x="239" y="483"/>
                      </a:lnTo>
                      <a:lnTo>
                        <a:pt x="235" y="483"/>
                      </a:lnTo>
                      <a:lnTo>
                        <a:pt x="233" y="483"/>
                      </a:lnTo>
                      <a:lnTo>
                        <a:pt x="228" y="483"/>
                      </a:lnTo>
                      <a:lnTo>
                        <a:pt x="222" y="483"/>
                      </a:lnTo>
                      <a:lnTo>
                        <a:pt x="216" y="483"/>
                      </a:lnTo>
                      <a:lnTo>
                        <a:pt x="209" y="483"/>
                      </a:lnTo>
                      <a:lnTo>
                        <a:pt x="201" y="483"/>
                      </a:lnTo>
                      <a:lnTo>
                        <a:pt x="192" y="483"/>
                      </a:lnTo>
                      <a:lnTo>
                        <a:pt x="182" y="483"/>
                      </a:lnTo>
                      <a:lnTo>
                        <a:pt x="173" y="483"/>
                      </a:lnTo>
                      <a:lnTo>
                        <a:pt x="161" y="481"/>
                      </a:lnTo>
                      <a:lnTo>
                        <a:pt x="150" y="481"/>
                      </a:lnTo>
                      <a:lnTo>
                        <a:pt x="136" y="479"/>
                      </a:lnTo>
                      <a:lnTo>
                        <a:pt x="125" y="479"/>
                      </a:lnTo>
                      <a:lnTo>
                        <a:pt x="112" y="474"/>
                      </a:lnTo>
                      <a:lnTo>
                        <a:pt x="98" y="462"/>
                      </a:lnTo>
                      <a:lnTo>
                        <a:pt x="87" y="443"/>
                      </a:lnTo>
                      <a:lnTo>
                        <a:pt x="76" y="422"/>
                      </a:lnTo>
                      <a:lnTo>
                        <a:pt x="64" y="394"/>
                      </a:lnTo>
                      <a:lnTo>
                        <a:pt x="55" y="365"/>
                      </a:lnTo>
                      <a:lnTo>
                        <a:pt x="45" y="333"/>
                      </a:lnTo>
                      <a:lnTo>
                        <a:pt x="38" y="301"/>
                      </a:lnTo>
                      <a:lnTo>
                        <a:pt x="30" y="266"/>
                      </a:lnTo>
                      <a:lnTo>
                        <a:pt x="24" y="232"/>
                      </a:lnTo>
                      <a:lnTo>
                        <a:pt x="19" y="200"/>
                      </a:lnTo>
                      <a:lnTo>
                        <a:pt x="15" y="169"/>
                      </a:lnTo>
                      <a:lnTo>
                        <a:pt x="9" y="143"/>
                      </a:lnTo>
                      <a:lnTo>
                        <a:pt x="9" y="118"/>
                      </a:lnTo>
                      <a:lnTo>
                        <a:pt x="5" y="99"/>
                      </a:lnTo>
                      <a:lnTo>
                        <a:pt x="7" y="88"/>
                      </a:lnTo>
                      <a:lnTo>
                        <a:pt x="11" y="88"/>
                      </a:lnTo>
                      <a:lnTo>
                        <a:pt x="15" y="88"/>
                      </a:lnTo>
                      <a:lnTo>
                        <a:pt x="19" y="88"/>
                      </a:lnTo>
                      <a:lnTo>
                        <a:pt x="22" y="88"/>
                      </a:lnTo>
                      <a:lnTo>
                        <a:pt x="28" y="88"/>
                      </a:lnTo>
                      <a:lnTo>
                        <a:pt x="32" y="88"/>
                      </a:lnTo>
                      <a:lnTo>
                        <a:pt x="36" y="88"/>
                      </a:lnTo>
                      <a:lnTo>
                        <a:pt x="43" y="88"/>
                      </a:lnTo>
                      <a:lnTo>
                        <a:pt x="49" y="88"/>
                      </a:lnTo>
                      <a:lnTo>
                        <a:pt x="57" y="88"/>
                      </a:lnTo>
                      <a:lnTo>
                        <a:pt x="64" y="88"/>
                      </a:lnTo>
                      <a:lnTo>
                        <a:pt x="72" y="89"/>
                      </a:lnTo>
                      <a:lnTo>
                        <a:pt x="81" y="88"/>
                      </a:lnTo>
                      <a:lnTo>
                        <a:pt x="91" y="88"/>
                      </a:lnTo>
                      <a:lnTo>
                        <a:pt x="102" y="88"/>
                      </a:lnTo>
                      <a:lnTo>
                        <a:pt x="116" y="88"/>
                      </a:lnTo>
                      <a:lnTo>
                        <a:pt x="114" y="88"/>
                      </a:lnTo>
                      <a:lnTo>
                        <a:pt x="112" y="86"/>
                      </a:lnTo>
                      <a:lnTo>
                        <a:pt x="106" y="84"/>
                      </a:lnTo>
                      <a:lnTo>
                        <a:pt x="100" y="82"/>
                      </a:lnTo>
                      <a:lnTo>
                        <a:pt x="93" y="78"/>
                      </a:lnTo>
                      <a:lnTo>
                        <a:pt x="85" y="74"/>
                      </a:lnTo>
                      <a:lnTo>
                        <a:pt x="76" y="70"/>
                      </a:lnTo>
                      <a:lnTo>
                        <a:pt x="68" y="67"/>
                      </a:lnTo>
                      <a:lnTo>
                        <a:pt x="57" y="63"/>
                      </a:lnTo>
                      <a:lnTo>
                        <a:pt x="49" y="57"/>
                      </a:lnTo>
                      <a:lnTo>
                        <a:pt x="40" y="53"/>
                      </a:lnTo>
                      <a:lnTo>
                        <a:pt x="30" y="50"/>
                      </a:lnTo>
                      <a:lnTo>
                        <a:pt x="22" y="46"/>
                      </a:lnTo>
                      <a:lnTo>
                        <a:pt x="17" y="42"/>
                      </a:lnTo>
                      <a:lnTo>
                        <a:pt x="11" y="40"/>
                      </a:lnTo>
                      <a:lnTo>
                        <a:pt x="7" y="38"/>
                      </a:lnTo>
                      <a:lnTo>
                        <a:pt x="2" y="31"/>
                      </a:lnTo>
                      <a:lnTo>
                        <a:pt x="0" y="27"/>
                      </a:lnTo>
                      <a:lnTo>
                        <a:pt x="0" y="19"/>
                      </a:lnTo>
                      <a:lnTo>
                        <a:pt x="0" y="13"/>
                      </a:lnTo>
                      <a:lnTo>
                        <a:pt x="0" y="8"/>
                      </a:lnTo>
                      <a:lnTo>
                        <a:pt x="2" y="2"/>
                      </a:lnTo>
                      <a:lnTo>
                        <a:pt x="2" y="0"/>
                      </a:lnTo>
                      <a:close/>
                    </a:path>
                  </a:pathLst>
                </a:custGeom>
                <a:solidFill>
                  <a:srgbClr val="FAEBA6"/>
                </a:solidFill>
                <a:ln w="9525">
                  <a:noFill/>
                  <a:round/>
                  <a:headEnd/>
                  <a:tailEnd/>
                </a:ln>
              </p:spPr>
              <p:txBody>
                <a:bodyPr/>
                <a:lstStyle/>
                <a:p>
                  <a:pPr algn="l" eaLnBrk="1" hangingPunct="1"/>
                  <a:endParaRPr lang="en-US"/>
                </a:p>
              </p:txBody>
            </p:sp>
            <p:sp>
              <p:nvSpPr>
                <p:cNvPr id="1426" name="Freeform 674"/>
                <p:cNvSpPr>
                  <a:spLocks noChangeAspect="1"/>
                </p:cNvSpPr>
                <p:nvPr/>
              </p:nvSpPr>
              <p:spPr bwMode="auto">
                <a:xfrm>
                  <a:off x="2894" y="2010"/>
                  <a:ext cx="90" cy="240"/>
                </a:xfrm>
                <a:custGeom>
                  <a:avLst/>
                  <a:gdLst>
                    <a:gd name="T0" fmla="*/ 0 w 181"/>
                    <a:gd name="T1" fmla="*/ 52 h 480"/>
                    <a:gd name="T2" fmla="*/ 0 w 181"/>
                    <a:gd name="T3" fmla="*/ 69 h 480"/>
                    <a:gd name="T4" fmla="*/ 0 w 181"/>
                    <a:gd name="T5" fmla="*/ 99 h 480"/>
                    <a:gd name="T6" fmla="*/ 0 w 181"/>
                    <a:gd name="T7" fmla="*/ 137 h 480"/>
                    <a:gd name="T8" fmla="*/ 2 w 181"/>
                    <a:gd name="T9" fmla="*/ 181 h 480"/>
                    <a:gd name="T10" fmla="*/ 2 w 181"/>
                    <a:gd name="T11" fmla="*/ 225 h 480"/>
                    <a:gd name="T12" fmla="*/ 2 w 181"/>
                    <a:gd name="T13" fmla="*/ 265 h 480"/>
                    <a:gd name="T14" fmla="*/ 4 w 181"/>
                    <a:gd name="T15" fmla="*/ 297 h 480"/>
                    <a:gd name="T16" fmla="*/ 8 w 181"/>
                    <a:gd name="T17" fmla="*/ 320 h 480"/>
                    <a:gd name="T18" fmla="*/ 10 w 181"/>
                    <a:gd name="T19" fmla="*/ 347 h 480"/>
                    <a:gd name="T20" fmla="*/ 14 w 181"/>
                    <a:gd name="T21" fmla="*/ 373 h 480"/>
                    <a:gd name="T22" fmla="*/ 18 w 181"/>
                    <a:gd name="T23" fmla="*/ 402 h 480"/>
                    <a:gd name="T24" fmla="*/ 19 w 181"/>
                    <a:gd name="T25" fmla="*/ 428 h 480"/>
                    <a:gd name="T26" fmla="*/ 23 w 181"/>
                    <a:gd name="T27" fmla="*/ 451 h 480"/>
                    <a:gd name="T28" fmla="*/ 25 w 181"/>
                    <a:gd name="T29" fmla="*/ 468 h 480"/>
                    <a:gd name="T30" fmla="*/ 27 w 181"/>
                    <a:gd name="T31" fmla="*/ 478 h 480"/>
                    <a:gd name="T32" fmla="*/ 120 w 181"/>
                    <a:gd name="T33" fmla="*/ 354 h 480"/>
                    <a:gd name="T34" fmla="*/ 118 w 181"/>
                    <a:gd name="T35" fmla="*/ 350 h 480"/>
                    <a:gd name="T36" fmla="*/ 114 w 181"/>
                    <a:gd name="T37" fmla="*/ 341 h 480"/>
                    <a:gd name="T38" fmla="*/ 109 w 181"/>
                    <a:gd name="T39" fmla="*/ 324 h 480"/>
                    <a:gd name="T40" fmla="*/ 105 w 181"/>
                    <a:gd name="T41" fmla="*/ 305 h 480"/>
                    <a:gd name="T42" fmla="*/ 97 w 181"/>
                    <a:gd name="T43" fmla="*/ 278 h 480"/>
                    <a:gd name="T44" fmla="*/ 95 w 181"/>
                    <a:gd name="T45" fmla="*/ 251 h 480"/>
                    <a:gd name="T46" fmla="*/ 92 w 181"/>
                    <a:gd name="T47" fmla="*/ 221 h 480"/>
                    <a:gd name="T48" fmla="*/ 94 w 181"/>
                    <a:gd name="T49" fmla="*/ 189 h 480"/>
                    <a:gd name="T50" fmla="*/ 97 w 181"/>
                    <a:gd name="T51" fmla="*/ 154 h 480"/>
                    <a:gd name="T52" fmla="*/ 109 w 181"/>
                    <a:gd name="T53" fmla="*/ 122 h 480"/>
                    <a:gd name="T54" fmla="*/ 124 w 181"/>
                    <a:gd name="T55" fmla="*/ 90 h 480"/>
                    <a:gd name="T56" fmla="*/ 139 w 181"/>
                    <a:gd name="T57" fmla="*/ 61 h 480"/>
                    <a:gd name="T58" fmla="*/ 154 w 181"/>
                    <a:gd name="T59" fmla="*/ 37 h 480"/>
                    <a:gd name="T60" fmla="*/ 168 w 181"/>
                    <a:gd name="T61" fmla="*/ 18 h 480"/>
                    <a:gd name="T62" fmla="*/ 177 w 181"/>
                    <a:gd name="T63" fmla="*/ 4 h 480"/>
                    <a:gd name="T64" fmla="*/ 181 w 181"/>
                    <a:gd name="T65" fmla="*/ 0 h 480"/>
                    <a:gd name="T66" fmla="*/ 175 w 181"/>
                    <a:gd name="T67" fmla="*/ 2 h 480"/>
                    <a:gd name="T68" fmla="*/ 164 w 181"/>
                    <a:gd name="T69" fmla="*/ 4 h 480"/>
                    <a:gd name="T70" fmla="*/ 147 w 181"/>
                    <a:gd name="T71" fmla="*/ 12 h 480"/>
                    <a:gd name="T72" fmla="*/ 130 w 181"/>
                    <a:gd name="T73" fmla="*/ 19 h 480"/>
                    <a:gd name="T74" fmla="*/ 109 w 181"/>
                    <a:gd name="T75" fmla="*/ 25 h 480"/>
                    <a:gd name="T76" fmla="*/ 92 w 181"/>
                    <a:gd name="T77" fmla="*/ 33 h 480"/>
                    <a:gd name="T78" fmla="*/ 76 w 181"/>
                    <a:gd name="T79" fmla="*/ 38 h 480"/>
                    <a:gd name="T80" fmla="*/ 67 w 181"/>
                    <a:gd name="T81" fmla="*/ 42 h 480"/>
                    <a:gd name="T82" fmla="*/ 57 w 181"/>
                    <a:gd name="T83" fmla="*/ 42 h 480"/>
                    <a:gd name="T84" fmla="*/ 48 w 181"/>
                    <a:gd name="T85" fmla="*/ 44 h 480"/>
                    <a:gd name="T86" fmla="*/ 38 w 181"/>
                    <a:gd name="T87" fmla="*/ 46 h 480"/>
                    <a:gd name="T88" fmla="*/ 27 w 181"/>
                    <a:gd name="T89" fmla="*/ 48 h 480"/>
                    <a:gd name="T90" fmla="*/ 16 w 181"/>
                    <a:gd name="T91" fmla="*/ 48 h 480"/>
                    <a:gd name="T92" fmla="*/ 8 w 181"/>
                    <a:gd name="T93" fmla="*/ 50 h 480"/>
                    <a:gd name="T94" fmla="*/ 0 w 181"/>
                    <a:gd name="T95" fmla="*/ 52 h 4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480"/>
                    <a:gd name="T146" fmla="*/ 181 w 181"/>
                    <a:gd name="T147" fmla="*/ 480 h 4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480">
                      <a:moveTo>
                        <a:pt x="0" y="52"/>
                      </a:moveTo>
                      <a:lnTo>
                        <a:pt x="0" y="52"/>
                      </a:lnTo>
                      <a:lnTo>
                        <a:pt x="0" y="59"/>
                      </a:lnTo>
                      <a:lnTo>
                        <a:pt x="0" y="69"/>
                      </a:lnTo>
                      <a:lnTo>
                        <a:pt x="0" y="84"/>
                      </a:lnTo>
                      <a:lnTo>
                        <a:pt x="0" y="99"/>
                      </a:lnTo>
                      <a:lnTo>
                        <a:pt x="0" y="118"/>
                      </a:lnTo>
                      <a:lnTo>
                        <a:pt x="0" y="137"/>
                      </a:lnTo>
                      <a:lnTo>
                        <a:pt x="2" y="160"/>
                      </a:lnTo>
                      <a:lnTo>
                        <a:pt x="2" y="181"/>
                      </a:lnTo>
                      <a:lnTo>
                        <a:pt x="2" y="202"/>
                      </a:lnTo>
                      <a:lnTo>
                        <a:pt x="2" y="225"/>
                      </a:lnTo>
                      <a:lnTo>
                        <a:pt x="2" y="246"/>
                      </a:lnTo>
                      <a:lnTo>
                        <a:pt x="2" y="265"/>
                      </a:lnTo>
                      <a:lnTo>
                        <a:pt x="4" y="282"/>
                      </a:lnTo>
                      <a:lnTo>
                        <a:pt x="4" y="297"/>
                      </a:lnTo>
                      <a:lnTo>
                        <a:pt x="6" y="310"/>
                      </a:lnTo>
                      <a:lnTo>
                        <a:pt x="8" y="320"/>
                      </a:lnTo>
                      <a:lnTo>
                        <a:pt x="8" y="333"/>
                      </a:lnTo>
                      <a:lnTo>
                        <a:pt x="10" y="347"/>
                      </a:lnTo>
                      <a:lnTo>
                        <a:pt x="12" y="360"/>
                      </a:lnTo>
                      <a:lnTo>
                        <a:pt x="14" y="373"/>
                      </a:lnTo>
                      <a:lnTo>
                        <a:pt x="16" y="388"/>
                      </a:lnTo>
                      <a:lnTo>
                        <a:pt x="18" y="402"/>
                      </a:lnTo>
                      <a:lnTo>
                        <a:pt x="19" y="415"/>
                      </a:lnTo>
                      <a:lnTo>
                        <a:pt x="19" y="428"/>
                      </a:lnTo>
                      <a:lnTo>
                        <a:pt x="21" y="440"/>
                      </a:lnTo>
                      <a:lnTo>
                        <a:pt x="23" y="451"/>
                      </a:lnTo>
                      <a:lnTo>
                        <a:pt x="25" y="461"/>
                      </a:lnTo>
                      <a:lnTo>
                        <a:pt x="25" y="468"/>
                      </a:lnTo>
                      <a:lnTo>
                        <a:pt x="25" y="476"/>
                      </a:lnTo>
                      <a:lnTo>
                        <a:pt x="27" y="478"/>
                      </a:lnTo>
                      <a:lnTo>
                        <a:pt x="27" y="480"/>
                      </a:lnTo>
                      <a:lnTo>
                        <a:pt x="120" y="354"/>
                      </a:lnTo>
                      <a:lnTo>
                        <a:pt x="120" y="352"/>
                      </a:lnTo>
                      <a:lnTo>
                        <a:pt x="118" y="350"/>
                      </a:lnTo>
                      <a:lnTo>
                        <a:pt x="116" y="347"/>
                      </a:lnTo>
                      <a:lnTo>
                        <a:pt x="114" y="341"/>
                      </a:lnTo>
                      <a:lnTo>
                        <a:pt x="113" y="333"/>
                      </a:lnTo>
                      <a:lnTo>
                        <a:pt x="109" y="324"/>
                      </a:lnTo>
                      <a:lnTo>
                        <a:pt x="107" y="314"/>
                      </a:lnTo>
                      <a:lnTo>
                        <a:pt x="105" y="305"/>
                      </a:lnTo>
                      <a:lnTo>
                        <a:pt x="101" y="291"/>
                      </a:lnTo>
                      <a:lnTo>
                        <a:pt x="97" y="278"/>
                      </a:lnTo>
                      <a:lnTo>
                        <a:pt x="95" y="265"/>
                      </a:lnTo>
                      <a:lnTo>
                        <a:pt x="95" y="251"/>
                      </a:lnTo>
                      <a:lnTo>
                        <a:pt x="92" y="236"/>
                      </a:lnTo>
                      <a:lnTo>
                        <a:pt x="92" y="221"/>
                      </a:lnTo>
                      <a:lnTo>
                        <a:pt x="92" y="206"/>
                      </a:lnTo>
                      <a:lnTo>
                        <a:pt x="94" y="189"/>
                      </a:lnTo>
                      <a:lnTo>
                        <a:pt x="95" y="172"/>
                      </a:lnTo>
                      <a:lnTo>
                        <a:pt x="97" y="154"/>
                      </a:lnTo>
                      <a:lnTo>
                        <a:pt x="103" y="137"/>
                      </a:lnTo>
                      <a:lnTo>
                        <a:pt x="109" y="122"/>
                      </a:lnTo>
                      <a:lnTo>
                        <a:pt x="114" y="105"/>
                      </a:lnTo>
                      <a:lnTo>
                        <a:pt x="124" y="90"/>
                      </a:lnTo>
                      <a:lnTo>
                        <a:pt x="130" y="75"/>
                      </a:lnTo>
                      <a:lnTo>
                        <a:pt x="139" y="61"/>
                      </a:lnTo>
                      <a:lnTo>
                        <a:pt x="147" y="48"/>
                      </a:lnTo>
                      <a:lnTo>
                        <a:pt x="154" y="37"/>
                      </a:lnTo>
                      <a:lnTo>
                        <a:pt x="160" y="25"/>
                      </a:lnTo>
                      <a:lnTo>
                        <a:pt x="168" y="18"/>
                      </a:lnTo>
                      <a:lnTo>
                        <a:pt x="173" y="8"/>
                      </a:lnTo>
                      <a:lnTo>
                        <a:pt x="177" y="4"/>
                      </a:lnTo>
                      <a:lnTo>
                        <a:pt x="179" y="0"/>
                      </a:lnTo>
                      <a:lnTo>
                        <a:pt x="181" y="0"/>
                      </a:lnTo>
                      <a:lnTo>
                        <a:pt x="179" y="0"/>
                      </a:lnTo>
                      <a:lnTo>
                        <a:pt x="175" y="2"/>
                      </a:lnTo>
                      <a:lnTo>
                        <a:pt x="170" y="2"/>
                      </a:lnTo>
                      <a:lnTo>
                        <a:pt x="164" y="4"/>
                      </a:lnTo>
                      <a:lnTo>
                        <a:pt x="156" y="8"/>
                      </a:lnTo>
                      <a:lnTo>
                        <a:pt x="147" y="12"/>
                      </a:lnTo>
                      <a:lnTo>
                        <a:pt x="139" y="14"/>
                      </a:lnTo>
                      <a:lnTo>
                        <a:pt x="130" y="19"/>
                      </a:lnTo>
                      <a:lnTo>
                        <a:pt x="120" y="21"/>
                      </a:lnTo>
                      <a:lnTo>
                        <a:pt x="109" y="25"/>
                      </a:lnTo>
                      <a:lnTo>
                        <a:pt x="99" y="29"/>
                      </a:lnTo>
                      <a:lnTo>
                        <a:pt x="92" y="33"/>
                      </a:lnTo>
                      <a:lnTo>
                        <a:pt x="82" y="35"/>
                      </a:lnTo>
                      <a:lnTo>
                        <a:pt x="76" y="38"/>
                      </a:lnTo>
                      <a:lnTo>
                        <a:pt x="71" y="38"/>
                      </a:lnTo>
                      <a:lnTo>
                        <a:pt x="67" y="42"/>
                      </a:lnTo>
                      <a:lnTo>
                        <a:pt x="61" y="42"/>
                      </a:lnTo>
                      <a:lnTo>
                        <a:pt x="57" y="42"/>
                      </a:lnTo>
                      <a:lnTo>
                        <a:pt x="54" y="42"/>
                      </a:lnTo>
                      <a:lnTo>
                        <a:pt x="48" y="44"/>
                      </a:lnTo>
                      <a:lnTo>
                        <a:pt x="42" y="44"/>
                      </a:lnTo>
                      <a:lnTo>
                        <a:pt x="38" y="46"/>
                      </a:lnTo>
                      <a:lnTo>
                        <a:pt x="33" y="46"/>
                      </a:lnTo>
                      <a:lnTo>
                        <a:pt x="27" y="48"/>
                      </a:lnTo>
                      <a:lnTo>
                        <a:pt x="21" y="48"/>
                      </a:lnTo>
                      <a:lnTo>
                        <a:pt x="16" y="48"/>
                      </a:lnTo>
                      <a:lnTo>
                        <a:pt x="12" y="48"/>
                      </a:lnTo>
                      <a:lnTo>
                        <a:pt x="8" y="50"/>
                      </a:lnTo>
                      <a:lnTo>
                        <a:pt x="2" y="50"/>
                      </a:lnTo>
                      <a:lnTo>
                        <a:pt x="0" y="52"/>
                      </a:lnTo>
                      <a:close/>
                    </a:path>
                  </a:pathLst>
                </a:custGeom>
                <a:solidFill>
                  <a:srgbClr val="E6BA2B"/>
                </a:solidFill>
                <a:ln w="9525">
                  <a:noFill/>
                  <a:round/>
                  <a:headEnd/>
                  <a:tailEnd/>
                </a:ln>
              </p:spPr>
              <p:txBody>
                <a:bodyPr/>
                <a:lstStyle/>
                <a:p>
                  <a:pPr algn="l" eaLnBrk="1" hangingPunct="1"/>
                  <a:endParaRPr lang="en-US"/>
                </a:p>
              </p:txBody>
            </p:sp>
            <p:sp>
              <p:nvSpPr>
                <p:cNvPr id="1427" name="Freeform 675"/>
                <p:cNvSpPr>
                  <a:spLocks noChangeAspect="1"/>
                </p:cNvSpPr>
                <p:nvPr/>
              </p:nvSpPr>
              <p:spPr bwMode="auto">
                <a:xfrm>
                  <a:off x="2917" y="2042"/>
                  <a:ext cx="59" cy="190"/>
                </a:xfrm>
                <a:custGeom>
                  <a:avLst/>
                  <a:gdLst>
                    <a:gd name="T0" fmla="*/ 10 w 118"/>
                    <a:gd name="T1" fmla="*/ 31 h 381"/>
                    <a:gd name="T2" fmla="*/ 8 w 118"/>
                    <a:gd name="T3" fmla="*/ 48 h 381"/>
                    <a:gd name="T4" fmla="*/ 4 w 118"/>
                    <a:gd name="T5" fmla="*/ 76 h 381"/>
                    <a:gd name="T6" fmla="*/ 2 w 118"/>
                    <a:gd name="T7" fmla="*/ 116 h 381"/>
                    <a:gd name="T8" fmla="*/ 0 w 118"/>
                    <a:gd name="T9" fmla="*/ 162 h 381"/>
                    <a:gd name="T10" fmla="*/ 2 w 118"/>
                    <a:gd name="T11" fmla="*/ 211 h 381"/>
                    <a:gd name="T12" fmla="*/ 6 w 118"/>
                    <a:gd name="T13" fmla="*/ 261 h 381"/>
                    <a:gd name="T14" fmla="*/ 13 w 118"/>
                    <a:gd name="T15" fmla="*/ 308 h 381"/>
                    <a:gd name="T16" fmla="*/ 25 w 118"/>
                    <a:gd name="T17" fmla="*/ 348 h 381"/>
                    <a:gd name="T18" fmla="*/ 42 w 118"/>
                    <a:gd name="T19" fmla="*/ 371 h 381"/>
                    <a:gd name="T20" fmla="*/ 59 w 118"/>
                    <a:gd name="T21" fmla="*/ 381 h 381"/>
                    <a:gd name="T22" fmla="*/ 76 w 118"/>
                    <a:gd name="T23" fmla="*/ 375 h 381"/>
                    <a:gd name="T24" fmla="*/ 93 w 118"/>
                    <a:gd name="T25" fmla="*/ 362 h 381"/>
                    <a:gd name="T26" fmla="*/ 105 w 118"/>
                    <a:gd name="T27" fmla="*/ 339 h 381"/>
                    <a:gd name="T28" fmla="*/ 114 w 118"/>
                    <a:gd name="T29" fmla="*/ 312 h 381"/>
                    <a:gd name="T30" fmla="*/ 118 w 118"/>
                    <a:gd name="T31" fmla="*/ 284 h 381"/>
                    <a:gd name="T32" fmla="*/ 114 w 118"/>
                    <a:gd name="T33" fmla="*/ 255 h 381"/>
                    <a:gd name="T34" fmla="*/ 110 w 118"/>
                    <a:gd name="T35" fmla="*/ 223 h 381"/>
                    <a:gd name="T36" fmla="*/ 106 w 118"/>
                    <a:gd name="T37" fmla="*/ 187 h 381"/>
                    <a:gd name="T38" fmla="*/ 105 w 118"/>
                    <a:gd name="T39" fmla="*/ 147 h 381"/>
                    <a:gd name="T40" fmla="*/ 103 w 118"/>
                    <a:gd name="T41" fmla="*/ 109 h 381"/>
                    <a:gd name="T42" fmla="*/ 101 w 118"/>
                    <a:gd name="T43" fmla="*/ 74 h 381"/>
                    <a:gd name="T44" fmla="*/ 103 w 118"/>
                    <a:gd name="T45" fmla="*/ 46 h 381"/>
                    <a:gd name="T46" fmla="*/ 103 w 118"/>
                    <a:gd name="T47" fmla="*/ 21 h 381"/>
                    <a:gd name="T48" fmla="*/ 105 w 118"/>
                    <a:gd name="T49" fmla="*/ 8 h 381"/>
                    <a:gd name="T50" fmla="*/ 97 w 118"/>
                    <a:gd name="T51" fmla="*/ 2 h 381"/>
                    <a:gd name="T52" fmla="*/ 84 w 118"/>
                    <a:gd name="T53" fmla="*/ 0 h 381"/>
                    <a:gd name="T54" fmla="*/ 68 w 118"/>
                    <a:gd name="T55" fmla="*/ 4 h 381"/>
                    <a:gd name="T56" fmla="*/ 49 w 118"/>
                    <a:gd name="T57" fmla="*/ 12 h 381"/>
                    <a:gd name="T58" fmla="*/ 32 w 118"/>
                    <a:gd name="T59" fmla="*/ 17 h 381"/>
                    <a:gd name="T60" fmla="*/ 17 w 118"/>
                    <a:gd name="T61" fmla="*/ 23 h 381"/>
                    <a:gd name="T62" fmla="*/ 11 w 118"/>
                    <a:gd name="T63" fmla="*/ 29 h 381"/>
                    <a:gd name="T64" fmla="*/ 10 w 118"/>
                    <a:gd name="T65" fmla="*/ 29 h 3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381"/>
                    <a:gd name="T101" fmla="*/ 118 w 118"/>
                    <a:gd name="T102" fmla="*/ 381 h 3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381">
                      <a:moveTo>
                        <a:pt x="10" y="29"/>
                      </a:moveTo>
                      <a:lnTo>
                        <a:pt x="10" y="31"/>
                      </a:lnTo>
                      <a:lnTo>
                        <a:pt x="8" y="38"/>
                      </a:lnTo>
                      <a:lnTo>
                        <a:pt x="8" y="48"/>
                      </a:lnTo>
                      <a:lnTo>
                        <a:pt x="6" y="61"/>
                      </a:lnTo>
                      <a:lnTo>
                        <a:pt x="4" y="76"/>
                      </a:lnTo>
                      <a:lnTo>
                        <a:pt x="4" y="95"/>
                      </a:lnTo>
                      <a:lnTo>
                        <a:pt x="2" y="116"/>
                      </a:lnTo>
                      <a:lnTo>
                        <a:pt x="2" y="139"/>
                      </a:lnTo>
                      <a:lnTo>
                        <a:pt x="0" y="162"/>
                      </a:lnTo>
                      <a:lnTo>
                        <a:pt x="0" y="187"/>
                      </a:lnTo>
                      <a:lnTo>
                        <a:pt x="2" y="211"/>
                      </a:lnTo>
                      <a:lnTo>
                        <a:pt x="4" y="236"/>
                      </a:lnTo>
                      <a:lnTo>
                        <a:pt x="6" y="261"/>
                      </a:lnTo>
                      <a:lnTo>
                        <a:pt x="8" y="285"/>
                      </a:lnTo>
                      <a:lnTo>
                        <a:pt x="13" y="308"/>
                      </a:lnTo>
                      <a:lnTo>
                        <a:pt x="19" y="331"/>
                      </a:lnTo>
                      <a:lnTo>
                        <a:pt x="25" y="348"/>
                      </a:lnTo>
                      <a:lnTo>
                        <a:pt x="32" y="363"/>
                      </a:lnTo>
                      <a:lnTo>
                        <a:pt x="42" y="371"/>
                      </a:lnTo>
                      <a:lnTo>
                        <a:pt x="49" y="379"/>
                      </a:lnTo>
                      <a:lnTo>
                        <a:pt x="59" y="381"/>
                      </a:lnTo>
                      <a:lnTo>
                        <a:pt x="68" y="381"/>
                      </a:lnTo>
                      <a:lnTo>
                        <a:pt x="76" y="375"/>
                      </a:lnTo>
                      <a:lnTo>
                        <a:pt x="86" y="369"/>
                      </a:lnTo>
                      <a:lnTo>
                        <a:pt x="93" y="362"/>
                      </a:lnTo>
                      <a:lnTo>
                        <a:pt x="99" y="350"/>
                      </a:lnTo>
                      <a:lnTo>
                        <a:pt x="105" y="339"/>
                      </a:lnTo>
                      <a:lnTo>
                        <a:pt x="110" y="325"/>
                      </a:lnTo>
                      <a:lnTo>
                        <a:pt x="114" y="312"/>
                      </a:lnTo>
                      <a:lnTo>
                        <a:pt x="118" y="297"/>
                      </a:lnTo>
                      <a:lnTo>
                        <a:pt x="118" y="284"/>
                      </a:lnTo>
                      <a:lnTo>
                        <a:pt x="118" y="270"/>
                      </a:lnTo>
                      <a:lnTo>
                        <a:pt x="114" y="255"/>
                      </a:lnTo>
                      <a:lnTo>
                        <a:pt x="112" y="240"/>
                      </a:lnTo>
                      <a:lnTo>
                        <a:pt x="110" y="223"/>
                      </a:lnTo>
                      <a:lnTo>
                        <a:pt x="108" y="206"/>
                      </a:lnTo>
                      <a:lnTo>
                        <a:pt x="106" y="187"/>
                      </a:lnTo>
                      <a:lnTo>
                        <a:pt x="106" y="168"/>
                      </a:lnTo>
                      <a:lnTo>
                        <a:pt x="105" y="147"/>
                      </a:lnTo>
                      <a:lnTo>
                        <a:pt x="105" y="130"/>
                      </a:lnTo>
                      <a:lnTo>
                        <a:pt x="103" y="109"/>
                      </a:lnTo>
                      <a:lnTo>
                        <a:pt x="101" y="91"/>
                      </a:lnTo>
                      <a:lnTo>
                        <a:pt x="101" y="74"/>
                      </a:lnTo>
                      <a:lnTo>
                        <a:pt x="103" y="59"/>
                      </a:lnTo>
                      <a:lnTo>
                        <a:pt x="103" y="46"/>
                      </a:lnTo>
                      <a:lnTo>
                        <a:pt x="103" y="33"/>
                      </a:lnTo>
                      <a:lnTo>
                        <a:pt x="103" y="21"/>
                      </a:lnTo>
                      <a:lnTo>
                        <a:pt x="105" y="14"/>
                      </a:lnTo>
                      <a:lnTo>
                        <a:pt x="105" y="8"/>
                      </a:lnTo>
                      <a:lnTo>
                        <a:pt x="101" y="4"/>
                      </a:lnTo>
                      <a:lnTo>
                        <a:pt x="97" y="2"/>
                      </a:lnTo>
                      <a:lnTo>
                        <a:pt x="93" y="2"/>
                      </a:lnTo>
                      <a:lnTo>
                        <a:pt x="84" y="0"/>
                      </a:lnTo>
                      <a:lnTo>
                        <a:pt x="78" y="2"/>
                      </a:lnTo>
                      <a:lnTo>
                        <a:pt x="68" y="4"/>
                      </a:lnTo>
                      <a:lnTo>
                        <a:pt x="59" y="8"/>
                      </a:lnTo>
                      <a:lnTo>
                        <a:pt x="49" y="12"/>
                      </a:lnTo>
                      <a:lnTo>
                        <a:pt x="42" y="14"/>
                      </a:lnTo>
                      <a:lnTo>
                        <a:pt x="32" y="17"/>
                      </a:lnTo>
                      <a:lnTo>
                        <a:pt x="25" y="21"/>
                      </a:lnTo>
                      <a:lnTo>
                        <a:pt x="17" y="23"/>
                      </a:lnTo>
                      <a:lnTo>
                        <a:pt x="13" y="27"/>
                      </a:lnTo>
                      <a:lnTo>
                        <a:pt x="11" y="29"/>
                      </a:lnTo>
                      <a:lnTo>
                        <a:pt x="10" y="29"/>
                      </a:lnTo>
                      <a:close/>
                    </a:path>
                  </a:pathLst>
                </a:custGeom>
                <a:solidFill>
                  <a:srgbClr val="EBEBC9"/>
                </a:solidFill>
                <a:ln w="9525">
                  <a:noFill/>
                  <a:round/>
                  <a:headEnd/>
                  <a:tailEnd/>
                </a:ln>
              </p:spPr>
              <p:txBody>
                <a:bodyPr/>
                <a:lstStyle/>
                <a:p>
                  <a:pPr algn="l" eaLnBrk="1" hangingPunct="1"/>
                  <a:endParaRPr lang="en-US"/>
                </a:p>
              </p:txBody>
            </p:sp>
            <p:sp>
              <p:nvSpPr>
                <p:cNvPr id="1428" name="Freeform 676"/>
                <p:cNvSpPr>
                  <a:spLocks noChangeAspect="1"/>
                </p:cNvSpPr>
                <p:nvPr/>
              </p:nvSpPr>
              <p:spPr bwMode="auto">
                <a:xfrm>
                  <a:off x="2741" y="1983"/>
                  <a:ext cx="257" cy="55"/>
                </a:xfrm>
                <a:custGeom>
                  <a:avLst/>
                  <a:gdLst>
                    <a:gd name="T0" fmla="*/ 148 w 513"/>
                    <a:gd name="T1" fmla="*/ 0 h 111"/>
                    <a:gd name="T2" fmla="*/ 513 w 513"/>
                    <a:gd name="T3" fmla="*/ 33 h 111"/>
                    <a:gd name="T4" fmla="*/ 509 w 513"/>
                    <a:gd name="T5" fmla="*/ 35 h 111"/>
                    <a:gd name="T6" fmla="*/ 503 w 513"/>
                    <a:gd name="T7" fmla="*/ 40 h 111"/>
                    <a:gd name="T8" fmla="*/ 494 w 513"/>
                    <a:gd name="T9" fmla="*/ 48 h 111"/>
                    <a:gd name="T10" fmla="*/ 480 w 513"/>
                    <a:gd name="T11" fmla="*/ 57 h 111"/>
                    <a:gd name="T12" fmla="*/ 465 w 513"/>
                    <a:gd name="T13" fmla="*/ 67 h 111"/>
                    <a:gd name="T14" fmla="*/ 452 w 513"/>
                    <a:gd name="T15" fmla="*/ 74 h 111"/>
                    <a:gd name="T16" fmla="*/ 437 w 513"/>
                    <a:gd name="T17" fmla="*/ 82 h 111"/>
                    <a:gd name="T18" fmla="*/ 425 w 513"/>
                    <a:gd name="T19" fmla="*/ 88 h 111"/>
                    <a:gd name="T20" fmla="*/ 410 w 513"/>
                    <a:gd name="T21" fmla="*/ 90 h 111"/>
                    <a:gd name="T22" fmla="*/ 393 w 513"/>
                    <a:gd name="T23" fmla="*/ 93 h 111"/>
                    <a:gd name="T24" fmla="*/ 372 w 513"/>
                    <a:gd name="T25" fmla="*/ 97 h 111"/>
                    <a:gd name="T26" fmla="*/ 353 w 513"/>
                    <a:gd name="T27" fmla="*/ 101 h 111"/>
                    <a:gd name="T28" fmla="*/ 334 w 513"/>
                    <a:gd name="T29" fmla="*/ 103 h 111"/>
                    <a:gd name="T30" fmla="*/ 319 w 513"/>
                    <a:gd name="T31" fmla="*/ 107 h 111"/>
                    <a:gd name="T32" fmla="*/ 307 w 513"/>
                    <a:gd name="T33" fmla="*/ 109 h 111"/>
                    <a:gd name="T34" fmla="*/ 304 w 513"/>
                    <a:gd name="T35" fmla="*/ 111 h 111"/>
                    <a:gd name="T36" fmla="*/ 298 w 513"/>
                    <a:gd name="T37" fmla="*/ 109 h 111"/>
                    <a:gd name="T38" fmla="*/ 285 w 513"/>
                    <a:gd name="T39" fmla="*/ 107 h 111"/>
                    <a:gd name="T40" fmla="*/ 262 w 513"/>
                    <a:gd name="T41" fmla="*/ 105 h 111"/>
                    <a:gd name="T42" fmla="*/ 235 w 513"/>
                    <a:gd name="T43" fmla="*/ 101 h 111"/>
                    <a:gd name="T44" fmla="*/ 207 w 513"/>
                    <a:gd name="T45" fmla="*/ 97 h 111"/>
                    <a:gd name="T46" fmla="*/ 178 w 513"/>
                    <a:gd name="T47" fmla="*/ 93 h 111"/>
                    <a:gd name="T48" fmla="*/ 152 w 513"/>
                    <a:gd name="T49" fmla="*/ 88 h 111"/>
                    <a:gd name="T50" fmla="*/ 131 w 513"/>
                    <a:gd name="T51" fmla="*/ 82 h 111"/>
                    <a:gd name="T52" fmla="*/ 112 w 513"/>
                    <a:gd name="T53" fmla="*/ 76 h 111"/>
                    <a:gd name="T54" fmla="*/ 91 w 513"/>
                    <a:gd name="T55" fmla="*/ 69 h 111"/>
                    <a:gd name="T56" fmla="*/ 68 w 513"/>
                    <a:gd name="T57" fmla="*/ 59 h 111"/>
                    <a:gd name="T58" fmla="*/ 47 w 513"/>
                    <a:gd name="T59" fmla="*/ 52 h 111"/>
                    <a:gd name="T60" fmla="*/ 28 w 513"/>
                    <a:gd name="T61" fmla="*/ 44 h 111"/>
                    <a:gd name="T62" fmla="*/ 13 w 513"/>
                    <a:gd name="T63" fmla="*/ 38 h 111"/>
                    <a:gd name="T64" fmla="*/ 3 w 513"/>
                    <a:gd name="T65" fmla="*/ 35 h 111"/>
                    <a:gd name="T66" fmla="*/ 0 w 513"/>
                    <a:gd name="T67" fmla="*/ 33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3"/>
                    <a:gd name="T103" fmla="*/ 0 h 111"/>
                    <a:gd name="T104" fmla="*/ 513 w 513"/>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3" h="111">
                      <a:moveTo>
                        <a:pt x="0" y="33"/>
                      </a:moveTo>
                      <a:lnTo>
                        <a:pt x="148" y="0"/>
                      </a:lnTo>
                      <a:lnTo>
                        <a:pt x="374" y="33"/>
                      </a:lnTo>
                      <a:lnTo>
                        <a:pt x="513" y="33"/>
                      </a:lnTo>
                      <a:lnTo>
                        <a:pt x="511" y="33"/>
                      </a:lnTo>
                      <a:lnTo>
                        <a:pt x="509" y="35"/>
                      </a:lnTo>
                      <a:lnTo>
                        <a:pt x="507" y="36"/>
                      </a:lnTo>
                      <a:lnTo>
                        <a:pt x="503" y="40"/>
                      </a:lnTo>
                      <a:lnTo>
                        <a:pt x="497" y="42"/>
                      </a:lnTo>
                      <a:lnTo>
                        <a:pt x="494" y="48"/>
                      </a:lnTo>
                      <a:lnTo>
                        <a:pt x="486" y="52"/>
                      </a:lnTo>
                      <a:lnTo>
                        <a:pt x="480" y="57"/>
                      </a:lnTo>
                      <a:lnTo>
                        <a:pt x="473" y="61"/>
                      </a:lnTo>
                      <a:lnTo>
                        <a:pt x="465" y="67"/>
                      </a:lnTo>
                      <a:lnTo>
                        <a:pt x="457" y="71"/>
                      </a:lnTo>
                      <a:lnTo>
                        <a:pt x="452" y="74"/>
                      </a:lnTo>
                      <a:lnTo>
                        <a:pt x="444" y="78"/>
                      </a:lnTo>
                      <a:lnTo>
                        <a:pt x="437" y="82"/>
                      </a:lnTo>
                      <a:lnTo>
                        <a:pt x="431" y="84"/>
                      </a:lnTo>
                      <a:lnTo>
                        <a:pt x="425" y="88"/>
                      </a:lnTo>
                      <a:lnTo>
                        <a:pt x="418" y="88"/>
                      </a:lnTo>
                      <a:lnTo>
                        <a:pt x="410" y="90"/>
                      </a:lnTo>
                      <a:lnTo>
                        <a:pt x="402" y="92"/>
                      </a:lnTo>
                      <a:lnTo>
                        <a:pt x="393" y="93"/>
                      </a:lnTo>
                      <a:lnTo>
                        <a:pt x="383" y="95"/>
                      </a:lnTo>
                      <a:lnTo>
                        <a:pt x="372" y="97"/>
                      </a:lnTo>
                      <a:lnTo>
                        <a:pt x="362" y="99"/>
                      </a:lnTo>
                      <a:lnTo>
                        <a:pt x="353" y="101"/>
                      </a:lnTo>
                      <a:lnTo>
                        <a:pt x="343" y="103"/>
                      </a:lnTo>
                      <a:lnTo>
                        <a:pt x="334" y="103"/>
                      </a:lnTo>
                      <a:lnTo>
                        <a:pt x="324" y="105"/>
                      </a:lnTo>
                      <a:lnTo>
                        <a:pt x="319" y="107"/>
                      </a:lnTo>
                      <a:lnTo>
                        <a:pt x="313" y="107"/>
                      </a:lnTo>
                      <a:lnTo>
                        <a:pt x="307" y="109"/>
                      </a:lnTo>
                      <a:lnTo>
                        <a:pt x="305" y="109"/>
                      </a:lnTo>
                      <a:lnTo>
                        <a:pt x="304" y="111"/>
                      </a:lnTo>
                      <a:lnTo>
                        <a:pt x="302" y="109"/>
                      </a:lnTo>
                      <a:lnTo>
                        <a:pt x="298" y="109"/>
                      </a:lnTo>
                      <a:lnTo>
                        <a:pt x="292" y="109"/>
                      </a:lnTo>
                      <a:lnTo>
                        <a:pt x="285" y="107"/>
                      </a:lnTo>
                      <a:lnTo>
                        <a:pt x="273" y="107"/>
                      </a:lnTo>
                      <a:lnTo>
                        <a:pt x="262" y="105"/>
                      </a:lnTo>
                      <a:lnTo>
                        <a:pt x="248" y="103"/>
                      </a:lnTo>
                      <a:lnTo>
                        <a:pt x="235" y="101"/>
                      </a:lnTo>
                      <a:lnTo>
                        <a:pt x="222" y="99"/>
                      </a:lnTo>
                      <a:lnTo>
                        <a:pt x="207" y="97"/>
                      </a:lnTo>
                      <a:lnTo>
                        <a:pt x="191" y="95"/>
                      </a:lnTo>
                      <a:lnTo>
                        <a:pt x="178" y="93"/>
                      </a:lnTo>
                      <a:lnTo>
                        <a:pt x="165" y="90"/>
                      </a:lnTo>
                      <a:lnTo>
                        <a:pt x="152" y="88"/>
                      </a:lnTo>
                      <a:lnTo>
                        <a:pt x="140" y="86"/>
                      </a:lnTo>
                      <a:lnTo>
                        <a:pt x="131" y="82"/>
                      </a:lnTo>
                      <a:lnTo>
                        <a:pt x="121" y="78"/>
                      </a:lnTo>
                      <a:lnTo>
                        <a:pt x="112" y="76"/>
                      </a:lnTo>
                      <a:lnTo>
                        <a:pt x="100" y="73"/>
                      </a:lnTo>
                      <a:lnTo>
                        <a:pt x="91" y="69"/>
                      </a:lnTo>
                      <a:lnTo>
                        <a:pt x="79" y="63"/>
                      </a:lnTo>
                      <a:lnTo>
                        <a:pt x="68" y="59"/>
                      </a:lnTo>
                      <a:lnTo>
                        <a:pt x="57" y="55"/>
                      </a:lnTo>
                      <a:lnTo>
                        <a:pt x="47" y="52"/>
                      </a:lnTo>
                      <a:lnTo>
                        <a:pt x="36" y="48"/>
                      </a:lnTo>
                      <a:lnTo>
                        <a:pt x="28" y="44"/>
                      </a:lnTo>
                      <a:lnTo>
                        <a:pt x="20" y="40"/>
                      </a:lnTo>
                      <a:lnTo>
                        <a:pt x="13" y="38"/>
                      </a:lnTo>
                      <a:lnTo>
                        <a:pt x="7" y="36"/>
                      </a:lnTo>
                      <a:lnTo>
                        <a:pt x="3" y="35"/>
                      </a:lnTo>
                      <a:lnTo>
                        <a:pt x="0" y="33"/>
                      </a:lnTo>
                      <a:close/>
                    </a:path>
                  </a:pathLst>
                </a:custGeom>
                <a:solidFill>
                  <a:srgbClr val="FFFFC2"/>
                </a:solidFill>
                <a:ln w="9525">
                  <a:noFill/>
                  <a:round/>
                  <a:headEnd/>
                  <a:tailEnd/>
                </a:ln>
              </p:spPr>
              <p:txBody>
                <a:bodyPr/>
                <a:lstStyle/>
                <a:p>
                  <a:pPr algn="l" eaLnBrk="1" hangingPunct="1"/>
                  <a:endParaRPr lang="en-US"/>
                </a:p>
              </p:txBody>
            </p:sp>
            <p:sp>
              <p:nvSpPr>
                <p:cNvPr id="1429" name="Freeform 677"/>
                <p:cNvSpPr>
                  <a:spLocks noChangeAspect="1"/>
                </p:cNvSpPr>
                <p:nvPr/>
              </p:nvSpPr>
              <p:spPr bwMode="auto">
                <a:xfrm>
                  <a:off x="2799" y="2082"/>
                  <a:ext cx="62" cy="146"/>
                </a:xfrm>
                <a:custGeom>
                  <a:avLst/>
                  <a:gdLst>
                    <a:gd name="T0" fmla="*/ 0 w 124"/>
                    <a:gd name="T1" fmla="*/ 48 h 291"/>
                    <a:gd name="T2" fmla="*/ 2 w 124"/>
                    <a:gd name="T3" fmla="*/ 42 h 291"/>
                    <a:gd name="T4" fmla="*/ 8 w 124"/>
                    <a:gd name="T5" fmla="*/ 32 h 291"/>
                    <a:gd name="T6" fmla="*/ 14 w 124"/>
                    <a:gd name="T7" fmla="*/ 23 h 291"/>
                    <a:gd name="T8" fmla="*/ 21 w 124"/>
                    <a:gd name="T9" fmla="*/ 13 h 291"/>
                    <a:gd name="T10" fmla="*/ 33 w 124"/>
                    <a:gd name="T11" fmla="*/ 4 h 291"/>
                    <a:gd name="T12" fmla="*/ 44 w 124"/>
                    <a:gd name="T13" fmla="*/ 0 h 291"/>
                    <a:gd name="T14" fmla="*/ 57 w 124"/>
                    <a:gd name="T15" fmla="*/ 0 h 291"/>
                    <a:gd name="T16" fmla="*/ 71 w 124"/>
                    <a:gd name="T17" fmla="*/ 8 h 291"/>
                    <a:gd name="T18" fmla="*/ 75 w 124"/>
                    <a:gd name="T19" fmla="*/ 19 h 291"/>
                    <a:gd name="T20" fmla="*/ 69 w 124"/>
                    <a:gd name="T21" fmla="*/ 32 h 291"/>
                    <a:gd name="T22" fmla="*/ 59 w 124"/>
                    <a:gd name="T23" fmla="*/ 49 h 291"/>
                    <a:gd name="T24" fmla="*/ 48 w 124"/>
                    <a:gd name="T25" fmla="*/ 67 h 291"/>
                    <a:gd name="T26" fmla="*/ 38 w 124"/>
                    <a:gd name="T27" fmla="*/ 82 h 291"/>
                    <a:gd name="T28" fmla="*/ 33 w 124"/>
                    <a:gd name="T29" fmla="*/ 95 h 291"/>
                    <a:gd name="T30" fmla="*/ 35 w 124"/>
                    <a:gd name="T31" fmla="*/ 105 h 291"/>
                    <a:gd name="T32" fmla="*/ 44 w 124"/>
                    <a:gd name="T33" fmla="*/ 110 h 291"/>
                    <a:gd name="T34" fmla="*/ 57 w 124"/>
                    <a:gd name="T35" fmla="*/ 108 h 291"/>
                    <a:gd name="T36" fmla="*/ 71 w 124"/>
                    <a:gd name="T37" fmla="*/ 105 h 291"/>
                    <a:gd name="T38" fmla="*/ 82 w 124"/>
                    <a:gd name="T39" fmla="*/ 97 h 291"/>
                    <a:gd name="T40" fmla="*/ 95 w 124"/>
                    <a:gd name="T41" fmla="*/ 89 h 291"/>
                    <a:gd name="T42" fmla="*/ 103 w 124"/>
                    <a:gd name="T43" fmla="*/ 84 h 291"/>
                    <a:gd name="T44" fmla="*/ 113 w 124"/>
                    <a:gd name="T45" fmla="*/ 82 h 291"/>
                    <a:gd name="T46" fmla="*/ 120 w 124"/>
                    <a:gd name="T47" fmla="*/ 84 h 291"/>
                    <a:gd name="T48" fmla="*/ 122 w 124"/>
                    <a:gd name="T49" fmla="*/ 95 h 291"/>
                    <a:gd name="T50" fmla="*/ 122 w 124"/>
                    <a:gd name="T51" fmla="*/ 116 h 291"/>
                    <a:gd name="T52" fmla="*/ 118 w 124"/>
                    <a:gd name="T53" fmla="*/ 148 h 291"/>
                    <a:gd name="T54" fmla="*/ 111 w 124"/>
                    <a:gd name="T55" fmla="*/ 184 h 291"/>
                    <a:gd name="T56" fmla="*/ 101 w 124"/>
                    <a:gd name="T57" fmla="*/ 221 h 291"/>
                    <a:gd name="T58" fmla="*/ 90 w 124"/>
                    <a:gd name="T59" fmla="*/ 253 h 291"/>
                    <a:gd name="T60" fmla="*/ 80 w 124"/>
                    <a:gd name="T61" fmla="*/ 278 h 291"/>
                    <a:gd name="T62" fmla="*/ 71 w 124"/>
                    <a:gd name="T63" fmla="*/ 289 h 291"/>
                    <a:gd name="T64" fmla="*/ 63 w 124"/>
                    <a:gd name="T65" fmla="*/ 287 h 291"/>
                    <a:gd name="T66" fmla="*/ 61 w 124"/>
                    <a:gd name="T67" fmla="*/ 274 h 291"/>
                    <a:gd name="T68" fmla="*/ 63 w 124"/>
                    <a:gd name="T69" fmla="*/ 255 h 291"/>
                    <a:gd name="T70" fmla="*/ 69 w 124"/>
                    <a:gd name="T71" fmla="*/ 234 h 291"/>
                    <a:gd name="T72" fmla="*/ 73 w 124"/>
                    <a:gd name="T73" fmla="*/ 209 h 291"/>
                    <a:gd name="T74" fmla="*/ 76 w 124"/>
                    <a:gd name="T75" fmla="*/ 188 h 291"/>
                    <a:gd name="T76" fmla="*/ 78 w 124"/>
                    <a:gd name="T77" fmla="*/ 169 h 291"/>
                    <a:gd name="T78" fmla="*/ 73 w 124"/>
                    <a:gd name="T79" fmla="*/ 158 h 291"/>
                    <a:gd name="T80" fmla="*/ 63 w 124"/>
                    <a:gd name="T81" fmla="*/ 154 h 291"/>
                    <a:gd name="T82" fmla="*/ 52 w 124"/>
                    <a:gd name="T83" fmla="*/ 158 h 291"/>
                    <a:gd name="T84" fmla="*/ 42 w 124"/>
                    <a:gd name="T85" fmla="*/ 164 h 291"/>
                    <a:gd name="T86" fmla="*/ 33 w 124"/>
                    <a:gd name="T87" fmla="*/ 173 h 291"/>
                    <a:gd name="T88" fmla="*/ 23 w 124"/>
                    <a:gd name="T89" fmla="*/ 179 h 291"/>
                    <a:gd name="T90" fmla="*/ 14 w 124"/>
                    <a:gd name="T91" fmla="*/ 184 h 291"/>
                    <a:gd name="T92" fmla="*/ 8 w 124"/>
                    <a:gd name="T93" fmla="*/ 183 h 291"/>
                    <a:gd name="T94" fmla="*/ 2 w 124"/>
                    <a:gd name="T95" fmla="*/ 173 h 291"/>
                    <a:gd name="T96" fmla="*/ 0 w 124"/>
                    <a:gd name="T97" fmla="*/ 154 h 291"/>
                    <a:gd name="T98" fmla="*/ 0 w 124"/>
                    <a:gd name="T99" fmla="*/ 135 h 291"/>
                    <a:gd name="T100" fmla="*/ 4 w 124"/>
                    <a:gd name="T101" fmla="*/ 116 h 291"/>
                    <a:gd name="T102" fmla="*/ 10 w 124"/>
                    <a:gd name="T103" fmla="*/ 99 h 291"/>
                    <a:gd name="T104" fmla="*/ 18 w 124"/>
                    <a:gd name="T105" fmla="*/ 84 h 291"/>
                    <a:gd name="T106" fmla="*/ 23 w 124"/>
                    <a:gd name="T107" fmla="*/ 70 h 291"/>
                    <a:gd name="T108" fmla="*/ 29 w 124"/>
                    <a:gd name="T109" fmla="*/ 59 h 291"/>
                    <a:gd name="T110" fmla="*/ 33 w 124"/>
                    <a:gd name="T111" fmla="*/ 51 h 291"/>
                    <a:gd name="T112" fmla="*/ 31 w 124"/>
                    <a:gd name="T113" fmla="*/ 44 h 291"/>
                    <a:gd name="T114" fmla="*/ 21 w 124"/>
                    <a:gd name="T115" fmla="*/ 42 h 291"/>
                    <a:gd name="T116" fmla="*/ 10 w 124"/>
                    <a:gd name="T117" fmla="*/ 44 h 291"/>
                    <a:gd name="T118" fmla="*/ 2 w 124"/>
                    <a:gd name="T119" fmla="*/ 48 h 291"/>
                    <a:gd name="T120" fmla="*/ 0 w 124"/>
                    <a:gd name="T121" fmla="*/ 4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
                    <a:gd name="T184" fmla="*/ 0 h 291"/>
                    <a:gd name="T185" fmla="*/ 124 w 124"/>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 h="291">
                      <a:moveTo>
                        <a:pt x="0" y="48"/>
                      </a:moveTo>
                      <a:lnTo>
                        <a:pt x="0" y="48"/>
                      </a:lnTo>
                      <a:lnTo>
                        <a:pt x="2" y="46"/>
                      </a:lnTo>
                      <a:lnTo>
                        <a:pt x="2" y="42"/>
                      </a:lnTo>
                      <a:lnTo>
                        <a:pt x="4" y="38"/>
                      </a:lnTo>
                      <a:lnTo>
                        <a:pt x="8" y="32"/>
                      </a:lnTo>
                      <a:lnTo>
                        <a:pt x="10" y="29"/>
                      </a:lnTo>
                      <a:lnTo>
                        <a:pt x="14" y="23"/>
                      </a:lnTo>
                      <a:lnTo>
                        <a:pt x="18" y="19"/>
                      </a:lnTo>
                      <a:lnTo>
                        <a:pt x="21" y="13"/>
                      </a:lnTo>
                      <a:lnTo>
                        <a:pt x="27" y="9"/>
                      </a:lnTo>
                      <a:lnTo>
                        <a:pt x="33" y="4"/>
                      </a:lnTo>
                      <a:lnTo>
                        <a:pt x="38" y="2"/>
                      </a:lnTo>
                      <a:lnTo>
                        <a:pt x="44" y="0"/>
                      </a:lnTo>
                      <a:lnTo>
                        <a:pt x="52" y="0"/>
                      </a:lnTo>
                      <a:lnTo>
                        <a:pt x="57" y="0"/>
                      </a:lnTo>
                      <a:lnTo>
                        <a:pt x="67" y="4"/>
                      </a:lnTo>
                      <a:lnTo>
                        <a:pt x="71" y="8"/>
                      </a:lnTo>
                      <a:lnTo>
                        <a:pt x="75" y="13"/>
                      </a:lnTo>
                      <a:lnTo>
                        <a:pt x="75" y="19"/>
                      </a:lnTo>
                      <a:lnTo>
                        <a:pt x="73" y="27"/>
                      </a:lnTo>
                      <a:lnTo>
                        <a:pt x="69" y="32"/>
                      </a:lnTo>
                      <a:lnTo>
                        <a:pt x="65" y="42"/>
                      </a:lnTo>
                      <a:lnTo>
                        <a:pt x="59" y="49"/>
                      </a:lnTo>
                      <a:lnTo>
                        <a:pt x="54" y="59"/>
                      </a:lnTo>
                      <a:lnTo>
                        <a:pt x="48" y="67"/>
                      </a:lnTo>
                      <a:lnTo>
                        <a:pt x="42" y="74"/>
                      </a:lnTo>
                      <a:lnTo>
                        <a:pt x="38" y="82"/>
                      </a:lnTo>
                      <a:lnTo>
                        <a:pt x="35" y="89"/>
                      </a:lnTo>
                      <a:lnTo>
                        <a:pt x="33" y="95"/>
                      </a:lnTo>
                      <a:lnTo>
                        <a:pt x="33" y="101"/>
                      </a:lnTo>
                      <a:lnTo>
                        <a:pt x="35" y="105"/>
                      </a:lnTo>
                      <a:lnTo>
                        <a:pt x="38" y="108"/>
                      </a:lnTo>
                      <a:lnTo>
                        <a:pt x="44" y="110"/>
                      </a:lnTo>
                      <a:lnTo>
                        <a:pt x="52" y="110"/>
                      </a:lnTo>
                      <a:lnTo>
                        <a:pt x="57" y="108"/>
                      </a:lnTo>
                      <a:lnTo>
                        <a:pt x="65" y="106"/>
                      </a:lnTo>
                      <a:lnTo>
                        <a:pt x="71" y="105"/>
                      </a:lnTo>
                      <a:lnTo>
                        <a:pt x="76" y="101"/>
                      </a:lnTo>
                      <a:lnTo>
                        <a:pt x="82" y="97"/>
                      </a:lnTo>
                      <a:lnTo>
                        <a:pt x="90" y="93"/>
                      </a:lnTo>
                      <a:lnTo>
                        <a:pt x="95" y="89"/>
                      </a:lnTo>
                      <a:lnTo>
                        <a:pt x="99" y="86"/>
                      </a:lnTo>
                      <a:lnTo>
                        <a:pt x="103" y="84"/>
                      </a:lnTo>
                      <a:lnTo>
                        <a:pt x="109" y="82"/>
                      </a:lnTo>
                      <a:lnTo>
                        <a:pt x="113" y="82"/>
                      </a:lnTo>
                      <a:lnTo>
                        <a:pt x="116" y="82"/>
                      </a:lnTo>
                      <a:lnTo>
                        <a:pt x="120" y="84"/>
                      </a:lnTo>
                      <a:lnTo>
                        <a:pt x="122" y="89"/>
                      </a:lnTo>
                      <a:lnTo>
                        <a:pt x="122" y="95"/>
                      </a:lnTo>
                      <a:lnTo>
                        <a:pt x="124" y="105"/>
                      </a:lnTo>
                      <a:lnTo>
                        <a:pt x="122" y="116"/>
                      </a:lnTo>
                      <a:lnTo>
                        <a:pt x="120" y="131"/>
                      </a:lnTo>
                      <a:lnTo>
                        <a:pt x="118" y="148"/>
                      </a:lnTo>
                      <a:lnTo>
                        <a:pt x="114" y="165"/>
                      </a:lnTo>
                      <a:lnTo>
                        <a:pt x="111" y="184"/>
                      </a:lnTo>
                      <a:lnTo>
                        <a:pt x="107" y="203"/>
                      </a:lnTo>
                      <a:lnTo>
                        <a:pt x="101" y="221"/>
                      </a:lnTo>
                      <a:lnTo>
                        <a:pt x="95" y="238"/>
                      </a:lnTo>
                      <a:lnTo>
                        <a:pt x="90" y="253"/>
                      </a:lnTo>
                      <a:lnTo>
                        <a:pt x="86" y="268"/>
                      </a:lnTo>
                      <a:lnTo>
                        <a:pt x="80" y="278"/>
                      </a:lnTo>
                      <a:lnTo>
                        <a:pt x="75" y="287"/>
                      </a:lnTo>
                      <a:lnTo>
                        <a:pt x="71" y="289"/>
                      </a:lnTo>
                      <a:lnTo>
                        <a:pt x="67" y="291"/>
                      </a:lnTo>
                      <a:lnTo>
                        <a:pt x="63" y="287"/>
                      </a:lnTo>
                      <a:lnTo>
                        <a:pt x="63" y="281"/>
                      </a:lnTo>
                      <a:lnTo>
                        <a:pt x="61" y="274"/>
                      </a:lnTo>
                      <a:lnTo>
                        <a:pt x="63" y="264"/>
                      </a:lnTo>
                      <a:lnTo>
                        <a:pt x="63" y="255"/>
                      </a:lnTo>
                      <a:lnTo>
                        <a:pt x="67" y="245"/>
                      </a:lnTo>
                      <a:lnTo>
                        <a:pt x="69" y="234"/>
                      </a:lnTo>
                      <a:lnTo>
                        <a:pt x="73" y="222"/>
                      </a:lnTo>
                      <a:lnTo>
                        <a:pt x="73" y="209"/>
                      </a:lnTo>
                      <a:lnTo>
                        <a:pt x="76" y="198"/>
                      </a:lnTo>
                      <a:lnTo>
                        <a:pt x="76" y="188"/>
                      </a:lnTo>
                      <a:lnTo>
                        <a:pt x="78" y="179"/>
                      </a:lnTo>
                      <a:lnTo>
                        <a:pt x="78" y="169"/>
                      </a:lnTo>
                      <a:lnTo>
                        <a:pt x="76" y="164"/>
                      </a:lnTo>
                      <a:lnTo>
                        <a:pt x="73" y="158"/>
                      </a:lnTo>
                      <a:lnTo>
                        <a:pt x="71" y="156"/>
                      </a:lnTo>
                      <a:lnTo>
                        <a:pt x="63" y="154"/>
                      </a:lnTo>
                      <a:lnTo>
                        <a:pt x="57" y="156"/>
                      </a:lnTo>
                      <a:lnTo>
                        <a:pt x="52" y="158"/>
                      </a:lnTo>
                      <a:lnTo>
                        <a:pt x="48" y="160"/>
                      </a:lnTo>
                      <a:lnTo>
                        <a:pt x="42" y="164"/>
                      </a:lnTo>
                      <a:lnTo>
                        <a:pt x="37" y="167"/>
                      </a:lnTo>
                      <a:lnTo>
                        <a:pt x="33" y="173"/>
                      </a:lnTo>
                      <a:lnTo>
                        <a:pt x="27" y="177"/>
                      </a:lnTo>
                      <a:lnTo>
                        <a:pt x="23" y="179"/>
                      </a:lnTo>
                      <a:lnTo>
                        <a:pt x="18" y="183"/>
                      </a:lnTo>
                      <a:lnTo>
                        <a:pt x="14" y="184"/>
                      </a:lnTo>
                      <a:lnTo>
                        <a:pt x="10" y="184"/>
                      </a:lnTo>
                      <a:lnTo>
                        <a:pt x="8" y="183"/>
                      </a:lnTo>
                      <a:lnTo>
                        <a:pt x="4" y="179"/>
                      </a:lnTo>
                      <a:lnTo>
                        <a:pt x="2" y="173"/>
                      </a:lnTo>
                      <a:lnTo>
                        <a:pt x="0" y="165"/>
                      </a:lnTo>
                      <a:lnTo>
                        <a:pt x="0" y="154"/>
                      </a:lnTo>
                      <a:lnTo>
                        <a:pt x="0" y="144"/>
                      </a:lnTo>
                      <a:lnTo>
                        <a:pt x="0" y="135"/>
                      </a:lnTo>
                      <a:lnTo>
                        <a:pt x="2" y="125"/>
                      </a:lnTo>
                      <a:lnTo>
                        <a:pt x="4" y="116"/>
                      </a:lnTo>
                      <a:lnTo>
                        <a:pt x="8" y="108"/>
                      </a:lnTo>
                      <a:lnTo>
                        <a:pt x="10" y="99"/>
                      </a:lnTo>
                      <a:lnTo>
                        <a:pt x="14" y="91"/>
                      </a:lnTo>
                      <a:lnTo>
                        <a:pt x="18" y="84"/>
                      </a:lnTo>
                      <a:lnTo>
                        <a:pt x="21" y="78"/>
                      </a:lnTo>
                      <a:lnTo>
                        <a:pt x="23" y="70"/>
                      </a:lnTo>
                      <a:lnTo>
                        <a:pt x="27" y="65"/>
                      </a:lnTo>
                      <a:lnTo>
                        <a:pt x="29" y="59"/>
                      </a:lnTo>
                      <a:lnTo>
                        <a:pt x="31" y="55"/>
                      </a:lnTo>
                      <a:lnTo>
                        <a:pt x="33" y="51"/>
                      </a:lnTo>
                      <a:lnTo>
                        <a:pt x="33" y="48"/>
                      </a:lnTo>
                      <a:lnTo>
                        <a:pt x="31" y="44"/>
                      </a:lnTo>
                      <a:lnTo>
                        <a:pt x="27" y="42"/>
                      </a:lnTo>
                      <a:lnTo>
                        <a:pt x="21" y="42"/>
                      </a:lnTo>
                      <a:lnTo>
                        <a:pt x="18" y="42"/>
                      </a:lnTo>
                      <a:lnTo>
                        <a:pt x="10" y="44"/>
                      </a:lnTo>
                      <a:lnTo>
                        <a:pt x="6" y="46"/>
                      </a:lnTo>
                      <a:lnTo>
                        <a:pt x="2" y="48"/>
                      </a:lnTo>
                      <a:lnTo>
                        <a:pt x="0" y="48"/>
                      </a:lnTo>
                      <a:close/>
                    </a:path>
                  </a:pathLst>
                </a:custGeom>
                <a:solidFill>
                  <a:srgbClr val="599E29"/>
                </a:solidFill>
                <a:ln w="9525">
                  <a:noFill/>
                  <a:round/>
                  <a:headEnd/>
                  <a:tailEnd/>
                </a:ln>
              </p:spPr>
              <p:txBody>
                <a:bodyPr/>
                <a:lstStyle/>
                <a:p>
                  <a:pPr algn="l" eaLnBrk="1" hangingPunct="1"/>
                  <a:endParaRPr lang="en-US"/>
                </a:p>
              </p:txBody>
            </p:sp>
            <p:sp>
              <p:nvSpPr>
                <p:cNvPr id="1430" name="Freeform 678"/>
                <p:cNvSpPr>
                  <a:spLocks noChangeAspect="1"/>
                </p:cNvSpPr>
                <p:nvPr/>
              </p:nvSpPr>
              <p:spPr bwMode="auto">
                <a:xfrm>
                  <a:off x="2731" y="1997"/>
                  <a:ext cx="180" cy="41"/>
                </a:xfrm>
                <a:custGeom>
                  <a:avLst/>
                  <a:gdLst>
                    <a:gd name="T0" fmla="*/ 0 w 361"/>
                    <a:gd name="T1" fmla="*/ 13 h 82"/>
                    <a:gd name="T2" fmla="*/ 7 w 361"/>
                    <a:gd name="T3" fmla="*/ 17 h 82"/>
                    <a:gd name="T4" fmla="*/ 21 w 361"/>
                    <a:gd name="T5" fmla="*/ 21 h 82"/>
                    <a:gd name="T6" fmla="*/ 41 w 361"/>
                    <a:gd name="T7" fmla="*/ 30 h 82"/>
                    <a:gd name="T8" fmla="*/ 66 w 361"/>
                    <a:gd name="T9" fmla="*/ 40 h 82"/>
                    <a:gd name="T10" fmla="*/ 95 w 361"/>
                    <a:gd name="T11" fmla="*/ 47 h 82"/>
                    <a:gd name="T12" fmla="*/ 125 w 361"/>
                    <a:gd name="T13" fmla="*/ 57 h 82"/>
                    <a:gd name="T14" fmla="*/ 159 w 361"/>
                    <a:gd name="T15" fmla="*/ 64 h 82"/>
                    <a:gd name="T16" fmla="*/ 193 w 361"/>
                    <a:gd name="T17" fmla="*/ 70 h 82"/>
                    <a:gd name="T18" fmla="*/ 228 w 361"/>
                    <a:gd name="T19" fmla="*/ 74 h 82"/>
                    <a:gd name="T20" fmla="*/ 258 w 361"/>
                    <a:gd name="T21" fmla="*/ 76 h 82"/>
                    <a:gd name="T22" fmla="*/ 288 w 361"/>
                    <a:gd name="T23" fmla="*/ 78 h 82"/>
                    <a:gd name="T24" fmla="*/ 315 w 361"/>
                    <a:gd name="T25" fmla="*/ 80 h 82"/>
                    <a:gd name="T26" fmla="*/ 336 w 361"/>
                    <a:gd name="T27" fmla="*/ 82 h 82"/>
                    <a:gd name="T28" fmla="*/ 351 w 361"/>
                    <a:gd name="T29" fmla="*/ 82 h 82"/>
                    <a:gd name="T30" fmla="*/ 359 w 361"/>
                    <a:gd name="T31" fmla="*/ 82 h 82"/>
                    <a:gd name="T32" fmla="*/ 359 w 361"/>
                    <a:gd name="T33" fmla="*/ 82 h 82"/>
                    <a:gd name="T34" fmla="*/ 345 w 361"/>
                    <a:gd name="T35" fmla="*/ 80 h 82"/>
                    <a:gd name="T36" fmla="*/ 325 w 361"/>
                    <a:gd name="T37" fmla="*/ 76 h 82"/>
                    <a:gd name="T38" fmla="*/ 296 w 361"/>
                    <a:gd name="T39" fmla="*/ 70 h 82"/>
                    <a:gd name="T40" fmla="*/ 266 w 361"/>
                    <a:gd name="T41" fmla="*/ 64 h 82"/>
                    <a:gd name="T42" fmla="*/ 231 w 361"/>
                    <a:gd name="T43" fmla="*/ 59 h 82"/>
                    <a:gd name="T44" fmla="*/ 201 w 361"/>
                    <a:gd name="T45" fmla="*/ 53 h 82"/>
                    <a:gd name="T46" fmla="*/ 173 w 361"/>
                    <a:gd name="T47" fmla="*/ 47 h 82"/>
                    <a:gd name="T48" fmla="*/ 150 w 361"/>
                    <a:gd name="T49" fmla="*/ 40 h 82"/>
                    <a:gd name="T50" fmla="*/ 127 w 361"/>
                    <a:gd name="T51" fmla="*/ 34 h 82"/>
                    <a:gd name="T52" fmla="*/ 104 w 361"/>
                    <a:gd name="T53" fmla="*/ 26 h 82"/>
                    <a:gd name="T54" fmla="*/ 81 w 361"/>
                    <a:gd name="T55" fmla="*/ 19 h 82"/>
                    <a:gd name="T56" fmla="*/ 62 w 361"/>
                    <a:gd name="T57" fmla="*/ 11 h 82"/>
                    <a:gd name="T58" fmla="*/ 45 w 361"/>
                    <a:gd name="T59" fmla="*/ 6 h 82"/>
                    <a:gd name="T60" fmla="*/ 32 w 361"/>
                    <a:gd name="T61" fmla="*/ 2 h 82"/>
                    <a:gd name="T62" fmla="*/ 26 w 361"/>
                    <a:gd name="T63" fmla="*/ 0 h 82"/>
                    <a:gd name="T64" fmla="*/ 0 w 361"/>
                    <a:gd name="T65" fmla="*/ 13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1"/>
                    <a:gd name="T100" fmla="*/ 0 h 82"/>
                    <a:gd name="T101" fmla="*/ 361 w 361"/>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1" h="82">
                      <a:moveTo>
                        <a:pt x="0" y="13"/>
                      </a:moveTo>
                      <a:lnTo>
                        <a:pt x="0" y="13"/>
                      </a:lnTo>
                      <a:lnTo>
                        <a:pt x="3" y="15"/>
                      </a:lnTo>
                      <a:lnTo>
                        <a:pt x="7" y="17"/>
                      </a:lnTo>
                      <a:lnTo>
                        <a:pt x="13" y="19"/>
                      </a:lnTo>
                      <a:lnTo>
                        <a:pt x="21" y="21"/>
                      </a:lnTo>
                      <a:lnTo>
                        <a:pt x="30" y="26"/>
                      </a:lnTo>
                      <a:lnTo>
                        <a:pt x="41" y="30"/>
                      </a:lnTo>
                      <a:lnTo>
                        <a:pt x="53" y="34"/>
                      </a:lnTo>
                      <a:lnTo>
                        <a:pt x="66" y="40"/>
                      </a:lnTo>
                      <a:lnTo>
                        <a:pt x="79" y="44"/>
                      </a:lnTo>
                      <a:lnTo>
                        <a:pt x="95" y="47"/>
                      </a:lnTo>
                      <a:lnTo>
                        <a:pt x="110" y="53"/>
                      </a:lnTo>
                      <a:lnTo>
                        <a:pt x="125" y="57"/>
                      </a:lnTo>
                      <a:lnTo>
                        <a:pt x="142" y="61"/>
                      </a:lnTo>
                      <a:lnTo>
                        <a:pt x="159" y="64"/>
                      </a:lnTo>
                      <a:lnTo>
                        <a:pt x="178" y="68"/>
                      </a:lnTo>
                      <a:lnTo>
                        <a:pt x="193" y="70"/>
                      </a:lnTo>
                      <a:lnTo>
                        <a:pt x="211" y="72"/>
                      </a:lnTo>
                      <a:lnTo>
                        <a:pt x="228" y="74"/>
                      </a:lnTo>
                      <a:lnTo>
                        <a:pt x="243" y="76"/>
                      </a:lnTo>
                      <a:lnTo>
                        <a:pt x="258" y="76"/>
                      </a:lnTo>
                      <a:lnTo>
                        <a:pt x="275" y="78"/>
                      </a:lnTo>
                      <a:lnTo>
                        <a:pt x="288" y="78"/>
                      </a:lnTo>
                      <a:lnTo>
                        <a:pt x="302" y="80"/>
                      </a:lnTo>
                      <a:lnTo>
                        <a:pt x="315" y="80"/>
                      </a:lnTo>
                      <a:lnTo>
                        <a:pt x="325" y="82"/>
                      </a:lnTo>
                      <a:lnTo>
                        <a:pt x="336" y="82"/>
                      </a:lnTo>
                      <a:lnTo>
                        <a:pt x="344" y="82"/>
                      </a:lnTo>
                      <a:lnTo>
                        <a:pt x="351" y="82"/>
                      </a:lnTo>
                      <a:lnTo>
                        <a:pt x="355" y="82"/>
                      </a:lnTo>
                      <a:lnTo>
                        <a:pt x="359" y="82"/>
                      </a:lnTo>
                      <a:lnTo>
                        <a:pt x="361" y="82"/>
                      </a:lnTo>
                      <a:lnTo>
                        <a:pt x="359" y="82"/>
                      </a:lnTo>
                      <a:lnTo>
                        <a:pt x="353" y="82"/>
                      </a:lnTo>
                      <a:lnTo>
                        <a:pt x="345" y="80"/>
                      </a:lnTo>
                      <a:lnTo>
                        <a:pt x="338" y="78"/>
                      </a:lnTo>
                      <a:lnTo>
                        <a:pt x="325" y="76"/>
                      </a:lnTo>
                      <a:lnTo>
                        <a:pt x="311" y="74"/>
                      </a:lnTo>
                      <a:lnTo>
                        <a:pt x="296" y="70"/>
                      </a:lnTo>
                      <a:lnTo>
                        <a:pt x="283" y="68"/>
                      </a:lnTo>
                      <a:lnTo>
                        <a:pt x="266" y="64"/>
                      </a:lnTo>
                      <a:lnTo>
                        <a:pt x="249" y="63"/>
                      </a:lnTo>
                      <a:lnTo>
                        <a:pt x="231" y="59"/>
                      </a:lnTo>
                      <a:lnTo>
                        <a:pt x="216" y="57"/>
                      </a:lnTo>
                      <a:lnTo>
                        <a:pt x="201" y="53"/>
                      </a:lnTo>
                      <a:lnTo>
                        <a:pt x="186" y="49"/>
                      </a:lnTo>
                      <a:lnTo>
                        <a:pt x="173" y="47"/>
                      </a:lnTo>
                      <a:lnTo>
                        <a:pt x="161" y="44"/>
                      </a:lnTo>
                      <a:lnTo>
                        <a:pt x="150" y="40"/>
                      </a:lnTo>
                      <a:lnTo>
                        <a:pt x="138" y="38"/>
                      </a:lnTo>
                      <a:lnTo>
                        <a:pt x="127" y="34"/>
                      </a:lnTo>
                      <a:lnTo>
                        <a:pt x="116" y="30"/>
                      </a:lnTo>
                      <a:lnTo>
                        <a:pt x="104" y="26"/>
                      </a:lnTo>
                      <a:lnTo>
                        <a:pt x="93" y="23"/>
                      </a:lnTo>
                      <a:lnTo>
                        <a:pt x="81" y="19"/>
                      </a:lnTo>
                      <a:lnTo>
                        <a:pt x="72" y="15"/>
                      </a:lnTo>
                      <a:lnTo>
                        <a:pt x="62" y="11"/>
                      </a:lnTo>
                      <a:lnTo>
                        <a:pt x="53" y="9"/>
                      </a:lnTo>
                      <a:lnTo>
                        <a:pt x="45" y="6"/>
                      </a:lnTo>
                      <a:lnTo>
                        <a:pt x="40" y="4"/>
                      </a:lnTo>
                      <a:lnTo>
                        <a:pt x="32" y="2"/>
                      </a:lnTo>
                      <a:lnTo>
                        <a:pt x="28" y="0"/>
                      </a:lnTo>
                      <a:lnTo>
                        <a:pt x="26" y="0"/>
                      </a:lnTo>
                      <a:lnTo>
                        <a:pt x="0" y="13"/>
                      </a:lnTo>
                      <a:close/>
                    </a:path>
                  </a:pathLst>
                </a:custGeom>
                <a:solidFill>
                  <a:srgbClr val="000000"/>
                </a:solidFill>
                <a:ln w="9525">
                  <a:noFill/>
                  <a:round/>
                  <a:headEnd/>
                  <a:tailEnd/>
                </a:ln>
              </p:spPr>
              <p:txBody>
                <a:bodyPr/>
                <a:lstStyle/>
                <a:p>
                  <a:pPr algn="l" eaLnBrk="1" hangingPunct="1"/>
                  <a:endParaRPr lang="en-US"/>
                </a:p>
              </p:txBody>
            </p:sp>
            <p:sp>
              <p:nvSpPr>
                <p:cNvPr id="1431" name="Freeform 679"/>
                <p:cNvSpPr>
                  <a:spLocks noChangeAspect="1"/>
                </p:cNvSpPr>
                <p:nvPr/>
              </p:nvSpPr>
              <p:spPr bwMode="auto">
                <a:xfrm>
                  <a:off x="2733" y="2003"/>
                  <a:ext cx="37" cy="144"/>
                </a:xfrm>
                <a:custGeom>
                  <a:avLst/>
                  <a:gdLst>
                    <a:gd name="T0" fmla="*/ 0 w 75"/>
                    <a:gd name="T1" fmla="*/ 0 h 289"/>
                    <a:gd name="T2" fmla="*/ 0 w 75"/>
                    <a:gd name="T3" fmla="*/ 4 h 289"/>
                    <a:gd name="T4" fmla="*/ 0 w 75"/>
                    <a:gd name="T5" fmla="*/ 10 h 289"/>
                    <a:gd name="T6" fmla="*/ 2 w 75"/>
                    <a:gd name="T7" fmla="*/ 21 h 289"/>
                    <a:gd name="T8" fmla="*/ 4 w 75"/>
                    <a:gd name="T9" fmla="*/ 38 h 289"/>
                    <a:gd name="T10" fmla="*/ 6 w 75"/>
                    <a:gd name="T11" fmla="*/ 55 h 289"/>
                    <a:gd name="T12" fmla="*/ 10 w 75"/>
                    <a:gd name="T13" fmla="*/ 76 h 289"/>
                    <a:gd name="T14" fmla="*/ 12 w 75"/>
                    <a:gd name="T15" fmla="*/ 99 h 289"/>
                    <a:gd name="T16" fmla="*/ 16 w 75"/>
                    <a:gd name="T17" fmla="*/ 122 h 289"/>
                    <a:gd name="T18" fmla="*/ 19 w 75"/>
                    <a:gd name="T19" fmla="*/ 145 h 289"/>
                    <a:gd name="T20" fmla="*/ 23 w 75"/>
                    <a:gd name="T21" fmla="*/ 169 h 289"/>
                    <a:gd name="T22" fmla="*/ 27 w 75"/>
                    <a:gd name="T23" fmla="*/ 192 h 289"/>
                    <a:gd name="T24" fmla="*/ 31 w 75"/>
                    <a:gd name="T25" fmla="*/ 217 h 289"/>
                    <a:gd name="T26" fmla="*/ 35 w 75"/>
                    <a:gd name="T27" fmla="*/ 236 h 289"/>
                    <a:gd name="T28" fmla="*/ 38 w 75"/>
                    <a:gd name="T29" fmla="*/ 255 h 289"/>
                    <a:gd name="T30" fmla="*/ 42 w 75"/>
                    <a:gd name="T31" fmla="*/ 270 h 289"/>
                    <a:gd name="T32" fmla="*/ 48 w 75"/>
                    <a:gd name="T33" fmla="*/ 282 h 289"/>
                    <a:gd name="T34" fmla="*/ 75 w 75"/>
                    <a:gd name="T35" fmla="*/ 289 h 289"/>
                    <a:gd name="T36" fmla="*/ 73 w 75"/>
                    <a:gd name="T37" fmla="*/ 289 h 289"/>
                    <a:gd name="T38" fmla="*/ 73 w 75"/>
                    <a:gd name="T39" fmla="*/ 285 h 289"/>
                    <a:gd name="T40" fmla="*/ 73 w 75"/>
                    <a:gd name="T41" fmla="*/ 284 h 289"/>
                    <a:gd name="T42" fmla="*/ 71 w 75"/>
                    <a:gd name="T43" fmla="*/ 278 h 289"/>
                    <a:gd name="T44" fmla="*/ 69 w 75"/>
                    <a:gd name="T45" fmla="*/ 272 h 289"/>
                    <a:gd name="T46" fmla="*/ 69 w 75"/>
                    <a:gd name="T47" fmla="*/ 265 h 289"/>
                    <a:gd name="T48" fmla="*/ 67 w 75"/>
                    <a:gd name="T49" fmla="*/ 255 h 289"/>
                    <a:gd name="T50" fmla="*/ 65 w 75"/>
                    <a:gd name="T51" fmla="*/ 247 h 289"/>
                    <a:gd name="T52" fmla="*/ 63 w 75"/>
                    <a:gd name="T53" fmla="*/ 236 h 289"/>
                    <a:gd name="T54" fmla="*/ 59 w 75"/>
                    <a:gd name="T55" fmla="*/ 227 h 289"/>
                    <a:gd name="T56" fmla="*/ 57 w 75"/>
                    <a:gd name="T57" fmla="*/ 215 h 289"/>
                    <a:gd name="T58" fmla="*/ 56 w 75"/>
                    <a:gd name="T59" fmla="*/ 204 h 289"/>
                    <a:gd name="T60" fmla="*/ 54 w 75"/>
                    <a:gd name="T61" fmla="*/ 192 h 289"/>
                    <a:gd name="T62" fmla="*/ 50 w 75"/>
                    <a:gd name="T63" fmla="*/ 179 h 289"/>
                    <a:gd name="T64" fmla="*/ 48 w 75"/>
                    <a:gd name="T65" fmla="*/ 168 h 289"/>
                    <a:gd name="T66" fmla="*/ 46 w 75"/>
                    <a:gd name="T67" fmla="*/ 154 h 289"/>
                    <a:gd name="T68" fmla="*/ 42 w 75"/>
                    <a:gd name="T69" fmla="*/ 141 h 289"/>
                    <a:gd name="T70" fmla="*/ 40 w 75"/>
                    <a:gd name="T71" fmla="*/ 128 h 289"/>
                    <a:gd name="T72" fmla="*/ 38 w 75"/>
                    <a:gd name="T73" fmla="*/ 114 h 289"/>
                    <a:gd name="T74" fmla="*/ 37 w 75"/>
                    <a:gd name="T75" fmla="*/ 103 h 289"/>
                    <a:gd name="T76" fmla="*/ 35 w 75"/>
                    <a:gd name="T77" fmla="*/ 90 h 289"/>
                    <a:gd name="T78" fmla="*/ 35 w 75"/>
                    <a:gd name="T79" fmla="*/ 78 h 289"/>
                    <a:gd name="T80" fmla="*/ 33 w 75"/>
                    <a:gd name="T81" fmla="*/ 65 h 289"/>
                    <a:gd name="T82" fmla="*/ 33 w 75"/>
                    <a:gd name="T83" fmla="*/ 55 h 289"/>
                    <a:gd name="T84" fmla="*/ 33 w 75"/>
                    <a:gd name="T85" fmla="*/ 44 h 289"/>
                    <a:gd name="T86" fmla="*/ 33 w 75"/>
                    <a:gd name="T87" fmla="*/ 34 h 289"/>
                    <a:gd name="T88" fmla="*/ 33 w 75"/>
                    <a:gd name="T89" fmla="*/ 27 h 289"/>
                    <a:gd name="T90" fmla="*/ 33 w 75"/>
                    <a:gd name="T91" fmla="*/ 19 h 289"/>
                    <a:gd name="T92" fmla="*/ 33 w 75"/>
                    <a:gd name="T93" fmla="*/ 14 h 289"/>
                    <a:gd name="T94" fmla="*/ 33 w 75"/>
                    <a:gd name="T95" fmla="*/ 10 h 289"/>
                    <a:gd name="T96" fmla="*/ 33 w 75"/>
                    <a:gd name="T97" fmla="*/ 6 h 289"/>
                    <a:gd name="T98" fmla="*/ 35 w 75"/>
                    <a:gd name="T99" fmla="*/ 6 h 289"/>
                    <a:gd name="T100" fmla="*/ 0 w 75"/>
                    <a:gd name="T101" fmla="*/ 0 h 289"/>
                    <a:gd name="T102" fmla="*/ 0 w 75"/>
                    <a:gd name="T103" fmla="*/ 0 h 2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
                    <a:gd name="T157" fmla="*/ 0 h 289"/>
                    <a:gd name="T158" fmla="*/ 75 w 75"/>
                    <a:gd name="T159" fmla="*/ 289 h 28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 h="289">
                      <a:moveTo>
                        <a:pt x="0" y="0"/>
                      </a:moveTo>
                      <a:lnTo>
                        <a:pt x="0" y="4"/>
                      </a:lnTo>
                      <a:lnTo>
                        <a:pt x="0" y="10"/>
                      </a:lnTo>
                      <a:lnTo>
                        <a:pt x="2" y="21"/>
                      </a:lnTo>
                      <a:lnTo>
                        <a:pt x="4" y="38"/>
                      </a:lnTo>
                      <a:lnTo>
                        <a:pt x="6" y="55"/>
                      </a:lnTo>
                      <a:lnTo>
                        <a:pt x="10" y="76"/>
                      </a:lnTo>
                      <a:lnTo>
                        <a:pt x="12" y="99"/>
                      </a:lnTo>
                      <a:lnTo>
                        <a:pt x="16" y="122"/>
                      </a:lnTo>
                      <a:lnTo>
                        <a:pt x="19" y="145"/>
                      </a:lnTo>
                      <a:lnTo>
                        <a:pt x="23" y="169"/>
                      </a:lnTo>
                      <a:lnTo>
                        <a:pt x="27" y="192"/>
                      </a:lnTo>
                      <a:lnTo>
                        <a:pt x="31" y="217"/>
                      </a:lnTo>
                      <a:lnTo>
                        <a:pt x="35" y="236"/>
                      </a:lnTo>
                      <a:lnTo>
                        <a:pt x="38" y="255"/>
                      </a:lnTo>
                      <a:lnTo>
                        <a:pt x="42" y="270"/>
                      </a:lnTo>
                      <a:lnTo>
                        <a:pt x="48" y="282"/>
                      </a:lnTo>
                      <a:lnTo>
                        <a:pt x="75" y="289"/>
                      </a:lnTo>
                      <a:lnTo>
                        <a:pt x="73" y="289"/>
                      </a:lnTo>
                      <a:lnTo>
                        <a:pt x="73" y="285"/>
                      </a:lnTo>
                      <a:lnTo>
                        <a:pt x="73" y="284"/>
                      </a:lnTo>
                      <a:lnTo>
                        <a:pt x="71" y="278"/>
                      </a:lnTo>
                      <a:lnTo>
                        <a:pt x="69" y="272"/>
                      </a:lnTo>
                      <a:lnTo>
                        <a:pt x="69" y="265"/>
                      </a:lnTo>
                      <a:lnTo>
                        <a:pt x="67" y="255"/>
                      </a:lnTo>
                      <a:lnTo>
                        <a:pt x="65" y="247"/>
                      </a:lnTo>
                      <a:lnTo>
                        <a:pt x="63" y="236"/>
                      </a:lnTo>
                      <a:lnTo>
                        <a:pt x="59" y="227"/>
                      </a:lnTo>
                      <a:lnTo>
                        <a:pt x="57" y="215"/>
                      </a:lnTo>
                      <a:lnTo>
                        <a:pt x="56" y="204"/>
                      </a:lnTo>
                      <a:lnTo>
                        <a:pt x="54" y="192"/>
                      </a:lnTo>
                      <a:lnTo>
                        <a:pt x="50" y="179"/>
                      </a:lnTo>
                      <a:lnTo>
                        <a:pt x="48" y="168"/>
                      </a:lnTo>
                      <a:lnTo>
                        <a:pt x="46" y="154"/>
                      </a:lnTo>
                      <a:lnTo>
                        <a:pt x="42" y="141"/>
                      </a:lnTo>
                      <a:lnTo>
                        <a:pt x="40" y="128"/>
                      </a:lnTo>
                      <a:lnTo>
                        <a:pt x="38" y="114"/>
                      </a:lnTo>
                      <a:lnTo>
                        <a:pt x="37" y="103"/>
                      </a:lnTo>
                      <a:lnTo>
                        <a:pt x="35" y="90"/>
                      </a:lnTo>
                      <a:lnTo>
                        <a:pt x="35" y="78"/>
                      </a:lnTo>
                      <a:lnTo>
                        <a:pt x="33" y="65"/>
                      </a:lnTo>
                      <a:lnTo>
                        <a:pt x="33" y="55"/>
                      </a:lnTo>
                      <a:lnTo>
                        <a:pt x="33" y="44"/>
                      </a:lnTo>
                      <a:lnTo>
                        <a:pt x="33" y="34"/>
                      </a:lnTo>
                      <a:lnTo>
                        <a:pt x="33" y="27"/>
                      </a:lnTo>
                      <a:lnTo>
                        <a:pt x="33" y="19"/>
                      </a:lnTo>
                      <a:lnTo>
                        <a:pt x="33" y="14"/>
                      </a:lnTo>
                      <a:lnTo>
                        <a:pt x="33" y="10"/>
                      </a:lnTo>
                      <a:lnTo>
                        <a:pt x="33" y="6"/>
                      </a:lnTo>
                      <a:lnTo>
                        <a:pt x="35" y="6"/>
                      </a:lnTo>
                      <a:lnTo>
                        <a:pt x="0" y="0"/>
                      </a:lnTo>
                      <a:close/>
                    </a:path>
                  </a:pathLst>
                </a:custGeom>
                <a:solidFill>
                  <a:srgbClr val="000000"/>
                </a:solidFill>
                <a:ln w="9525">
                  <a:noFill/>
                  <a:round/>
                  <a:headEnd/>
                  <a:tailEnd/>
                </a:ln>
              </p:spPr>
              <p:txBody>
                <a:bodyPr/>
                <a:lstStyle/>
                <a:p>
                  <a:pPr algn="l" eaLnBrk="1" hangingPunct="1"/>
                  <a:endParaRPr lang="en-US"/>
                </a:p>
              </p:txBody>
            </p:sp>
            <p:sp>
              <p:nvSpPr>
                <p:cNvPr id="1432" name="Freeform 680"/>
                <p:cNvSpPr>
                  <a:spLocks noChangeAspect="1"/>
                </p:cNvSpPr>
                <p:nvPr/>
              </p:nvSpPr>
              <p:spPr bwMode="auto">
                <a:xfrm>
                  <a:off x="2883" y="2038"/>
                  <a:ext cx="25" cy="209"/>
                </a:xfrm>
                <a:custGeom>
                  <a:avLst/>
                  <a:gdLst>
                    <a:gd name="T0" fmla="*/ 30 w 49"/>
                    <a:gd name="T1" fmla="*/ 5 h 418"/>
                    <a:gd name="T2" fmla="*/ 30 w 49"/>
                    <a:gd name="T3" fmla="*/ 15 h 418"/>
                    <a:gd name="T4" fmla="*/ 30 w 49"/>
                    <a:gd name="T5" fmla="*/ 36 h 418"/>
                    <a:gd name="T6" fmla="*/ 30 w 49"/>
                    <a:gd name="T7" fmla="*/ 62 h 418"/>
                    <a:gd name="T8" fmla="*/ 30 w 49"/>
                    <a:gd name="T9" fmla="*/ 95 h 418"/>
                    <a:gd name="T10" fmla="*/ 30 w 49"/>
                    <a:gd name="T11" fmla="*/ 129 h 418"/>
                    <a:gd name="T12" fmla="*/ 30 w 49"/>
                    <a:gd name="T13" fmla="*/ 165 h 418"/>
                    <a:gd name="T14" fmla="*/ 30 w 49"/>
                    <a:gd name="T15" fmla="*/ 199 h 418"/>
                    <a:gd name="T16" fmla="*/ 32 w 49"/>
                    <a:gd name="T17" fmla="*/ 230 h 418"/>
                    <a:gd name="T18" fmla="*/ 34 w 49"/>
                    <a:gd name="T19" fmla="*/ 262 h 418"/>
                    <a:gd name="T20" fmla="*/ 38 w 49"/>
                    <a:gd name="T21" fmla="*/ 294 h 418"/>
                    <a:gd name="T22" fmla="*/ 40 w 49"/>
                    <a:gd name="T23" fmla="*/ 327 h 418"/>
                    <a:gd name="T24" fmla="*/ 43 w 49"/>
                    <a:gd name="T25" fmla="*/ 357 h 418"/>
                    <a:gd name="T26" fmla="*/ 45 w 49"/>
                    <a:gd name="T27" fmla="*/ 382 h 418"/>
                    <a:gd name="T28" fmla="*/ 47 w 49"/>
                    <a:gd name="T29" fmla="*/ 403 h 418"/>
                    <a:gd name="T30" fmla="*/ 49 w 49"/>
                    <a:gd name="T31" fmla="*/ 414 h 418"/>
                    <a:gd name="T32" fmla="*/ 49 w 49"/>
                    <a:gd name="T33" fmla="*/ 418 h 418"/>
                    <a:gd name="T34" fmla="*/ 45 w 49"/>
                    <a:gd name="T35" fmla="*/ 414 h 418"/>
                    <a:gd name="T36" fmla="*/ 40 w 49"/>
                    <a:gd name="T37" fmla="*/ 403 h 418"/>
                    <a:gd name="T38" fmla="*/ 34 w 49"/>
                    <a:gd name="T39" fmla="*/ 384 h 418"/>
                    <a:gd name="T40" fmla="*/ 26 w 49"/>
                    <a:gd name="T41" fmla="*/ 359 h 418"/>
                    <a:gd name="T42" fmla="*/ 19 w 49"/>
                    <a:gd name="T43" fmla="*/ 327 h 418"/>
                    <a:gd name="T44" fmla="*/ 11 w 49"/>
                    <a:gd name="T45" fmla="*/ 287 h 418"/>
                    <a:gd name="T46" fmla="*/ 5 w 49"/>
                    <a:gd name="T47" fmla="*/ 241 h 418"/>
                    <a:gd name="T48" fmla="*/ 2 w 49"/>
                    <a:gd name="T49" fmla="*/ 190 h 418"/>
                    <a:gd name="T50" fmla="*/ 0 w 49"/>
                    <a:gd name="T51" fmla="*/ 144 h 418"/>
                    <a:gd name="T52" fmla="*/ 2 w 49"/>
                    <a:gd name="T53" fmla="*/ 102 h 418"/>
                    <a:gd name="T54" fmla="*/ 2 w 49"/>
                    <a:gd name="T55" fmla="*/ 68 h 418"/>
                    <a:gd name="T56" fmla="*/ 5 w 49"/>
                    <a:gd name="T57" fmla="*/ 41 h 418"/>
                    <a:gd name="T58" fmla="*/ 7 w 49"/>
                    <a:gd name="T59" fmla="*/ 21 h 418"/>
                    <a:gd name="T60" fmla="*/ 11 w 49"/>
                    <a:gd name="T61" fmla="*/ 5 h 418"/>
                    <a:gd name="T62" fmla="*/ 13 w 49"/>
                    <a:gd name="T63" fmla="*/ 0 h 418"/>
                    <a:gd name="T64" fmla="*/ 30 w 49"/>
                    <a:gd name="T65" fmla="*/ 3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418"/>
                    <a:gd name="T101" fmla="*/ 49 w 49"/>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418">
                      <a:moveTo>
                        <a:pt x="30" y="3"/>
                      </a:moveTo>
                      <a:lnTo>
                        <a:pt x="30" y="5"/>
                      </a:lnTo>
                      <a:lnTo>
                        <a:pt x="30" y="9"/>
                      </a:lnTo>
                      <a:lnTo>
                        <a:pt x="30" y="15"/>
                      </a:lnTo>
                      <a:lnTo>
                        <a:pt x="30" y="24"/>
                      </a:lnTo>
                      <a:lnTo>
                        <a:pt x="30" y="36"/>
                      </a:lnTo>
                      <a:lnTo>
                        <a:pt x="30" y="49"/>
                      </a:lnTo>
                      <a:lnTo>
                        <a:pt x="30" y="62"/>
                      </a:lnTo>
                      <a:lnTo>
                        <a:pt x="30" y="78"/>
                      </a:lnTo>
                      <a:lnTo>
                        <a:pt x="30" y="95"/>
                      </a:lnTo>
                      <a:lnTo>
                        <a:pt x="30" y="112"/>
                      </a:lnTo>
                      <a:lnTo>
                        <a:pt x="30" y="129"/>
                      </a:lnTo>
                      <a:lnTo>
                        <a:pt x="30" y="146"/>
                      </a:lnTo>
                      <a:lnTo>
                        <a:pt x="30" y="165"/>
                      </a:lnTo>
                      <a:lnTo>
                        <a:pt x="30" y="182"/>
                      </a:lnTo>
                      <a:lnTo>
                        <a:pt x="30" y="199"/>
                      </a:lnTo>
                      <a:lnTo>
                        <a:pt x="32" y="214"/>
                      </a:lnTo>
                      <a:lnTo>
                        <a:pt x="32" y="230"/>
                      </a:lnTo>
                      <a:lnTo>
                        <a:pt x="34" y="247"/>
                      </a:lnTo>
                      <a:lnTo>
                        <a:pt x="34" y="262"/>
                      </a:lnTo>
                      <a:lnTo>
                        <a:pt x="36" y="279"/>
                      </a:lnTo>
                      <a:lnTo>
                        <a:pt x="38" y="294"/>
                      </a:lnTo>
                      <a:lnTo>
                        <a:pt x="40" y="311"/>
                      </a:lnTo>
                      <a:lnTo>
                        <a:pt x="40" y="327"/>
                      </a:lnTo>
                      <a:lnTo>
                        <a:pt x="41" y="344"/>
                      </a:lnTo>
                      <a:lnTo>
                        <a:pt x="43" y="357"/>
                      </a:lnTo>
                      <a:lnTo>
                        <a:pt x="45" y="370"/>
                      </a:lnTo>
                      <a:lnTo>
                        <a:pt x="45" y="382"/>
                      </a:lnTo>
                      <a:lnTo>
                        <a:pt x="47" y="393"/>
                      </a:lnTo>
                      <a:lnTo>
                        <a:pt x="47" y="403"/>
                      </a:lnTo>
                      <a:lnTo>
                        <a:pt x="47" y="410"/>
                      </a:lnTo>
                      <a:lnTo>
                        <a:pt x="49" y="414"/>
                      </a:lnTo>
                      <a:lnTo>
                        <a:pt x="49" y="418"/>
                      </a:lnTo>
                      <a:lnTo>
                        <a:pt x="47" y="418"/>
                      </a:lnTo>
                      <a:lnTo>
                        <a:pt x="45" y="414"/>
                      </a:lnTo>
                      <a:lnTo>
                        <a:pt x="43" y="410"/>
                      </a:lnTo>
                      <a:lnTo>
                        <a:pt x="40" y="403"/>
                      </a:lnTo>
                      <a:lnTo>
                        <a:pt x="38" y="395"/>
                      </a:lnTo>
                      <a:lnTo>
                        <a:pt x="34" y="384"/>
                      </a:lnTo>
                      <a:lnTo>
                        <a:pt x="30" y="374"/>
                      </a:lnTo>
                      <a:lnTo>
                        <a:pt x="26" y="359"/>
                      </a:lnTo>
                      <a:lnTo>
                        <a:pt x="22" y="344"/>
                      </a:lnTo>
                      <a:lnTo>
                        <a:pt x="19" y="327"/>
                      </a:lnTo>
                      <a:lnTo>
                        <a:pt x="15" y="308"/>
                      </a:lnTo>
                      <a:lnTo>
                        <a:pt x="11" y="287"/>
                      </a:lnTo>
                      <a:lnTo>
                        <a:pt x="7" y="266"/>
                      </a:lnTo>
                      <a:lnTo>
                        <a:pt x="5" y="241"/>
                      </a:lnTo>
                      <a:lnTo>
                        <a:pt x="3" y="216"/>
                      </a:lnTo>
                      <a:lnTo>
                        <a:pt x="2" y="190"/>
                      </a:lnTo>
                      <a:lnTo>
                        <a:pt x="2" y="167"/>
                      </a:lnTo>
                      <a:lnTo>
                        <a:pt x="0" y="144"/>
                      </a:lnTo>
                      <a:lnTo>
                        <a:pt x="2" y="123"/>
                      </a:lnTo>
                      <a:lnTo>
                        <a:pt x="2" y="102"/>
                      </a:lnTo>
                      <a:lnTo>
                        <a:pt x="2" y="85"/>
                      </a:lnTo>
                      <a:lnTo>
                        <a:pt x="2" y="68"/>
                      </a:lnTo>
                      <a:lnTo>
                        <a:pt x="5" y="55"/>
                      </a:lnTo>
                      <a:lnTo>
                        <a:pt x="5" y="41"/>
                      </a:lnTo>
                      <a:lnTo>
                        <a:pt x="7" y="30"/>
                      </a:lnTo>
                      <a:lnTo>
                        <a:pt x="7" y="21"/>
                      </a:lnTo>
                      <a:lnTo>
                        <a:pt x="9" y="13"/>
                      </a:lnTo>
                      <a:lnTo>
                        <a:pt x="11" y="5"/>
                      </a:lnTo>
                      <a:lnTo>
                        <a:pt x="11" y="2"/>
                      </a:lnTo>
                      <a:lnTo>
                        <a:pt x="13" y="0"/>
                      </a:lnTo>
                      <a:lnTo>
                        <a:pt x="30" y="3"/>
                      </a:lnTo>
                      <a:close/>
                    </a:path>
                  </a:pathLst>
                </a:custGeom>
                <a:solidFill>
                  <a:srgbClr val="000000"/>
                </a:solidFill>
                <a:ln w="9525">
                  <a:noFill/>
                  <a:round/>
                  <a:headEnd/>
                  <a:tailEnd/>
                </a:ln>
              </p:spPr>
              <p:txBody>
                <a:bodyPr/>
                <a:lstStyle/>
                <a:p>
                  <a:pPr algn="l" eaLnBrk="1" hangingPunct="1"/>
                  <a:endParaRPr lang="en-US"/>
                </a:p>
              </p:txBody>
            </p:sp>
            <p:sp>
              <p:nvSpPr>
                <p:cNvPr id="1433" name="Freeform 681"/>
                <p:cNvSpPr>
                  <a:spLocks noChangeAspect="1"/>
                </p:cNvSpPr>
                <p:nvPr/>
              </p:nvSpPr>
              <p:spPr bwMode="auto">
                <a:xfrm>
                  <a:off x="2896" y="1989"/>
                  <a:ext cx="103" cy="46"/>
                </a:xfrm>
                <a:custGeom>
                  <a:avLst/>
                  <a:gdLst>
                    <a:gd name="T0" fmla="*/ 0 w 205"/>
                    <a:gd name="T1" fmla="*/ 91 h 91"/>
                    <a:gd name="T2" fmla="*/ 0 w 205"/>
                    <a:gd name="T3" fmla="*/ 89 h 91"/>
                    <a:gd name="T4" fmla="*/ 2 w 205"/>
                    <a:gd name="T5" fmla="*/ 89 h 91"/>
                    <a:gd name="T6" fmla="*/ 6 w 205"/>
                    <a:gd name="T7" fmla="*/ 89 h 91"/>
                    <a:gd name="T8" fmla="*/ 12 w 205"/>
                    <a:gd name="T9" fmla="*/ 87 h 91"/>
                    <a:gd name="T10" fmla="*/ 17 w 205"/>
                    <a:gd name="T11" fmla="*/ 85 h 91"/>
                    <a:gd name="T12" fmla="*/ 25 w 205"/>
                    <a:gd name="T13" fmla="*/ 83 h 91"/>
                    <a:gd name="T14" fmla="*/ 34 w 205"/>
                    <a:gd name="T15" fmla="*/ 81 h 91"/>
                    <a:gd name="T16" fmla="*/ 44 w 205"/>
                    <a:gd name="T17" fmla="*/ 79 h 91"/>
                    <a:gd name="T18" fmla="*/ 52 w 205"/>
                    <a:gd name="T19" fmla="*/ 78 h 91"/>
                    <a:gd name="T20" fmla="*/ 63 w 205"/>
                    <a:gd name="T21" fmla="*/ 74 h 91"/>
                    <a:gd name="T22" fmla="*/ 72 w 205"/>
                    <a:gd name="T23" fmla="*/ 72 h 91"/>
                    <a:gd name="T24" fmla="*/ 82 w 205"/>
                    <a:gd name="T25" fmla="*/ 68 h 91"/>
                    <a:gd name="T26" fmla="*/ 93 w 205"/>
                    <a:gd name="T27" fmla="*/ 64 h 91"/>
                    <a:gd name="T28" fmla="*/ 103 w 205"/>
                    <a:gd name="T29" fmla="*/ 59 h 91"/>
                    <a:gd name="T30" fmla="*/ 112 w 205"/>
                    <a:gd name="T31" fmla="*/ 55 h 91"/>
                    <a:gd name="T32" fmla="*/ 122 w 205"/>
                    <a:gd name="T33" fmla="*/ 51 h 91"/>
                    <a:gd name="T34" fmla="*/ 129 w 205"/>
                    <a:gd name="T35" fmla="*/ 45 h 91"/>
                    <a:gd name="T36" fmla="*/ 137 w 205"/>
                    <a:gd name="T37" fmla="*/ 41 h 91"/>
                    <a:gd name="T38" fmla="*/ 145 w 205"/>
                    <a:gd name="T39" fmla="*/ 36 h 91"/>
                    <a:gd name="T40" fmla="*/ 152 w 205"/>
                    <a:gd name="T41" fmla="*/ 32 h 91"/>
                    <a:gd name="T42" fmla="*/ 160 w 205"/>
                    <a:gd name="T43" fmla="*/ 28 h 91"/>
                    <a:gd name="T44" fmla="*/ 167 w 205"/>
                    <a:gd name="T45" fmla="*/ 24 h 91"/>
                    <a:gd name="T46" fmla="*/ 173 w 205"/>
                    <a:gd name="T47" fmla="*/ 21 h 91"/>
                    <a:gd name="T48" fmla="*/ 179 w 205"/>
                    <a:gd name="T49" fmla="*/ 17 h 91"/>
                    <a:gd name="T50" fmla="*/ 185 w 205"/>
                    <a:gd name="T51" fmla="*/ 11 h 91"/>
                    <a:gd name="T52" fmla="*/ 188 w 205"/>
                    <a:gd name="T53" fmla="*/ 9 h 91"/>
                    <a:gd name="T54" fmla="*/ 192 w 205"/>
                    <a:gd name="T55" fmla="*/ 7 h 91"/>
                    <a:gd name="T56" fmla="*/ 196 w 205"/>
                    <a:gd name="T57" fmla="*/ 5 h 91"/>
                    <a:gd name="T58" fmla="*/ 202 w 205"/>
                    <a:gd name="T59" fmla="*/ 2 h 91"/>
                    <a:gd name="T60" fmla="*/ 204 w 205"/>
                    <a:gd name="T61" fmla="*/ 0 h 91"/>
                    <a:gd name="T62" fmla="*/ 205 w 205"/>
                    <a:gd name="T63" fmla="*/ 32 h 91"/>
                    <a:gd name="T64" fmla="*/ 204 w 205"/>
                    <a:gd name="T65" fmla="*/ 34 h 91"/>
                    <a:gd name="T66" fmla="*/ 198 w 205"/>
                    <a:gd name="T67" fmla="*/ 36 h 91"/>
                    <a:gd name="T68" fmla="*/ 194 w 205"/>
                    <a:gd name="T69" fmla="*/ 38 h 91"/>
                    <a:gd name="T70" fmla="*/ 190 w 205"/>
                    <a:gd name="T71" fmla="*/ 40 h 91"/>
                    <a:gd name="T72" fmla="*/ 186 w 205"/>
                    <a:gd name="T73" fmla="*/ 43 h 91"/>
                    <a:gd name="T74" fmla="*/ 181 w 205"/>
                    <a:gd name="T75" fmla="*/ 47 h 91"/>
                    <a:gd name="T76" fmla="*/ 175 w 205"/>
                    <a:gd name="T77" fmla="*/ 49 h 91"/>
                    <a:gd name="T78" fmla="*/ 169 w 205"/>
                    <a:gd name="T79" fmla="*/ 53 h 91"/>
                    <a:gd name="T80" fmla="*/ 162 w 205"/>
                    <a:gd name="T81" fmla="*/ 57 h 91"/>
                    <a:gd name="T82" fmla="*/ 154 w 205"/>
                    <a:gd name="T83" fmla="*/ 62 h 91"/>
                    <a:gd name="T84" fmla="*/ 147 w 205"/>
                    <a:gd name="T85" fmla="*/ 64 h 91"/>
                    <a:gd name="T86" fmla="*/ 137 w 205"/>
                    <a:gd name="T87" fmla="*/ 68 h 91"/>
                    <a:gd name="T88" fmla="*/ 129 w 205"/>
                    <a:gd name="T89" fmla="*/ 72 h 91"/>
                    <a:gd name="T90" fmla="*/ 120 w 205"/>
                    <a:gd name="T91" fmla="*/ 78 h 91"/>
                    <a:gd name="T92" fmla="*/ 110 w 205"/>
                    <a:gd name="T93" fmla="*/ 79 h 91"/>
                    <a:gd name="T94" fmla="*/ 101 w 205"/>
                    <a:gd name="T95" fmla="*/ 81 h 91"/>
                    <a:gd name="T96" fmla="*/ 90 w 205"/>
                    <a:gd name="T97" fmla="*/ 83 h 91"/>
                    <a:gd name="T98" fmla="*/ 80 w 205"/>
                    <a:gd name="T99" fmla="*/ 87 h 91"/>
                    <a:gd name="T100" fmla="*/ 69 w 205"/>
                    <a:gd name="T101" fmla="*/ 87 h 91"/>
                    <a:gd name="T102" fmla="*/ 59 w 205"/>
                    <a:gd name="T103" fmla="*/ 89 h 91"/>
                    <a:gd name="T104" fmla="*/ 50 w 205"/>
                    <a:gd name="T105" fmla="*/ 89 h 91"/>
                    <a:gd name="T106" fmla="*/ 40 w 205"/>
                    <a:gd name="T107" fmla="*/ 91 h 91"/>
                    <a:gd name="T108" fmla="*/ 31 w 205"/>
                    <a:gd name="T109" fmla="*/ 91 h 91"/>
                    <a:gd name="T110" fmla="*/ 23 w 205"/>
                    <a:gd name="T111" fmla="*/ 91 h 91"/>
                    <a:gd name="T112" fmla="*/ 17 w 205"/>
                    <a:gd name="T113" fmla="*/ 91 h 91"/>
                    <a:gd name="T114" fmla="*/ 12 w 205"/>
                    <a:gd name="T115" fmla="*/ 91 h 91"/>
                    <a:gd name="T116" fmla="*/ 6 w 205"/>
                    <a:gd name="T117" fmla="*/ 91 h 91"/>
                    <a:gd name="T118" fmla="*/ 2 w 205"/>
                    <a:gd name="T119" fmla="*/ 91 h 91"/>
                    <a:gd name="T120" fmla="*/ 0 w 205"/>
                    <a:gd name="T121" fmla="*/ 91 h 91"/>
                    <a:gd name="T122" fmla="*/ 0 w 205"/>
                    <a:gd name="T123" fmla="*/ 91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5"/>
                    <a:gd name="T187" fmla="*/ 0 h 91"/>
                    <a:gd name="T188" fmla="*/ 205 w 205"/>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5" h="91">
                      <a:moveTo>
                        <a:pt x="0" y="91"/>
                      </a:moveTo>
                      <a:lnTo>
                        <a:pt x="0" y="89"/>
                      </a:lnTo>
                      <a:lnTo>
                        <a:pt x="2" y="89"/>
                      </a:lnTo>
                      <a:lnTo>
                        <a:pt x="6" y="89"/>
                      </a:lnTo>
                      <a:lnTo>
                        <a:pt x="12" y="87"/>
                      </a:lnTo>
                      <a:lnTo>
                        <a:pt x="17" y="85"/>
                      </a:lnTo>
                      <a:lnTo>
                        <a:pt x="25" y="83"/>
                      </a:lnTo>
                      <a:lnTo>
                        <a:pt x="34" y="81"/>
                      </a:lnTo>
                      <a:lnTo>
                        <a:pt x="44" y="79"/>
                      </a:lnTo>
                      <a:lnTo>
                        <a:pt x="52" y="78"/>
                      </a:lnTo>
                      <a:lnTo>
                        <a:pt x="63" y="74"/>
                      </a:lnTo>
                      <a:lnTo>
                        <a:pt x="72" y="72"/>
                      </a:lnTo>
                      <a:lnTo>
                        <a:pt x="82" y="68"/>
                      </a:lnTo>
                      <a:lnTo>
                        <a:pt x="93" y="64"/>
                      </a:lnTo>
                      <a:lnTo>
                        <a:pt x="103" y="59"/>
                      </a:lnTo>
                      <a:lnTo>
                        <a:pt x="112" y="55"/>
                      </a:lnTo>
                      <a:lnTo>
                        <a:pt x="122" y="51"/>
                      </a:lnTo>
                      <a:lnTo>
                        <a:pt x="129" y="45"/>
                      </a:lnTo>
                      <a:lnTo>
                        <a:pt x="137" y="41"/>
                      </a:lnTo>
                      <a:lnTo>
                        <a:pt x="145" y="36"/>
                      </a:lnTo>
                      <a:lnTo>
                        <a:pt x="152" y="32"/>
                      </a:lnTo>
                      <a:lnTo>
                        <a:pt x="160" y="28"/>
                      </a:lnTo>
                      <a:lnTo>
                        <a:pt x="167" y="24"/>
                      </a:lnTo>
                      <a:lnTo>
                        <a:pt x="173" y="21"/>
                      </a:lnTo>
                      <a:lnTo>
                        <a:pt x="179" y="17"/>
                      </a:lnTo>
                      <a:lnTo>
                        <a:pt x="185" y="11"/>
                      </a:lnTo>
                      <a:lnTo>
                        <a:pt x="188" y="9"/>
                      </a:lnTo>
                      <a:lnTo>
                        <a:pt x="192" y="7"/>
                      </a:lnTo>
                      <a:lnTo>
                        <a:pt x="196" y="5"/>
                      </a:lnTo>
                      <a:lnTo>
                        <a:pt x="202" y="2"/>
                      </a:lnTo>
                      <a:lnTo>
                        <a:pt x="204" y="0"/>
                      </a:lnTo>
                      <a:lnTo>
                        <a:pt x="205" y="32"/>
                      </a:lnTo>
                      <a:lnTo>
                        <a:pt x="204" y="34"/>
                      </a:lnTo>
                      <a:lnTo>
                        <a:pt x="198" y="36"/>
                      </a:lnTo>
                      <a:lnTo>
                        <a:pt x="194" y="38"/>
                      </a:lnTo>
                      <a:lnTo>
                        <a:pt x="190" y="40"/>
                      </a:lnTo>
                      <a:lnTo>
                        <a:pt x="186" y="43"/>
                      </a:lnTo>
                      <a:lnTo>
                        <a:pt x="181" y="47"/>
                      </a:lnTo>
                      <a:lnTo>
                        <a:pt x="175" y="49"/>
                      </a:lnTo>
                      <a:lnTo>
                        <a:pt x="169" y="53"/>
                      </a:lnTo>
                      <a:lnTo>
                        <a:pt x="162" y="57"/>
                      </a:lnTo>
                      <a:lnTo>
                        <a:pt x="154" y="62"/>
                      </a:lnTo>
                      <a:lnTo>
                        <a:pt x="147" y="64"/>
                      </a:lnTo>
                      <a:lnTo>
                        <a:pt x="137" y="68"/>
                      </a:lnTo>
                      <a:lnTo>
                        <a:pt x="129" y="72"/>
                      </a:lnTo>
                      <a:lnTo>
                        <a:pt x="120" y="78"/>
                      </a:lnTo>
                      <a:lnTo>
                        <a:pt x="110" y="79"/>
                      </a:lnTo>
                      <a:lnTo>
                        <a:pt x="101" y="81"/>
                      </a:lnTo>
                      <a:lnTo>
                        <a:pt x="90" y="83"/>
                      </a:lnTo>
                      <a:lnTo>
                        <a:pt x="80" y="87"/>
                      </a:lnTo>
                      <a:lnTo>
                        <a:pt x="69" y="87"/>
                      </a:lnTo>
                      <a:lnTo>
                        <a:pt x="59" y="89"/>
                      </a:lnTo>
                      <a:lnTo>
                        <a:pt x="50" y="89"/>
                      </a:lnTo>
                      <a:lnTo>
                        <a:pt x="40" y="91"/>
                      </a:lnTo>
                      <a:lnTo>
                        <a:pt x="31" y="91"/>
                      </a:lnTo>
                      <a:lnTo>
                        <a:pt x="23" y="91"/>
                      </a:lnTo>
                      <a:lnTo>
                        <a:pt x="17" y="91"/>
                      </a:lnTo>
                      <a:lnTo>
                        <a:pt x="12" y="91"/>
                      </a:lnTo>
                      <a:lnTo>
                        <a:pt x="6" y="91"/>
                      </a:lnTo>
                      <a:lnTo>
                        <a:pt x="2" y="91"/>
                      </a:lnTo>
                      <a:lnTo>
                        <a:pt x="0" y="91"/>
                      </a:lnTo>
                      <a:close/>
                    </a:path>
                  </a:pathLst>
                </a:custGeom>
                <a:solidFill>
                  <a:srgbClr val="000000"/>
                </a:solidFill>
                <a:ln w="9525">
                  <a:noFill/>
                  <a:round/>
                  <a:headEnd/>
                  <a:tailEnd/>
                </a:ln>
              </p:spPr>
              <p:txBody>
                <a:bodyPr/>
                <a:lstStyle/>
                <a:p>
                  <a:pPr algn="l" eaLnBrk="1" hangingPunct="1"/>
                  <a:endParaRPr lang="en-US"/>
                </a:p>
              </p:txBody>
            </p:sp>
            <p:sp>
              <p:nvSpPr>
                <p:cNvPr id="1434" name="Freeform 682"/>
                <p:cNvSpPr>
                  <a:spLocks noChangeAspect="1"/>
                </p:cNvSpPr>
                <p:nvPr/>
              </p:nvSpPr>
              <p:spPr bwMode="auto">
                <a:xfrm>
                  <a:off x="2978" y="1994"/>
                  <a:ext cx="26" cy="98"/>
                </a:xfrm>
                <a:custGeom>
                  <a:avLst/>
                  <a:gdLst>
                    <a:gd name="T0" fmla="*/ 53 w 53"/>
                    <a:gd name="T1" fmla="*/ 0 h 196"/>
                    <a:gd name="T2" fmla="*/ 53 w 53"/>
                    <a:gd name="T3" fmla="*/ 0 h 196"/>
                    <a:gd name="T4" fmla="*/ 51 w 53"/>
                    <a:gd name="T5" fmla="*/ 4 h 196"/>
                    <a:gd name="T6" fmla="*/ 51 w 53"/>
                    <a:gd name="T7" fmla="*/ 8 h 196"/>
                    <a:gd name="T8" fmla="*/ 51 w 53"/>
                    <a:gd name="T9" fmla="*/ 13 h 196"/>
                    <a:gd name="T10" fmla="*/ 49 w 53"/>
                    <a:gd name="T11" fmla="*/ 19 h 196"/>
                    <a:gd name="T12" fmla="*/ 47 w 53"/>
                    <a:gd name="T13" fmla="*/ 27 h 196"/>
                    <a:gd name="T14" fmla="*/ 45 w 53"/>
                    <a:gd name="T15" fmla="*/ 34 h 196"/>
                    <a:gd name="T16" fmla="*/ 43 w 53"/>
                    <a:gd name="T17" fmla="*/ 44 h 196"/>
                    <a:gd name="T18" fmla="*/ 41 w 53"/>
                    <a:gd name="T19" fmla="*/ 51 h 196"/>
                    <a:gd name="T20" fmla="*/ 40 w 53"/>
                    <a:gd name="T21" fmla="*/ 61 h 196"/>
                    <a:gd name="T22" fmla="*/ 38 w 53"/>
                    <a:gd name="T23" fmla="*/ 69 h 196"/>
                    <a:gd name="T24" fmla="*/ 36 w 53"/>
                    <a:gd name="T25" fmla="*/ 78 h 196"/>
                    <a:gd name="T26" fmla="*/ 34 w 53"/>
                    <a:gd name="T27" fmla="*/ 88 h 196"/>
                    <a:gd name="T28" fmla="*/ 32 w 53"/>
                    <a:gd name="T29" fmla="*/ 95 h 196"/>
                    <a:gd name="T30" fmla="*/ 30 w 53"/>
                    <a:gd name="T31" fmla="*/ 103 h 196"/>
                    <a:gd name="T32" fmla="*/ 30 w 53"/>
                    <a:gd name="T33" fmla="*/ 110 h 196"/>
                    <a:gd name="T34" fmla="*/ 28 w 53"/>
                    <a:gd name="T35" fmla="*/ 118 h 196"/>
                    <a:gd name="T36" fmla="*/ 26 w 53"/>
                    <a:gd name="T37" fmla="*/ 124 h 196"/>
                    <a:gd name="T38" fmla="*/ 24 w 53"/>
                    <a:gd name="T39" fmla="*/ 131 h 196"/>
                    <a:gd name="T40" fmla="*/ 24 w 53"/>
                    <a:gd name="T41" fmla="*/ 139 h 196"/>
                    <a:gd name="T42" fmla="*/ 22 w 53"/>
                    <a:gd name="T43" fmla="*/ 145 h 196"/>
                    <a:gd name="T44" fmla="*/ 22 w 53"/>
                    <a:gd name="T45" fmla="*/ 152 h 196"/>
                    <a:gd name="T46" fmla="*/ 21 w 53"/>
                    <a:gd name="T47" fmla="*/ 160 h 196"/>
                    <a:gd name="T48" fmla="*/ 21 w 53"/>
                    <a:gd name="T49" fmla="*/ 167 h 196"/>
                    <a:gd name="T50" fmla="*/ 21 w 53"/>
                    <a:gd name="T51" fmla="*/ 171 h 196"/>
                    <a:gd name="T52" fmla="*/ 19 w 53"/>
                    <a:gd name="T53" fmla="*/ 177 h 196"/>
                    <a:gd name="T54" fmla="*/ 19 w 53"/>
                    <a:gd name="T55" fmla="*/ 183 h 196"/>
                    <a:gd name="T56" fmla="*/ 19 w 53"/>
                    <a:gd name="T57" fmla="*/ 188 h 196"/>
                    <a:gd name="T58" fmla="*/ 19 w 53"/>
                    <a:gd name="T59" fmla="*/ 194 h 196"/>
                    <a:gd name="T60" fmla="*/ 19 w 53"/>
                    <a:gd name="T61" fmla="*/ 196 h 196"/>
                    <a:gd name="T62" fmla="*/ 2 w 53"/>
                    <a:gd name="T63" fmla="*/ 194 h 196"/>
                    <a:gd name="T64" fmla="*/ 2 w 53"/>
                    <a:gd name="T65" fmla="*/ 192 h 196"/>
                    <a:gd name="T66" fmla="*/ 2 w 53"/>
                    <a:gd name="T67" fmla="*/ 188 h 196"/>
                    <a:gd name="T68" fmla="*/ 0 w 53"/>
                    <a:gd name="T69" fmla="*/ 185 h 196"/>
                    <a:gd name="T70" fmla="*/ 0 w 53"/>
                    <a:gd name="T71" fmla="*/ 181 h 196"/>
                    <a:gd name="T72" fmla="*/ 0 w 53"/>
                    <a:gd name="T73" fmla="*/ 175 h 196"/>
                    <a:gd name="T74" fmla="*/ 0 w 53"/>
                    <a:gd name="T75" fmla="*/ 171 h 196"/>
                    <a:gd name="T76" fmla="*/ 0 w 53"/>
                    <a:gd name="T77" fmla="*/ 164 h 196"/>
                    <a:gd name="T78" fmla="*/ 0 w 53"/>
                    <a:gd name="T79" fmla="*/ 158 h 196"/>
                    <a:gd name="T80" fmla="*/ 0 w 53"/>
                    <a:gd name="T81" fmla="*/ 152 h 196"/>
                    <a:gd name="T82" fmla="*/ 2 w 53"/>
                    <a:gd name="T83" fmla="*/ 145 h 196"/>
                    <a:gd name="T84" fmla="*/ 2 w 53"/>
                    <a:gd name="T85" fmla="*/ 137 h 196"/>
                    <a:gd name="T86" fmla="*/ 2 w 53"/>
                    <a:gd name="T87" fmla="*/ 131 h 196"/>
                    <a:gd name="T88" fmla="*/ 2 w 53"/>
                    <a:gd name="T89" fmla="*/ 124 h 196"/>
                    <a:gd name="T90" fmla="*/ 5 w 53"/>
                    <a:gd name="T91" fmla="*/ 116 h 196"/>
                    <a:gd name="T92" fmla="*/ 5 w 53"/>
                    <a:gd name="T93" fmla="*/ 109 h 196"/>
                    <a:gd name="T94" fmla="*/ 7 w 53"/>
                    <a:gd name="T95" fmla="*/ 99 h 196"/>
                    <a:gd name="T96" fmla="*/ 11 w 53"/>
                    <a:gd name="T97" fmla="*/ 90 h 196"/>
                    <a:gd name="T98" fmla="*/ 15 w 53"/>
                    <a:gd name="T99" fmla="*/ 82 h 196"/>
                    <a:gd name="T100" fmla="*/ 19 w 53"/>
                    <a:gd name="T101" fmla="*/ 70 h 196"/>
                    <a:gd name="T102" fmla="*/ 22 w 53"/>
                    <a:gd name="T103" fmla="*/ 63 h 196"/>
                    <a:gd name="T104" fmla="*/ 26 w 53"/>
                    <a:gd name="T105" fmla="*/ 53 h 196"/>
                    <a:gd name="T106" fmla="*/ 32 w 53"/>
                    <a:gd name="T107" fmla="*/ 44 h 196"/>
                    <a:gd name="T108" fmla="*/ 36 w 53"/>
                    <a:gd name="T109" fmla="*/ 34 h 196"/>
                    <a:gd name="T110" fmla="*/ 40 w 53"/>
                    <a:gd name="T111" fmla="*/ 27 h 196"/>
                    <a:gd name="T112" fmla="*/ 43 w 53"/>
                    <a:gd name="T113" fmla="*/ 19 h 196"/>
                    <a:gd name="T114" fmla="*/ 47 w 53"/>
                    <a:gd name="T115" fmla="*/ 13 h 196"/>
                    <a:gd name="T116" fmla="*/ 49 w 53"/>
                    <a:gd name="T117" fmla="*/ 8 h 196"/>
                    <a:gd name="T118" fmla="*/ 51 w 53"/>
                    <a:gd name="T119" fmla="*/ 4 h 196"/>
                    <a:gd name="T120" fmla="*/ 53 w 53"/>
                    <a:gd name="T121" fmla="*/ 0 h 196"/>
                    <a:gd name="T122" fmla="*/ 53 w 53"/>
                    <a:gd name="T123" fmla="*/ 0 h 196"/>
                    <a:gd name="T124" fmla="*/ 53 w 53"/>
                    <a:gd name="T125" fmla="*/ 0 h 1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
                    <a:gd name="T190" fmla="*/ 0 h 196"/>
                    <a:gd name="T191" fmla="*/ 53 w 53"/>
                    <a:gd name="T192" fmla="*/ 196 h 1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 h="196">
                      <a:moveTo>
                        <a:pt x="53" y="0"/>
                      </a:moveTo>
                      <a:lnTo>
                        <a:pt x="53" y="0"/>
                      </a:lnTo>
                      <a:lnTo>
                        <a:pt x="51" y="4"/>
                      </a:lnTo>
                      <a:lnTo>
                        <a:pt x="51" y="8"/>
                      </a:lnTo>
                      <a:lnTo>
                        <a:pt x="51" y="13"/>
                      </a:lnTo>
                      <a:lnTo>
                        <a:pt x="49" y="19"/>
                      </a:lnTo>
                      <a:lnTo>
                        <a:pt x="47" y="27"/>
                      </a:lnTo>
                      <a:lnTo>
                        <a:pt x="45" y="34"/>
                      </a:lnTo>
                      <a:lnTo>
                        <a:pt x="43" y="44"/>
                      </a:lnTo>
                      <a:lnTo>
                        <a:pt x="41" y="51"/>
                      </a:lnTo>
                      <a:lnTo>
                        <a:pt x="40" y="61"/>
                      </a:lnTo>
                      <a:lnTo>
                        <a:pt x="38" y="69"/>
                      </a:lnTo>
                      <a:lnTo>
                        <a:pt x="36" y="78"/>
                      </a:lnTo>
                      <a:lnTo>
                        <a:pt x="34" y="88"/>
                      </a:lnTo>
                      <a:lnTo>
                        <a:pt x="32" y="95"/>
                      </a:lnTo>
                      <a:lnTo>
                        <a:pt x="30" y="103"/>
                      </a:lnTo>
                      <a:lnTo>
                        <a:pt x="30" y="110"/>
                      </a:lnTo>
                      <a:lnTo>
                        <a:pt x="28" y="118"/>
                      </a:lnTo>
                      <a:lnTo>
                        <a:pt x="26" y="124"/>
                      </a:lnTo>
                      <a:lnTo>
                        <a:pt x="24" y="131"/>
                      </a:lnTo>
                      <a:lnTo>
                        <a:pt x="24" y="139"/>
                      </a:lnTo>
                      <a:lnTo>
                        <a:pt x="22" y="145"/>
                      </a:lnTo>
                      <a:lnTo>
                        <a:pt x="22" y="152"/>
                      </a:lnTo>
                      <a:lnTo>
                        <a:pt x="21" y="160"/>
                      </a:lnTo>
                      <a:lnTo>
                        <a:pt x="21" y="167"/>
                      </a:lnTo>
                      <a:lnTo>
                        <a:pt x="21" y="171"/>
                      </a:lnTo>
                      <a:lnTo>
                        <a:pt x="19" y="177"/>
                      </a:lnTo>
                      <a:lnTo>
                        <a:pt x="19" y="183"/>
                      </a:lnTo>
                      <a:lnTo>
                        <a:pt x="19" y="188"/>
                      </a:lnTo>
                      <a:lnTo>
                        <a:pt x="19" y="194"/>
                      </a:lnTo>
                      <a:lnTo>
                        <a:pt x="19" y="196"/>
                      </a:lnTo>
                      <a:lnTo>
                        <a:pt x="2" y="194"/>
                      </a:lnTo>
                      <a:lnTo>
                        <a:pt x="2" y="192"/>
                      </a:lnTo>
                      <a:lnTo>
                        <a:pt x="2" y="188"/>
                      </a:lnTo>
                      <a:lnTo>
                        <a:pt x="0" y="185"/>
                      </a:lnTo>
                      <a:lnTo>
                        <a:pt x="0" y="181"/>
                      </a:lnTo>
                      <a:lnTo>
                        <a:pt x="0" y="175"/>
                      </a:lnTo>
                      <a:lnTo>
                        <a:pt x="0" y="171"/>
                      </a:lnTo>
                      <a:lnTo>
                        <a:pt x="0" y="164"/>
                      </a:lnTo>
                      <a:lnTo>
                        <a:pt x="0" y="158"/>
                      </a:lnTo>
                      <a:lnTo>
                        <a:pt x="0" y="152"/>
                      </a:lnTo>
                      <a:lnTo>
                        <a:pt x="2" y="145"/>
                      </a:lnTo>
                      <a:lnTo>
                        <a:pt x="2" y="137"/>
                      </a:lnTo>
                      <a:lnTo>
                        <a:pt x="2" y="131"/>
                      </a:lnTo>
                      <a:lnTo>
                        <a:pt x="2" y="124"/>
                      </a:lnTo>
                      <a:lnTo>
                        <a:pt x="5" y="116"/>
                      </a:lnTo>
                      <a:lnTo>
                        <a:pt x="5" y="109"/>
                      </a:lnTo>
                      <a:lnTo>
                        <a:pt x="7" y="99"/>
                      </a:lnTo>
                      <a:lnTo>
                        <a:pt x="11" y="90"/>
                      </a:lnTo>
                      <a:lnTo>
                        <a:pt x="15" y="82"/>
                      </a:lnTo>
                      <a:lnTo>
                        <a:pt x="19" y="70"/>
                      </a:lnTo>
                      <a:lnTo>
                        <a:pt x="22" y="63"/>
                      </a:lnTo>
                      <a:lnTo>
                        <a:pt x="26" y="53"/>
                      </a:lnTo>
                      <a:lnTo>
                        <a:pt x="32" y="44"/>
                      </a:lnTo>
                      <a:lnTo>
                        <a:pt x="36" y="34"/>
                      </a:lnTo>
                      <a:lnTo>
                        <a:pt x="40" y="27"/>
                      </a:lnTo>
                      <a:lnTo>
                        <a:pt x="43" y="19"/>
                      </a:lnTo>
                      <a:lnTo>
                        <a:pt x="47" y="13"/>
                      </a:lnTo>
                      <a:lnTo>
                        <a:pt x="49" y="8"/>
                      </a:lnTo>
                      <a:lnTo>
                        <a:pt x="51" y="4"/>
                      </a:lnTo>
                      <a:lnTo>
                        <a:pt x="53" y="0"/>
                      </a:lnTo>
                      <a:close/>
                    </a:path>
                  </a:pathLst>
                </a:custGeom>
                <a:solidFill>
                  <a:srgbClr val="000000"/>
                </a:solidFill>
                <a:ln w="9525">
                  <a:noFill/>
                  <a:round/>
                  <a:headEnd/>
                  <a:tailEnd/>
                </a:ln>
              </p:spPr>
              <p:txBody>
                <a:bodyPr/>
                <a:lstStyle/>
                <a:p>
                  <a:pPr algn="l" eaLnBrk="1" hangingPunct="1"/>
                  <a:endParaRPr lang="en-US"/>
                </a:p>
              </p:txBody>
            </p:sp>
            <p:sp>
              <p:nvSpPr>
                <p:cNvPr id="1435" name="Freeform 683"/>
                <p:cNvSpPr>
                  <a:spLocks noChangeAspect="1"/>
                </p:cNvSpPr>
                <p:nvPr/>
              </p:nvSpPr>
              <p:spPr bwMode="auto">
                <a:xfrm>
                  <a:off x="2730" y="1980"/>
                  <a:ext cx="95" cy="24"/>
                </a:xfrm>
                <a:custGeom>
                  <a:avLst/>
                  <a:gdLst>
                    <a:gd name="T0" fmla="*/ 11 w 190"/>
                    <a:gd name="T1" fmla="*/ 47 h 47"/>
                    <a:gd name="T2" fmla="*/ 11 w 190"/>
                    <a:gd name="T3" fmla="*/ 47 h 47"/>
                    <a:gd name="T4" fmla="*/ 15 w 190"/>
                    <a:gd name="T5" fmla="*/ 47 h 47"/>
                    <a:gd name="T6" fmla="*/ 19 w 190"/>
                    <a:gd name="T7" fmla="*/ 45 h 47"/>
                    <a:gd name="T8" fmla="*/ 26 w 190"/>
                    <a:gd name="T9" fmla="*/ 45 h 47"/>
                    <a:gd name="T10" fmla="*/ 34 w 190"/>
                    <a:gd name="T11" fmla="*/ 43 h 47"/>
                    <a:gd name="T12" fmla="*/ 43 w 190"/>
                    <a:gd name="T13" fmla="*/ 43 h 47"/>
                    <a:gd name="T14" fmla="*/ 55 w 190"/>
                    <a:gd name="T15" fmla="*/ 41 h 47"/>
                    <a:gd name="T16" fmla="*/ 66 w 190"/>
                    <a:gd name="T17" fmla="*/ 40 h 47"/>
                    <a:gd name="T18" fmla="*/ 78 w 190"/>
                    <a:gd name="T19" fmla="*/ 38 h 47"/>
                    <a:gd name="T20" fmla="*/ 89 w 190"/>
                    <a:gd name="T21" fmla="*/ 38 h 47"/>
                    <a:gd name="T22" fmla="*/ 99 w 190"/>
                    <a:gd name="T23" fmla="*/ 34 h 47"/>
                    <a:gd name="T24" fmla="*/ 112 w 190"/>
                    <a:gd name="T25" fmla="*/ 34 h 47"/>
                    <a:gd name="T26" fmla="*/ 121 w 190"/>
                    <a:gd name="T27" fmla="*/ 30 h 47"/>
                    <a:gd name="T28" fmla="*/ 131 w 190"/>
                    <a:gd name="T29" fmla="*/ 30 h 47"/>
                    <a:gd name="T30" fmla="*/ 138 w 190"/>
                    <a:gd name="T31" fmla="*/ 28 h 47"/>
                    <a:gd name="T32" fmla="*/ 148 w 190"/>
                    <a:gd name="T33" fmla="*/ 26 h 47"/>
                    <a:gd name="T34" fmla="*/ 152 w 190"/>
                    <a:gd name="T35" fmla="*/ 22 h 47"/>
                    <a:gd name="T36" fmla="*/ 157 w 190"/>
                    <a:gd name="T37" fmla="*/ 21 h 47"/>
                    <a:gd name="T38" fmla="*/ 163 w 190"/>
                    <a:gd name="T39" fmla="*/ 19 h 47"/>
                    <a:gd name="T40" fmla="*/ 167 w 190"/>
                    <a:gd name="T41" fmla="*/ 17 h 47"/>
                    <a:gd name="T42" fmla="*/ 175 w 190"/>
                    <a:gd name="T43" fmla="*/ 11 h 47"/>
                    <a:gd name="T44" fmla="*/ 180 w 190"/>
                    <a:gd name="T45" fmla="*/ 9 h 47"/>
                    <a:gd name="T46" fmla="*/ 184 w 190"/>
                    <a:gd name="T47" fmla="*/ 3 h 47"/>
                    <a:gd name="T48" fmla="*/ 186 w 190"/>
                    <a:gd name="T49" fmla="*/ 2 h 47"/>
                    <a:gd name="T50" fmla="*/ 188 w 190"/>
                    <a:gd name="T51" fmla="*/ 0 h 47"/>
                    <a:gd name="T52" fmla="*/ 190 w 190"/>
                    <a:gd name="T53" fmla="*/ 0 h 47"/>
                    <a:gd name="T54" fmla="*/ 186 w 190"/>
                    <a:gd name="T55" fmla="*/ 0 h 47"/>
                    <a:gd name="T56" fmla="*/ 182 w 190"/>
                    <a:gd name="T57" fmla="*/ 0 h 47"/>
                    <a:gd name="T58" fmla="*/ 173 w 190"/>
                    <a:gd name="T59" fmla="*/ 2 h 47"/>
                    <a:gd name="T60" fmla="*/ 163 w 190"/>
                    <a:gd name="T61" fmla="*/ 3 h 47"/>
                    <a:gd name="T62" fmla="*/ 150 w 190"/>
                    <a:gd name="T63" fmla="*/ 5 h 47"/>
                    <a:gd name="T64" fmla="*/ 137 w 190"/>
                    <a:gd name="T65" fmla="*/ 7 h 47"/>
                    <a:gd name="T66" fmla="*/ 121 w 190"/>
                    <a:gd name="T67" fmla="*/ 9 h 47"/>
                    <a:gd name="T68" fmla="*/ 106 w 190"/>
                    <a:gd name="T69" fmla="*/ 11 h 47"/>
                    <a:gd name="T70" fmla="*/ 89 w 190"/>
                    <a:gd name="T71" fmla="*/ 13 h 47"/>
                    <a:gd name="T72" fmla="*/ 74 w 190"/>
                    <a:gd name="T73" fmla="*/ 15 h 47"/>
                    <a:gd name="T74" fmla="*/ 59 w 190"/>
                    <a:gd name="T75" fmla="*/ 17 h 47"/>
                    <a:gd name="T76" fmla="*/ 45 w 190"/>
                    <a:gd name="T77" fmla="*/ 19 h 47"/>
                    <a:gd name="T78" fmla="*/ 32 w 190"/>
                    <a:gd name="T79" fmla="*/ 19 h 47"/>
                    <a:gd name="T80" fmla="*/ 21 w 190"/>
                    <a:gd name="T81" fmla="*/ 21 h 47"/>
                    <a:gd name="T82" fmla="*/ 13 w 190"/>
                    <a:gd name="T83" fmla="*/ 21 h 47"/>
                    <a:gd name="T84" fmla="*/ 9 w 190"/>
                    <a:gd name="T85" fmla="*/ 22 h 47"/>
                    <a:gd name="T86" fmla="*/ 4 w 190"/>
                    <a:gd name="T87" fmla="*/ 22 h 47"/>
                    <a:gd name="T88" fmla="*/ 2 w 190"/>
                    <a:gd name="T89" fmla="*/ 26 h 47"/>
                    <a:gd name="T90" fmla="*/ 0 w 190"/>
                    <a:gd name="T91" fmla="*/ 30 h 47"/>
                    <a:gd name="T92" fmla="*/ 2 w 190"/>
                    <a:gd name="T93" fmla="*/ 34 h 47"/>
                    <a:gd name="T94" fmla="*/ 5 w 190"/>
                    <a:gd name="T95" fmla="*/ 40 h 47"/>
                    <a:gd name="T96" fmla="*/ 7 w 190"/>
                    <a:gd name="T97" fmla="*/ 43 h 47"/>
                    <a:gd name="T98" fmla="*/ 9 w 190"/>
                    <a:gd name="T99" fmla="*/ 45 h 47"/>
                    <a:gd name="T100" fmla="*/ 11 w 190"/>
                    <a:gd name="T101" fmla="*/ 47 h 47"/>
                    <a:gd name="T102" fmla="*/ 11 w 190"/>
                    <a:gd name="T103" fmla="*/ 47 h 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0"/>
                    <a:gd name="T157" fmla="*/ 0 h 47"/>
                    <a:gd name="T158" fmla="*/ 190 w 190"/>
                    <a:gd name="T159" fmla="*/ 47 h 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0" h="47">
                      <a:moveTo>
                        <a:pt x="11" y="47"/>
                      </a:moveTo>
                      <a:lnTo>
                        <a:pt x="11" y="47"/>
                      </a:lnTo>
                      <a:lnTo>
                        <a:pt x="15" y="47"/>
                      </a:lnTo>
                      <a:lnTo>
                        <a:pt x="19" y="45"/>
                      </a:lnTo>
                      <a:lnTo>
                        <a:pt x="26" y="45"/>
                      </a:lnTo>
                      <a:lnTo>
                        <a:pt x="34" y="43"/>
                      </a:lnTo>
                      <a:lnTo>
                        <a:pt x="43" y="43"/>
                      </a:lnTo>
                      <a:lnTo>
                        <a:pt x="55" y="41"/>
                      </a:lnTo>
                      <a:lnTo>
                        <a:pt x="66" y="40"/>
                      </a:lnTo>
                      <a:lnTo>
                        <a:pt x="78" y="38"/>
                      </a:lnTo>
                      <a:lnTo>
                        <a:pt x="89" y="38"/>
                      </a:lnTo>
                      <a:lnTo>
                        <a:pt x="99" y="34"/>
                      </a:lnTo>
                      <a:lnTo>
                        <a:pt x="112" y="34"/>
                      </a:lnTo>
                      <a:lnTo>
                        <a:pt x="121" y="30"/>
                      </a:lnTo>
                      <a:lnTo>
                        <a:pt x="131" y="30"/>
                      </a:lnTo>
                      <a:lnTo>
                        <a:pt x="138" y="28"/>
                      </a:lnTo>
                      <a:lnTo>
                        <a:pt x="148" y="26"/>
                      </a:lnTo>
                      <a:lnTo>
                        <a:pt x="152" y="22"/>
                      </a:lnTo>
                      <a:lnTo>
                        <a:pt x="157" y="21"/>
                      </a:lnTo>
                      <a:lnTo>
                        <a:pt x="163" y="19"/>
                      </a:lnTo>
                      <a:lnTo>
                        <a:pt x="167" y="17"/>
                      </a:lnTo>
                      <a:lnTo>
                        <a:pt x="175" y="11"/>
                      </a:lnTo>
                      <a:lnTo>
                        <a:pt x="180" y="9"/>
                      </a:lnTo>
                      <a:lnTo>
                        <a:pt x="184" y="3"/>
                      </a:lnTo>
                      <a:lnTo>
                        <a:pt x="186" y="2"/>
                      </a:lnTo>
                      <a:lnTo>
                        <a:pt x="188" y="0"/>
                      </a:lnTo>
                      <a:lnTo>
                        <a:pt x="190" y="0"/>
                      </a:lnTo>
                      <a:lnTo>
                        <a:pt x="186" y="0"/>
                      </a:lnTo>
                      <a:lnTo>
                        <a:pt x="182" y="0"/>
                      </a:lnTo>
                      <a:lnTo>
                        <a:pt x="173" y="2"/>
                      </a:lnTo>
                      <a:lnTo>
                        <a:pt x="163" y="3"/>
                      </a:lnTo>
                      <a:lnTo>
                        <a:pt x="150" y="5"/>
                      </a:lnTo>
                      <a:lnTo>
                        <a:pt x="137" y="7"/>
                      </a:lnTo>
                      <a:lnTo>
                        <a:pt x="121" y="9"/>
                      </a:lnTo>
                      <a:lnTo>
                        <a:pt x="106" y="11"/>
                      </a:lnTo>
                      <a:lnTo>
                        <a:pt x="89" y="13"/>
                      </a:lnTo>
                      <a:lnTo>
                        <a:pt x="74" y="15"/>
                      </a:lnTo>
                      <a:lnTo>
                        <a:pt x="59" y="17"/>
                      </a:lnTo>
                      <a:lnTo>
                        <a:pt x="45" y="19"/>
                      </a:lnTo>
                      <a:lnTo>
                        <a:pt x="32" y="19"/>
                      </a:lnTo>
                      <a:lnTo>
                        <a:pt x="21" y="21"/>
                      </a:lnTo>
                      <a:lnTo>
                        <a:pt x="13" y="21"/>
                      </a:lnTo>
                      <a:lnTo>
                        <a:pt x="9" y="22"/>
                      </a:lnTo>
                      <a:lnTo>
                        <a:pt x="4" y="22"/>
                      </a:lnTo>
                      <a:lnTo>
                        <a:pt x="2" y="26"/>
                      </a:lnTo>
                      <a:lnTo>
                        <a:pt x="0" y="30"/>
                      </a:lnTo>
                      <a:lnTo>
                        <a:pt x="2" y="34"/>
                      </a:lnTo>
                      <a:lnTo>
                        <a:pt x="5" y="40"/>
                      </a:lnTo>
                      <a:lnTo>
                        <a:pt x="7" y="43"/>
                      </a:lnTo>
                      <a:lnTo>
                        <a:pt x="9" y="45"/>
                      </a:lnTo>
                      <a:lnTo>
                        <a:pt x="11" y="47"/>
                      </a:lnTo>
                      <a:close/>
                    </a:path>
                  </a:pathLst>
                </a:custGeom>
                <a:solidFill>
                  <a:srgbClr val="000000"/>
                </a:solidFill>
                <a:ln w="9525">
                  <a:noFill/>
                  <a:round/>
                  <a:headEnd/>
                  <a:tailEnd/>
                </a:ln>
              </p:spPr>
              <p:txBody>
                <a:bodyPr/>
                <a:lstStyle/>
                <a:p>
                  <a:pPr algn="l" eaLnBrk="1" hangingPunct="1"/>
                  <a:endParaRPr lang="en-US"/>
                </a:p>
              </p:txBody>
            </p:sp>
            <p:sp>
              <p:nvSpPr>
                <p:cNvPr id="1436" name="Freeform 684"/>
                <p:cNvSpPr>
                  <a:spLocks noChangeAspect="1"/>
                </p:cNvSpPr>
                <p:nvPr/>
              </p:nvSpPr>
              <p:spPr bwMode="auto">
                <a:xfrm>
                  <a:off x="2809" y="1983"/>
                  <a:ext cx="192" cy="22"/>
                </a:xfrm>
                <a:custGeom>
                  <a:avLst/>
                  <a:gdLst>
                    <a:gd name="T0" fmla="*/ 0 w 384"/>
                    <a:gd name="T1" fmla="*/ 14 h 44"/>
                    <a:gd name="T2" fmla="*/ 8 w 384"/>
                    <a:gd name="T3" fmla="*/ 16 h 44"/>
                    <a:gd name="T4" fmla="*/ 25 w 384"/>
                    <a:gd name="T5" fmla="*/ 19 h 44"/>
                    <a:gd name="T6" fmla="*/ 48 w 384"/>
                    <a:gd name="T7" fmla="*/ 23 h 44"/>
                    <a:gd name="T8" fmla="*/ 75 w 384"/>
                    <a:gd name="T9" fmla="*/ 29 h 44"/>
                    <a:gd name="T10" fmla="*/ 103 w 384"/>
                    <a:gd name="T11" fmla="*/ 33 h 44"/>
                    <a:gd name="T12" fmla="*/ 135 w 384"/>
                    <a:gd name="T13" fmla="*/ 36 h 44"/>
                    <a:gd name="T14" fmla="*/ 170 w 384"/>
                    <a:gd name="T15" fmla="*/ 40 h 44"/>
                    <a:gd name="T16" fmla="*/ 200 w 384"/>
                    <a:gd name="T17" fmla="*/ 42 h 44"/>
                    <a:gd name="T18" fmla="*/ 234 w 384"/>
                    <a:gd name="T19" fmla="*/ 42 h 44"/>
                    <a:gd name="T20" fmla="*/ 266 w 384"/>
                    <a:gd name="T21" fmla="*/ 40 h 44"/>
                    <a:gd name="T22" fmla="*/ 299 w 384"/>
                    <a:gd name="T23" fmla="*/ 36 h 44"/>
                    <a:gd name="T24" fmla="*/ 329 w 384"/>
                    <a:gd name="T25" fmla="*/ 33 h 44"/>
                    <a:gd name="T26" fmla="*/ 354 w 384"/>
                    <a:gd name="T27" fmla="*/ 29 h 44"/>
                    <a:gd name="T28" fmla="*/ 371 w 384"/>
                    <a:gd name="T29" fmla="*/ 25 h 44"/>
                    <a:gd name="T30" fmla="*/ 380 w 384"/>
                    <a:gd name="T31" fmla="*/ 23 h 44"/>
                    <a:gd name="T32" fmla="*/ 380 w 384"/>
                    <a:gd name="T33" fmla="*/ 23 h 44"/>
                    <a:gd name="T34" fmla="*/ 363 w 384"/>
                    <a:gd name="T35" fmla="*/ 23 h 44"/>
                    <a:gd name="T36" fmla="*/ 335 w 384"/>
                    <a:gd name="T37" fmla="*/ 21 h 44"/>
                    <a:gd name="T38" fmla="*/ 297 w 384"/>
                    <a:gd name="T39" fmla="*/ 19 h 44"/>
                    <a:gd name="T40" fmla="*/ 255 w 384"/>
                    <a:gd name="T41" fmla="*/ 19 h 44"/>
                    <a:gd name="T42" fmla="*/ 213 w 384"/>
                    <a:gd name="T43" fmla="*/ 17 h 44"/>
                    <a:gd name="T44" fmla="*/ 175 w 384"/>
                    <a:gd name="T45" fmla="*/ 16 h 44"/>
                    <a:gd name="T46" fmla="*/ 147 w 384"/>
                    <a:gd name="T47" fmla="*/ 14 h 44"/>
                    <a:gd name="T48" fmla="*/ 132 w 384"/>
                    <a:gd name="T49" fmla="*/ 14 h 44"/>
                    <a:gd name="T50" fmla="*/ 113 w 384"/>
                    <a:gd name="T51" fmla="*/ 10 h 44"/>
                    <a:gd name="T52" fmla="*/ 95 w 384"/>
                    <a:gd name="T53" fmla="*/ 8 h 44"/>
                    <a:gd name="T54" fmla="*/ 76 w 384"/>
                    <a:gd name="T55" fmla="*/ 6 h 44"/>
                    <a:gd name="T56" fmla="*/ 59 w 384"/>
                    <a:gd name="T57" fmla="*/ 4 h 44"/>
                    <a:gd name="T58" fmla="*/ 44 w 384"/>
                    <a:gd name="T59" fmla="*/ 2 h 44"/>
                    <a:gd name="T60" fmla="*/ 35 w 384"/>
                    <a:gd name="T61" fmla="*/ 0 h 44"/>
                    <a:gd name="T62" fmla="*/ 29 w 384"/>
                    <a:gd name="T63" fmla="*/ 0 h 44"/>
                    <a:gd name="T64" fmla="*/ 0 w 384"/>
                    <a:gd name="T65" fmla="*/ 14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4"/>
                    <a:gd name="T100" fmla="*/ 0 h 44"/>
                    <a:gd name="T101" fmla="*/ 384 w 384"/>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4" h="44">
                      <a:moveTo>
                        <a:pt x="0" y="14"/>
                      </a:moveTo>
                      <a:lnTo>
                        <a:pt x="0" y="14"/>
                      </a:lnTo>
                      <a:lnTo>
                        <a:pt x="4" y="16"/>
                      </a:lnTo>
                      <a:lnTo>
                        <a:pt x="8" y="16"/>
                      </a:lnTo>
                      <a:lnTo>
                        <a:pt x="18" y="17"/>
                      </a:lnTo>
                      <a:lnTo>
                        <a:pt x="25" y="19"/>
                      </a:lnTo>
                      <a:lnTo>
                        <a:pt x="35" y="21"/>
                      </a:lnTo>
                      <a:lnTo>
                        <a:pt x="48" y="23"/>
                      </a:lnTo>
                      <a:lnTo>
                        <a:pt x="61" y="25"/>
                      </a:lnTo>
                      <a:lnTo>
                        <a:pt x="75" y="29"/>
                      </a:lnTo>
                      <a:lnTo>
                        <a:pt x="88" y="31"/>
                      </a:lnTo>
                      <a:lnTo>
                        <a:pt x="103" y="33"/>
                      </a:lnTo>
                      <a:lnTo>
                        <a:pt x="120" y="35"/>
                      </a:lnTo>
                      <a:lnTo>
                        <a:pt x="135" y="36"/>
                      </a:lnTo>
                      <a:lnTo>
                        <a:pt x="152" y="38"/>
                      </a:lnTo>
                      <a:lnTo>
                        <a:pt x="170" y="40"/>
                      </a:lnTo>
                      <a:lnTo>
                        <a:pt x="185" y="42"/>
                      </a:lnTo>
                      <a:lnTo>
                        <a:pt x="200" y="42"/>
                      </a:lnTo>
                      <a:lnTo>
                        <a:pt x="217" y="44"/>
                      </a:lnTo>
                      <a:lnTo>
                        <a:pt x="234" y="42"/>
                      </a:lnTo>
                      <a:lnTo>
                        <a:pt x="251" y="42"/>
                      </a:lnTo>
                      <a:lnTo>
                        <a:pt x="266" y="40"/>
                      </a:lnTo>
                      <a:lnTo>
                        <a:pt x="284" y="38"/>
                      </a:lnTo>
                      <a:lnTo>
                        <a:pt x="299" y="36"/>
                      </a:lnTo>
                      <a:lnTo>
                        <a:pt x="316" y="35"/>
                      </a:lnTo>
                      <a:lnTo>
                        <a:pt x="329" y="33"/>
                      </a:lnTo>
                      <a:lnTo>
                        <a:pt x="342" y="31"/>
                      </a:lnTo>
                      <a:lnTo>
                        <a:pt x="354" y="29"/>
                      </a:lnTo>
                      <a:lnTo>
                        <a:pt x="363" y="27"/>
                      </a:lnTo>
                      <a:lnTo>
                        <a:pt x="371" y="25"/>
                      </a:lnTo>
                      <a:lnTo>
                        <a:pt x="379" y="25"/>
                      </a:lnTo>
                      <a:lnTo>
                        <a:pt x="380" y="23"/>
                      </a:lnTo>
                      <a:lnTo>
                        <a:pt x="384" y="23"/>
                      </a:lnTo>
                      <a:lnTo>
                        <a:pt x="380" y="23"/>
                      </a:lnTo>
                      <a:lnTo>
                        <a:pt x="375" y="23"/>
                      </a:lnTo>
                      <a:lnTo>
                        <a:pt x="363" y="23"/>
                      </a:lnTo>
                      <a:lnTo>
                        <a:pt x="350" y="23"/>
                      </a:lnTo>
                      <a:lnTo>
                        <a:pt x="335" y="21"/>
                      </a:lnTo>
                      <a:lnTo>
                        <a:pt x="316" y="21"/>
                      </a:lnTo>
                      <a:lnTo>
                        <a:pt x="297" y="19"/>
                      </a:lnTo>
                      <a:lnTo>
                        <a:pt x="276" y="19"/>
                      </a:lnTo>
                      <a:lnTo>
                        <a:pt x="255" y="19"/>
                      </a:lnTo>
                      <a:lnTo>
                        <a:pt x="234" y="19"/>
                      </a:lnTo>
                      <a:lnTo>
                        <a:pt x="213" y="17"/>
                      </a:lnTo>
                      <a:lnTo>
                        <a:pt x="194" y="17"/>
                      </a:lnTo>
                      <a:lnTo>
                        <a:pt x="175" y="16"/>
                      </a:lnTo>
                      <a:lnTo>
                        <a:pt x="160" y="16"/>
                      </a:lnTo>
                      <a:lnTo>
                        <a:pt x="147" y="14"/>
                      </a:lnTo>
                      <a:lnTo>
                        <a:pt x="139" y="14"/>
                      </a:lnTo>
                      <a:lnTo>
                        <a:pt x="132" y="14"/>
                      </a:lnTo>
                      <a:lnTo>
                        <a:pt x="122" y="12"/>
                      </a:lnTo>
                      <a:lnTo>
                        <a:pt x="113" y="10"/>
                      </a:lnTo>
                      <a:lnTo>
                        <a:pt x="105" y="10"/>
                      </a:lnTo>
                      <a:lnTo>
                        <a:pt x="95" y="8"/>
                      </a:lnTo>
                      <a:lnTo>
                        <a:pt x="86" y="8"/>
                      </a:lnTo>
                      <a:lnTo>
                        <a:pt x="76" y="6"/>
                      </a:lnTo>
                      <a:lnTo>
                        <a:pt x="69" y="6"/>
                      </a:lnTo>
                      <a:lnTo>
                        <a:pt x="59" y="4"/>
                      </a:lnTo>
                      <a:lnTo>
                        <a:pt x="52" y="4"/>
                      </a:lnTo>
                      <a:lnTo>
                        <a:pt x="44" y="2"/>
                      </a:lnTo>
                      <a:lnTo>
                        <a:pt x="38" y="2"/>
                      </a:lnTo>
                      <a:lnTo>
                        <a:pt x="35" y="0"/>
                      </a:lnTo>
                      <a:lnTo>
                        <a:pt x="31" y="0"/>
                      </a:lnTo>
                      <a:lnTo>
                        <a:pt x="29" y="0"/>
                      </a:lnTo>
                      <a:lnTo>
                        <a:pt x="0" y="14"/>
                      </a:lnTo>
                      <a:close/>
                    </a:path>
                  </a:pathLst>
                </a:custGeom>
                <a:solidFill>
                  <a:srgbClr val="000000"/>
                </a:solidFill>
                <a:ln w="9525">
                  <a:noFill/>
                  <a:round/>
                  <a:headEnd/>
                  <a:tailEnd/>
                </a:ln>
              </p:spPr>
              <p:txBody>
                <a:bodyPr/>
                <a:lstStyle/>
                <a:p>
                  <a:pPr algn="l" eaLnBrk="1" hangingPunct="1"/>
                  <a:endParaRPr lang="en-US"/>
                </a:p>
              </p:txBody>
            </p:sp>
            <p:sp>
              <p:nvSpPr>
                <p:cNvPr id="1437" name="Freeform 685"/>
                <p:cNvSpPr>
                  <a:spLocks noChangeAspect="1"/>
                </p:cNvSpPr>
                <p:nvPr/>
              </p:nvSpPr>
              <p:spPr bwMode="auto">
                <a:xfrm>
                  <a:off x="2837" y="2341"/>
                  <a:ext cx="73" cy="22"/>
                </a:xfrm>
                <a:custGeom>
                  <a:avLst/>
                  <a:gdLst>
                    <a:gd name="T0" fmla="*/ 0 w 147"/>
                    <a:gd name="T1" fmla="*/ 33 h 44"/>
                    <a:gd name="T2" fmla="*/ 0 w 147"/>
                    <a:gd name="T3" fmla="*/ 33 h 44"/>
                    <a:gd name="T4" fmla="*/ 4 w 147"/>
                    <a:gd name="T5" fmla="*/ 33 h 44"/>
                    <a:gd name="T6" fmla="*/ 6 w 147"/>
                    <a:gd name="T7" fmla="*/ 33 h 44"/>
                    <a:gd name="T8" fmla="*/ 10 w 147"/>
                    <a:gd name="T9" fmla="*/ 34 h 44"/>
                    <a:gd name="T10" fmla="*/ 14 w 147"/>
                    <a:gd name="T11" fmla="*/ 36 h 44"/>
                    <a:gd name="T12" fmla="*/ 19 w 147"/>
                    <a:gd name="T13" fmla="*/ 36 h 44"/>
                    <a:gd name="T14" fmla="*/ 23 w 147"/>
                    <a:gd name="T15" fmla="*/ 38 h 44"/>
                    <a:gd name="T16" fmla="*/ 27 w 147"/>
                    <a:gd name="T17" fmla="*/ 38 h 44"/>
                    <a:gd name="T18" fmla="*/ 33 w 147"/>
                    <a:gd name="T19" fmla="*/ 38 h 44"/>
                    <a:gd name="T20" fmla="*/ 40 w 147"/>
                    <a:gd name="T21" fmla="*/ 40 h 44"/>
                    <a:gd name="T22" fmla="*/ 46 w 147"/>
                    <a:gd name="T23" fmla="*/ 42 h 44"/>
                    <a:gd name="T24" fmla="*/ 54 w 147"/>
                    <a:gd name="T25" fmla="*/ 42 h 44"/>
                    <a:gd name="T26" fmla="*/ 59 w 147"/>
                    <a:gd name="T27" fmla="*/ 44 h 44"/>
                    <a:gd name="T28" fmla="*/ 69 w 147"/>
                    <a:gd name="T29" fmla="*/ 44 h 44"/>
                    <a:gd name="T30" fmla="*/ 75 w 147"/>
                    <a:gd name="T31" fmla="*/ 44 h 44"/>
                    <a:gd name="T32" fmla="*/ 82 w 147"/>
                    <a:gd name="T33" fmla="*/ 44 h 44"/>
                    <a:gd name="T34" fmla="*/ 88 w 147"/>
                    <a:gd name="T35" fmla="*/ 44 h 44"/>
                    <a:gd name="T36" fmla="*/ 95 w 147"/>
                    <a:gd name="T37" fmla="*/ 44 h 44"/>
                    <a:gd name="T38" fmla="*/ 103 w 147"/>
                    <a:gd name="T39" fmla="*/ 42 h 44"/>
                    <a:gd name="T40" fmla="*/ 109 w 147"/>
                    <a:gd name="T41" fmla="*/ 42 h 44"/>
                    <a:gd name="T42" fmla="*/ 114 w 147"/>
                    <a:gd name="T43" fmla="*/ 40 h 44"/>
                    <a:gd name="T44" fmla="*/ 122 w 147"/>
                    <a:gd name="T45" fmla="*/ 38 h 44"/>
                    <a:gd name="T46" fmla="*/ 126 w 147"/>
                    <a:gd name="T47" fmla="*/ 36 h 44"/>
                    <a:gd name="T48" fmla="*/ 132 w 147"/>
                    <a:gd name="T49" fmla="*/ 34 h 44"/>
                    <a:gd name="T50" fmla="*/ 133 w 147"/>
                    <a:gd name="T51" fmla="*/ 33 h 44"/>
                    <a:gd name="T52" fmla="*/ 139 w 147"/>
                    <a:gd name="T53" fmla="*/ 33 h 44"/>
                    <a:gd name="T54" fmla="*/ 143 w 147"/>
                    <a:gd name="T55" fmla="*/ 29 h 44"/>
                    <a:gd name="T56" fmla="*/ 147 w 147"/>
                    <a:gd name="T57" fmla="*/ 29 h 44"/>
                    <a:gd name="T58" fmla="*/ 137 w 147"/>
                    <a:gd name="T59" fmla="*/ 0 h 44"/>
                    <a:gd name="T60" fmla="*/ 133 w 147"/>
                    <a:gd name="T61" fmla="*/ 0 h 44"/>
                    <a:gd name="T62" fmla="*/ 128 w 147"/>
                    <a:gd name="T63" fmla="*/ 2 h 44"/>
                    <a:gd name="T64" fmla="*/ 124 w 147"/>
                    <a:gd name="T65" fmla="*/ 4 h 44"/>
                    <a:gd name="T66" fmla="*/ 120 w 147"/>
                    <a:gd name="T67" fmla="*/ 6 h 44"/>
                    <a:gd name="T68" fmla="*/ 114 w 147"/>
                    <a:gd name="T69" fmla="*/ 8 h 44"/>
                    <a:gd name="T70" fmla="*/ 109 w 147"/>
                    <a:gd name="T71" fmla="*/ 12 h 44"/>
                    <a:gd name="T72" fmla="*/ 103 w 147"/>
                    <a:gd name="T73" fmla="*/ 14 h 44"/>
                    <a:gd name="T74" fmla="*/ 97 w 147"/>
                    <a:gd name="T75" fmla="*/ 15 h 44"/>
                    <a:gd name="T76" fmla="*/ 92 w 147"/>
                    <a:gd name="T77" fmla="*/ 17 h 44"/>
                    <a:gd name="T78" fmla="*/ 88 w 147"/>
                    <a:gd name="T79" fmla="*/ 19 h 44"/>
                    <a:gd name="T80" fmla="*/ 80 w 147"/>
                    <a:gd name="T81" fmla="*/ 21 h 44"/>
                    <a:gd name="T82" fmla="*/ 76 w 147"/>
                    <a:gd name="T83" fmla="*/ 23 h 44"/>
                    <a:gd name="T84" fmla="*/ 73 w 147"/>
                    <a:gd name="T85" fmla="*/ 23 h 44"/>
                    <a:gd name="T86" fmla="*/ 69 w 147"/>
                    <a:gd name="T87" fmla="*/ 25 h 44"/>
                    <a:gd name="T88" fmla="*/ 65 w 147"/>
                    <a:gd name="T89" fmla="*/ 25 h 44"/>
                    <a:gd name="T90" fmla="*/ 59 w 147"/>
                    <a:gd name="T91" fmla="*/ 25 h 44"/>
                    <a:gd name="T92" fmla="*/ 56 w 147"/>
                    <a:gd name="T93" fmla="*/ 23 h 44"/>
                    <a:gd name="T94" fmla="*/ 50 w 147"/>
                    <a:gd name="T95" fmla="*/ 23 h 44"/>
                    <a:gd name="T96" fmla="*/ 44 w 147"/>
                    <a:gd name="T97" fmla="*/ 21 h 44"/>
                    <a:gd name="T98" fmla="*/ 38 w 147"/>
                    <a:gd name="T99" fmla="*/ 21 h 44"/>
                    <a:gd name="T100" fmla="*/ 33 w 147"/>
                    <a:gd name="T101" fmla="*/ 19 h 44"/>
                    <a:gd name="T102" fmla="*/ 27 w 147"/>
                    <a:gd name="T103" fmla="*/ 19 h 44"/>
                    <a:gd name="T104" fmla="*/ 21 w 147"/>
                    <a:gd name="T105" fmla="*/ 17 h 44"/>
                    <a:gd name="T106" fmla="*/ 16 w 147"/>
                    <a:gd name="T107" fmla="*/ 17 h 44"/>
                    <a:gd name="T108" fmla="*/ 12 w 147"/>
                    <a:gd name="T109" fmla="*/ 15 h 44"/>
                    <a:gd name="T110" fmla="*/ 8 w 147"/>
                    <a:gd name="T111" fmla="*/ 14 h 44"/>
                    <a:gd name="T112" fmla="*/ 0 w 147"/>
                    <a:gd name="T113" fmla="*/ 14 h 44"/>
                    <a:gd name="T114" fmla="*/ 0 w 147"/>
                    <a:gd name="T115" fmla="*/ 14 h 44"/>
                    <a:gd name="T116" fmla="*/ 0 w 147"/>
                    <a:gd name="T117" fmla="*/ 33 h 44"/>
                    <a:gd name="T118" fmla="*/ 0 w 147"/>
                    <a:gd name="T119" fmla="*/ 33 h 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7"/>
                    <a:gd name="T181" fmla="*/ 0 h 44"/>
                    <a:gd name="T182" fmla="*/ 147 w 147"/>
                    <a:gd name="T183" fmla="*/ 44 h 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7" h="44">
                      <a:moveTo>
                        <a:pt x="0" y="33"/>
                      </a:moveTo>
                      <a:lnTo>
                        <a:pt x="0" y="33"/>
                      </a:lnTo>
                      <a:lnTo>
                        <a:pt x="4" y="33"/>
                      </a:lnTo>
                      <a:lnTo>
                        <a:pt x="6" y="33"/>
                      </a:lnTo>
                      <a:lnTo>
                        <a:pt x="10" y="34"/>
                      </a:lnTo>
                      <a:lnTo>
                        <a:pt x="14" y="36"/>
                      </a:lnTo>
                      <a:lnTo>
                        <a:pt x="19" y="36"/>
                      </a:lnTo>
                      <a:lnTo>
                        <a:pt x="23" y="38"/>
                      </a:lnTo>
                      <a:lnTo>
                        <a:pt x="27" y="38"/>
                      </a:lnTo>
                      <a:lnTo>
                        <a:pt x="33" y="38"/>
                      </a:lnTo>
                      <a:lnTo>
                        <a:pt x="40" y="40"/>
                      </a:lnTo>
                      <a:lnTo>
                        <a:pt x="46" y="42"/>
                      </a:lnTo>
                      <a:lnTo>
                        <a:pt x="54" y="42"/>
                      </a:lnTo>
                      <a:lnTo>
                        <a:pt x="59" y="44"/>
                      </a:lnTo>
                      <a:lnTo>
                        <a:pt x="69" y="44"/>
                      </a:lnTo>
                      <a:lnTo>
                        <a:pt x="75" y="44"/>
                      </a:lnTo>
                      <a:lnTo>
                        <a:pt x="82" y="44"/>
                      </a:lnTo>
                      <a:lnTo>
                        <a:pt x="88" y="44"/>
                      </a:lnTo>
                      <a:lnTo>
                        <a:pt x="95" y="44"/>
                      </a:lnTo>
                      <a:lnTo>
                        <a:pt x="103" y="42"/>
                      </a:lnTo>
                      <a:lnTo>
                        <a:pt x="109" y="42"/>
                      </a:lnTo>
                      <a:lnTo>
                        <a:pt x="114" y="40"/>
                      </a:lnTo>
                      <a:lnTo>
                        <a:pt x="122" y="38"/>
                      </a:lnTo>
                      <a:lnTo>
                        <a:pt x="126" y="36"/>
                      </a:lnTo>
                      <a:lnTo>
                        <a:pt x="132" y="34"/>
                      </a:lnTo>
                      <a:lnTo>
                        <a:pt x="133" y="33"/>
                      </a:lnTo>
                      <a:lnTo>
                        <a:pt x="139" y="33"/>
                      </a:lnTo>
                      <a:lnTo>
                        <a:pt x="143" y="29"/>
                      </a:lnTo>
                      <a:lnTo>
                        <a:pt x="147" y="29"/>
                      </a:lnTo>
                      <a:lnTo>
                        <a:pt x="137" y="0"/>
                      </a:lnTo>
                      <a:lnTo>
                        <a:pt x="133" y="0"/>
                      </a:lnTo>
                      <a:lnTo>
                        <a:pt x="128" y="2"/>
                      </a:lnTo>
                      <a:lnTo>
                        <a:pt x="124" y="4"/>
                      </a:lnTo>
                      <a:lnTo>
                        <a:pt x="120" y="6"/>
                      </a:lnTo>
                      <a:lnTo>
                        <a:pt x="114" y="8"/>
                      </a:lnTo>
                      <a:lnTo>
                        <a:pt x="109" y="12"/>
                      </a:lnTo>
                      <a:lnTo>
                        <a:pt x="103" y="14"/>
                      </a:lnTo>
                      <a:lnTo>
                        <a:pt x="97" y="15"/>
                      </a:lnTo>
                      <a:lnTo>
                        <a:pt x="92" y="17"/>
                      </a:lnTo>
                      <a:lnTo>
                        <a:pt x="88" y="19"/>
                      </a:lnTo>
                      <a:lnTo>
                        <a:pt x="80" y="21"/>
                      </a:lnTo>
                      <a:lnTo>
                        <a:pt x="76" y="23"/>
                      </a:lnTo>
                      <a:lnTo>
                        <a:pt x="73" y="23"/>
                      </a:lnTo>
                      <a:lnTo>
                        <a:pt x="69" y="25"/>
                      </a:lnTo>
                      <a:lnTo>
                        <a:pt x="65" y="25"/>
                      </a:lnTo>
                      <a:lnTo>
                        <a:pt x="59" y="25"/>
                      </a:lnTo>
                      <a:lnTo>
                        <a:pt x="56" y="23"/>
                      </a:lnTo>
                      <a:lnTo>
                        <a:pt x="50" y="23"/>
                      </a:lnTo>
                      <a:lnTo>
                        <a:pt x="44" y="21"/>
                      </a:lnTo>
                      <a:lnTo>
                        <a:pt x="38" y="21"/>
                      </a:lnTo>
                      <a:lnTo>
                        <a:pt x="33" y="19"/>
                      </a:lnTo>
                      <a:lnTo>
                        <a:pt x="27" y="19"/>
                      </a:lnTo>
                      <a:lnTo>
                        <a:pt x="21" y="17"/>
                      </a:lnTo>
                      <a:lnTo>
                        <a:pt x="16" y="17"/>
                      </a:lnTo>
                      <a:lnTo>
                        <a:pt x="12" y="15"/>
                      </a:lnTo>
                      <a:lnTo>
                        <a:pt x="8" y="14"/>
                      </a:lnTo>
                      <a:lnTo>
                        <a:pt x="0" y="14"/>
                      </a:lnTo>
                      <a:lnTo>
                        <a:pt x="0" y="33"/>
                      </a:lnTo>
                      <a:close/>
                    </a:path>
                  </a:pathLst>
                </a:custGeom>
                <a:solidFill>
                  <a:srgbClr val="000000"/>
                </a:solidFill>
                <a:ln w="9525">
                  <a:noFill/>
                  <a:round/>
                  <a:headEnd/>
                  <a:tailEnd/>
                </a:ln>
              </p:spPr>
              <p:txBody>
                <a:bodyPr/>
                <a:lstStyle/>
                <a:p>
                  <a:pPr algn="l" eaLnBrk="1" hangingPunct="1"/>
                  <a:endParaRPr lang="en-US"/>
                </a:p>
              </p:txBody>
            </p:sp>
            <p:sp>
              <p:nvSpPr>
                <p:cNvPr id="1438" name="Freeform 686"/>
                <p:cNvSpPr>
                  <a:spLocks noChangeAspect="1"/>
                </p:cNvSpPr>
                <p:nvPr/>
              </p:nvSpPr>
              <p:spPr bwMode="auto">
                <a:xfrm>
                  <a:off x="2870" y="1998"/>
                  <a:ext cx="119" cy="38"/>
                </a:xfrm>
                <a:custGeom>
                  <a:avLst/>
                  <a:gdLst>
                    <a:gd name="T0" fmla="*/ 30 w 237"/>
                    <a:gd name="T1" fmla="*/ 72 h 76"/>
                    <a:gd name="T2" fmla="*/ 21 w 237"/>
                    <a:gd name="T3" fmla="*/ 62 h 76"/>
                    <a:gd name="T4" fmla="*/ 11 w 237"/>
                    <a:gd name="T5" fmla="*/ 53 h 76"/>
                    <a:gd name="T6" fmla="*/ 6 w 237"/>
                    <a:gd name="T7" fmla="*/ 45 h 76"/>
                    <a:gd name="T8" fmla="*/ 0 w 237"/>
                    <a:gd name="T9" fmla="*/ 34 h 76"/>
                    <a:gd name="T10" fmla="*/ 2 w 237"/>
                    <a:gd name="T11" fmla="*/ 26 h 76"/>
                    <a:gd name="T12" fmla="*/ 8 w 237"/>
                    <a:gd name="T13" fmla="*/ 23 h 76"/>
                    <a:gd name="T14" fmla="*/ 17 w 237"/>
                    <a:gd name="T15" fmla="*/ 19 h 76"/>
                    <a:gd name="T16" fmla="*/ 30 w 237"/>
                    <a:gd name="T17" fmla="*/ 17 h 76"/>
                    <a:gd name="T18" fmla="*/ 46 w 237"/>
                    <a:gd name="T19" fmla="*/ 17 h 76"/>
                    <a:gd name="T20" fmla="*/ 61 w 237"/>
                    <a:gd name="T21" fmla="*/ 17 h 76"/>
                    <a:gd name="T22" fmla="*/ 76 w 237"/>
                    <a:gd name="T23" fmla="*/ 15 h 76"/>
                    <a:gd name="T24" fmla="*/ 91 w 237"/>
                    <a:gd name="T25" fmla="*/ 15 h 76"/>
                    <a:gd name="T26" fmla="*/ 103 w 237"/>
                    <a:gd name="T27" fmla="*/ 15 h 76"/>
                    <a:gd name="T28" fmla="*/ 120 w 237"/>
                    <a:gd name="T29" fmla="*/ 13 h 76"/>
                    <a:gd name="T30" fmla="*/ 142 w 237"/>
                    <a:gd name="T31" fmla="*/ 9 h 76"/>
                    <a:gd name="T32" fmla="*/ 165 w 237"/>
                    <a:gd name="T33" fmla="*/ 7 h 76"/>
                    <a:gd name="T34" fmla="*/ 188 w 237"/>
                    <a:gd name="T35" fmla="*/ 4 h 76"/>
                    <a:gd name="T36" fmla="*/ 209 w 237"/>
                    <a:gd name="T37" fmla="*/ 2 h 76"/>
                    <a:gd name="T38" fmla="*/ 226 w 237"/>
                    <a:gd name="T39" fmla="*/ 0 h 76"/>
                    <a:gd name="T40" fmla="*/ 236 w 237"/>
                    <a:gd name="T41" fmla="*/ 0 h 76"/>
                    <a:gd name="T42" fmla="*/ 236 w 237"/>
                    <a:gd name="T43" fmla="*/ 0 h 76"/>
                    <a:gd name="T44" fmla="*/ 226 w 237"/>
                    <a:gd name="T45" fmla="*/ 2 h 76"/>
                    <a:gd name="T46" fmla="*/ 213 w 237"/>
                    <a:gd name="T47" fmla="*/ 7 h 76"/>
                    <a:gd name="T48" fmla="*/ 194 w 237"/>
                    <a:gd name="T49" fmla="*/ 13 h 76"/>
                    <a:gd name="T50" fmla="*/ 173 w 237"/>
                    <a:gd name="T51" fmla="*/ 19 h 76"/>
                    <a:gd name="T52" fmla="*/ 150 w 237"/>
                    <a:gd name="T53" fmla="*/ 24 h 76"/>
                    <a:gd name="T54" fmla="*/ 129 w 237"/>
                    <a:gd name="T55" fmla="*/ 28 h 76"/>
                    <a:gd name="T56" fmla="*/ 110 w 237"/>
                    <a:gd name="T57" fmla="*/ 32 h 76"/>
                    <a:gd name="T58" fmla="*/ 93 w 237"/>
                    <a:gd name="T59" fmla="*/ 32 h 76"/>
                    <a:gd name="T60" fmla="*/ 80 w 237"/>
                    <a:gd name="T61" fmla="*/ 32 h 76"/>
                    <a:gd name="T62" fmla="*/ 66 w 237"/>
                    <a:gd name="T63" fmla="*/ 32 h 76"/>
                    <a:gd name="T64" fmla="*/ 55 w 237"/>
                    <a:gd name="T65" fmla="*/ 36 h 76"/>
                    <a:gd name="T66" fmla="*/ 47 w 237"/>
                    <a:gd name="T67" fmla="*/ 38 h 76"/>
                    <a:gd name="T68" fmla="*/ 40 w 237"/>
                    <a:gd name="T69" fmla="*/ 40 h 76"/>
                    <a:gd name="T70" fmla="*/ 34 w 237"/>
                    <a:gd name="T71" fmla="*/ 43 h 76"/>
                    <a:gd name="T72" fmla="*/ 32 w 237"/>
                    <a:gd name="T73" fmla="*/ 51 h 76"/>
                    <a:gd name="T74" fmla="*/ 40 w 237"/>
                    <a:gd name="T75" fmla="*/ 61 h 76"/>
                    <a:gd name="T76" fmla="*/ 47 w 237"/>
                    <a:gd name="T77" fmla="*/ 68 h 76"/>
                    <a:gd name="T78" fmla="*/ 55 w 237"/>
                    <a:gd name="T79" fmla="*/ 74 h 76"/>
                    <a:gd name="T80" fmla="*/ 32 w 237"/>
                    <a:gd name="T81" fmla="*/ 76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76"/>
                    <a:gd name="T125" fmla="*/ 237 w 237"/>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76">
                      <a:moveTo>
                        <a:pt x="32" y="76"/>
                      </a:moveTo>
                      <a:lnTo>
                        <a:pt x="30" y="72"/>
                      </a:lnTo>
                      <a:lnTo>
                        <a:pt x="27" y="70"/>
                      </a:lnTo>
                      <a:lnTo>
                        <a:pt x="21" y="62"/>
                      </a:lnTo>
                      <a:lnTo>
                        <a:pt x="15" y="57"/>
                      </a:lnTo>
                      <a:lnTo>
                        <a:pt x="11" y="53"/>
                      </a:lnTo>
                      <a:lnTo>
                        <a:pt x="8" y="49"/>
                      </a:lnTo>
                      <a:lnTo>
                        <a:pt x="6" y="45"/>
                      </a:lnTo>
                      <a:lnTo>
                        <a:pt x="4" y="42"/>
                      </a:lnTo>
                      <a:lnTo>
                        <a:pt x="0" y="34"/>
                      </a:lnTo>
                      <a:lnTo>
                        <a:pt x="2" y="28"/>
                      </a:lnTo>
                      <a:lnTo>
                        <a:pt x="2" y="26"/>
                      </a:lnTo>
                      <a:lnTo>
                        <a:pt x="6" y="24"/>
                      </a:lnTo>
                      <a:lnTo>
                        <a:pt x="8" y="23"/>
                      </a:lnTo>
                      <a:lnTo>
                        <a:pt x="13" y="21"/>
                      </a:lnTo>
                      <a:lnTo>
                        <a:pt x="17" y="19"/>
                      </a:lnTo>
                      <a:lnTo>
                        <a:pt x="25" y="19"/>
                      </a:lnTo>
                      <a:lnTo>
                        <a:pt x="30" y="17"/>
                      </a:lnTo>
                      <a:lnTo>
                        <a:pt x="40" y="17"/>
                      </a:lnTo>
                      <a:lnTo>
                        <a:pt x="46" y="17"/>
                      </a:lnTo>
                      <a:lnTo>
                        <a:pt x="53" y="17"/>
                      </a:lnTo>
                      <a:lnTo>
                        <a:pt x="61" y="17"/>
                      </a:lnTo>
                      <a:lnTo>
                        <a:pt x="70" y="17"/>
                      </a:lnTo>
                      <a:lnTo>
                        <a:pt x="76" y="15"/>
                      </a:lnTo>
                      <a:lnTo>
                        <a:pt x="84" y="15"/>
                      </a:lnTo>
                      <a:lnTo>
                        <a:pt x="91" y="15"/>
                      </a:lnTo>
                      <a:lnTo>
                        <a:pt x="97" y="15"/>
                      </a:lnTo>
                      <a:lnTo>
                        <a:pt x="103" y="15"/>
                      </a:lnTo>
                      <a:lnTo>
                        <a:pt x="110" y="13"/>
                      </a:lnTo>
                      <a:lnTo>
                        <a:pt x="120" y="13"/>
                      </a:lnTo>
                      <a:lnTo>
                        <a:pt x="131" y="11"/>
                      </a:lnTo>
                      <a:lnTo>
                        <a:pt x="142" y="9"/>
                      </a:lnTo>
                      <a:lnTo>
                        <a:pt x="154" y="9"/>
                      </a:lnTo>
                      <a:lnTo>
                        <a:pt x="165" y="7"/>
                      </a:lnTo>
                      <a:lnTo>
                        <a:pt x="179" y="7"/>
                      </a:lnTo>
                      <a:lnTo>
                        <a:pt x="188" y="4"/>
                      </a:lnTo>
                      <a:lnTo>
                        <a:pt x="199" y="4"/>
                      </a:lnTo>
                      <a:lnTo>
                        <a:pt x="209" y="2"/>
                      </a:lnTo>
                      <a:lnTo>
                        <a:pt x="218" y="2"/>
                      </a:lnTo>
                      <a:lnTo>
                        <a:pt x="226" y="0"/>
                      </a:lnTo>
                      <a:lnTo>
                        <a:pt x="232" y="0"/>
                      </a:lnTo>
                      <a:lnTo>
                        <a:pt x="236" y="0"/>
                      </a:lnTo>
                      <a:lnTo>
                        <a:pt x="237" y="0"/>
                      </a:lnTo>
                      <a:lnTo>
                        <a:pt x="236" y="0"/>
                      </a:lnTo>
                      <a:lnTo>
                        <a:pt x="232" y="2"/>
                      </a:lnTo>
                      <a:lnTo>
                        <a:pt x="226" y="2"/>
                      </a:lnTo>
                      <a:lnTo>
                        <a:pt x="220" y="4"/>
                      </a:lnTo>
                      <a:lnTo>
                        <a:pt x="213" y="7"/>
                      </a:lnTo>
                      <a:lnTo>
                        <a:pt x="203" y="9"/>
                      </a:lnTo>
                      <a:lnTo>
                        <a:pt x="194" y="13"/>
                      </a:lnTo>
                      <a:lnTo>
                        <a:pt x="184" y="17"/>
                      </a:lnTo>
                      <a:lnTo>
                        <a:pt x="173" y="19"/>
                      </a:lnTo>
                      <a:lnTo>
                        <a:pt x="161" y="23"/>
                      </a:lnTo>
                      <a:lnTo>
                        <a:pt x="150" y="24"/>
                      </a:lnTo>
                      <a:lnTo>
                        <a:pt x="139" y="28"/>
                      </a:lnTo>
                      <a:lnTo>
                        <a:pt x="129" y="28"/>
                      </a:lnTo>
                      <a:lnTo>
                        <a:pt x="118" y="32"/>
                      </a:lnTo>
                      <a:lnTo>
                        <a:pt x="110" y="32"/>
                      </a:lnTo>
                      <a:lnTo>
                        <a:pt x="101" y="32"/>
                      </a:lnTo>
                      <a:lnTo>
                        <a:pt x="93" y="32"/>
                      </a:lnTo>
                      <a:lnTo>
                        <a:pt x="85" y="32"/>
                      </a:lnTo>
                      <a:lnTo>
                        <a:pt x="80" y="32"/>
                      </a:lnTo>
                      <a:lnTo>
                        <a:pt x="72" y="32"/>
                      </a:lnTo>
                      <a:lnTo>
                        <a:pt x="66" y="32"/>
                      </a:lnTo>
                      <a:lnTo>
                        <a:pt x="61" y="34"/>
                      </a:lnTo>
                      <a:lnTo>
                        <a:pt x="55" y="36"/>
                      </a:lnTo>
                      <a:lnTo>
                        <a:pt x="51" y="36"/>
                      </a:lnTo>
                      <a:lnTo>
                        <a:pt x="47" y="38"/>
                      </a:lnTo>
                      <a:lnTo>
                        <a:pt x="44" y="38"/>
                      </a:lnTo>
                      <a:lnTo>
                        <a:pt x="40" y="40"/>
                      </a:lnTo>
                      <a:lnTo>
                        <a:pt x="38" y="42"/>
                      </a:lnTo>
                      <a:lnTo>
                        <a:pt x="34" y="43"/>
                      </a:lnTo>
                      <a:lnTo>
                        <a:pt x="32" y="47"/>
                      </a:lnTo>
                      <a:lnTo>
                        <a:pt x="32" y="51"/>
                      </a:lnTo>
                      <a:lnTo>
                        <a:pt x="36" y="57"/>
                      </a:lnTo>
                      <a:lnTo>
                        <a:pt x="40" y="61"/>
                      </a:lnTo>
                      <a:lnTo>
                        <a:pt x="44" y="64"/>
                      </a:lnTo>
                      <a:lnTo>
                        <a:pt x="47" y="68"/>
                      </a:lnTo>
                      <a:lnTo>
                        <a:pt x="51" y="72"/>
                      </a:lnTo>
                      <a:lnTo>
                        <a:pt x="55" y="74"/>
                      </a:lnTo>
                      <a:lnTo>
                        <a:pt x="55" y="76"/>
                      </a:lnTo>
                      <a:lnTo>
                        <a:pt x="32" y="76"/>
                      </a:lnTo>
                      <a:close/>
                    </a:path>
                  </a:pathLst>
                </a:custGeom>
                <a:solidFill>
                  <a:srgbClr val="000000"/>
                </a:solidFill>
                <a:ln w="9525">
                  <a:noFill/>
                  <a:round/>
                  <a:headEnd/>
                  <a:tailEnd/>
                </a:ln>
              </p:spPr>
              <p:txBody>
                <a:bodyPr/>
                <a:lstStyle/>
                <a:p>
                  <a:pPr algn="l" eaLnBrk="1" hangingPunct="1"/>
                  <a:endParaRPr lang="en-US"/>
                </a:p>
              </p:txBody>
            </p:sp>
            <p:sp>
              <p:nvSpPr>
                <p:cNvPr id="1439" name="Freeform 687"/>
                <p:cNvSpPr>
                  <a:spLocks noChangeAspect="1"/>
                </p:cNvSpPr>
                <p:nvPr/>
              </p:nvSpPr>
              <p:spPr bwMode="auto">
                <a:xfrm>
                  <a:off x="2755" y="1989"/>
                  <a:ext cx="75" cy="18"/>
                </a:xfrm>
                <a:custGeom>
                  <a:avLst/>
                  <a:gdLst>
                    <a:gd name="T0" fmla="*/ 0 w 150"/>
                    <a:gd name="T1" fmla="*/ 26 h 36"/>
                    <a:gd name="T2" fmla="*/ 0 w 150"/>
                    <a:gd name="T3" fmla="*/ 26 h 36"/>
                    <a:gd name="T4" fmla="*/ 4 w 150"/>
                    <a:gd name="T5" fmla="*/ 26 h 36"/>
                    <a:gd name="T6" fmla="*/ 10 w 150"/>
                    <a:gd name="T7" fmla="*/ 26 h 36"/>
                    <a:gd name="T8" fmla="*/ 19 w 150"/>
                    <a:gd name="T9" fmla="*/ 28 h 36"/>
                    <a:gd name="T10" fmla="*/ 29 w 150"/>
                    <a:gd name="T11" fmla="*/ 28 h 36"/>
                    <a:gd name="T12" fmla="*/ 38 w 150"/>
                    <a:gd name="T13" fmla="*/ 30 h 36"/>
                    <a:gd name="T14" fmla="*/ 51 w 150"/>
                    <a:gd name="T15" fmla="*/ 30 h 36"/>
                    <a:gd name="T16" fmla="*/ 65 w 150"/>
                    <a:gd name="T17" fmla="*/ 32 h 36"/>
                    <a:gd name="T18" fmla="*/ 76 w 150"/>
                    <a:gd name="T19" fmla="*/ 34 h 36"/>
                    <a:gd name="T20" fmla="*/ 89 w 150"/>
                    <a:gd name="T21" fmla="*/ 34 h 36"/>
                    <a:gd name="T22" fmla="*/ 101 w 150"/>
                    <a:gd name="T23" fmla="*/ 36 h 36"/>
                    <a:gd name="T24" fmla="*/ 112 w 150"/>
                    <a:gd name="T25" fmla="*/ 36 h 36"/>
                    <a:gd name="T26" fmla="*/ 124 w 150"/>
                    <a:gd name="T27" fmla="*/ 36 h 36"/>
                    <a:gd name="T28" fmla="*/ 133 w 150"/>
                    <a:gd name="T29" fmla="*/ 36 h 36"/>
                    <a:gd name="T30" fmla="*/ 141 w 150"/>
                    <a:gd name="T31" fmla="*/ 36 h 36"/>
                    <a:gd name="T32" fmla="*/ 146 w 150"/>
                    <a:gd name="T33" fmla="*/ 36 h 36"/>
                    <a:gd name="T34" fmla="*/ 150 w 150"/>
                    <a:gd name="T35" fmla="*/ 34 h 36"/>
                    <a:gd name="T36" fmla="*/ 150 w 150"/>
                    <a:gd name="T37" fmla="*/ 28 h 36"/>
                    <a:gd name="T38" fmla="*/ 146 w 150"/>
                    <a:gd name="T39" fmla="*/ 22 h 36"/>
                    <a:gd name="T40" fmla="*/ 141 w 150"/>
                    <a:gd name="T41" fmla="*/ 15 h 36"/>
                    <a:gd name="T42" fmla="*/ 133 w 150"/>
                    <a:gd name="T43" fmla="*/ 9 h 36"/>
                    <a:gd name="T44" fmla="*/ 127 w 150"/>
                    <a:gd name="T45" fmla="*/ 3 h 36"/>
                    <a:gd name="T46" fmla="*/ 124 w 150"/>
                    <a:gd name="T47" fmla="*/ 0 h 36"/>
                    <a:gd name="T48" fmla="*/ 122 w 150"/>
                    <a:gd name="T49" fmla="*/ 0 h 36"/>
                    <a:gd name="T50" fmla="*/ 122 w 150"/>
                    <a:gd name="T51" fmla="*/ 2 h 36"/>
                    <a:gd name="T52" fmla="*/ 120 w 150"/>
                    <a:gd name="T53" fmla="*/ 7 h 36"/>
                    <a:gd name="T54" fmla="*/ 118 w 150"/>
                    <a:gd name="T55" fmla="*/ 15 h 36"/>
                    <a:gd name="T56" fmla="*/ 112 w 150"/>
                    <a:gd name="T57" fmla="*/ 19 h 36"/>
                    <a:gd name="T58" fmla="*/ 108 w 150"/>
                    <a:gd name="T59" fmla="*/ 19 h 36"/>
                    <a:gd name="T60" fmla="*/ 105 w 150"/>
                    <a:gd name="T61" fmla="*/ 21 h 36"/>
                    <a:gd name="T62" fmla="*/ 99 w 150"/>
                    <a:gd name="T63" fmla="*/ 21 h 36"/>
                    <a:gd name="T64" fmla="*/ 93 w 150"/>
                    <a:gd name="T65" fmla="*/ 21 h 36"/>
                    <a:gd name="T66" fmla="*/ 86 w 150"/>
                    <a:gd name="T67" fmla="*/ 19 h 36"/>
                    <a:gd name="T68" fmla="*/ 78 w 150"/>
                    <a:gd name="T69" fmla="*/ 19 h 36"/>
                    <a:gd name="T70" fmla="*/ 72 w 150"/>
                    <a:gd name="T71" fmla="*/ 19 h 36"/>
                    <a:gd name="T72" fmla="*/ 65 w 150"/>
                    <a:gd name="T73" fmla="*/ 19 h 36"/>
                    <a:gd name="T74" fmla="*/ 57 w 150"/>
                    <a:gd name="T75" fmla="*/ 19 h 36"/>
                    <a:gd name="T76" fmla="*/ 50 w 150"/>
                    <a:gd name="T77" fmla="*/ 19 h 36"/>
                    <a:gd name="T78" fmla="*/ 42 w 150"/>
                    <a:gd name="T79" fmla="*/ 17 h 36"/>
                    <a:gd name="T80" fmla="*/ 36 w 150"/>
                    <a:gd name="T81" fmla="*/ 17 h 36"/>
                    <a:gd name="T82" fmla="*/ 31 w 150"/>
                    <a:gd name="T83" fmla="*/ 17 h 36"/>
                    <a:gd name="T84" fmla="*/ 29 w 150"/>
                    <a:gd name="T85" fmla="*/ 17 h 36"/>
                    <a:gd name="T86" fmla="*/ 25 w 150"/>
                    <a:gd name="T87" fmla="*/ 17 h 36"/>
                    <a:gd name="T88" fmla="*/ 0 w 150"/>
                    <a:gd name="T89" fmla="*/ 26 h 36"/>
                    <a:gd name="T90" fmla="*/ 0 w 150"/>
                    <a:gd name="T91" fmla="*/ 26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36"/>
                    <a:gd name="T140" fmla="*/ 150 w 150"/>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36">
                      <a:moveTo>
                        <a:pt x="0" y="26"/>
                      </a:moveTo>
                      <a:lnTo>
                        <a:pt x="0" y="26"/>
                      </a:lnTo>
                      <a:lnTo>
                        <a:pt x="4" y="26"/>
                      </a:lnTo>
                      <a:lnTo>
                        <a:pt x="10" y="26"/>
                      </a:lnTo>
                      <a:lnTo>
                        <a:pt x="19" y="28"/>
                      </a:lnTo>
                      <a:lnTo>
                        <a:pt x="29" y="28"/>
                      </a:lnTo>
                      <a:lnTo>
                        <a:pt x="38" y="30"/>
                      </a:lnTo>
                      <a:lnTo>
                        <a:pt x="51" y="30"/>
                      </a:lnTo>
                      <a:lnTo>
                        <a:pt x="65" y="32"/>
                      </a:lnTo>
                      <a:lnTo>
                        <a:pt x="76" y="34"/>
                      </a:lnTo>
                      <a:lnTo>
                        <a:pt x="89" y="34"/>
                      </a:lnTo>
                      <a:lnTo>
                        <a:pt x="101" y="36"/>
                      </a:lnTo>
                      <a:lnTo>
                        <a:pt x="112" y="36"/>
                      </a:lnTo>
                      <a:lnTo>
                        <a:pt x="124" y="36"/>
                      </a:lnTo>
                      <a:lnTo>
                        <a:pt x="133" y="36"/>
                      </a:lnTo>
                      <a:lnTo>
                        <a:pt x="141" y="36"/>
                      </a:lnTo>
                      <a:lnTo>
                        <a:pt x="146" y="36"/>
                      </a:lnTo>
                      <a:lnTo>
                        <a:pt x="150" y="34"/>
                      </a:lnTo>
                      <a:lnTo>
                        <a:pt x="150" y="28"/>
                      </a:lnTo>
                      <a:lnTo>
                        <a:pt x="146" y="22"/>
                      </a:lnTo>
                      <a:lnTo>
                        <a:pt x="141" y="15"/>
                      </a:lnTo>
                      <a:lnTo>
                        <a:pt x="133" y="9"/>
                      </a:lnTo>
                      <a:lnTo>
                        <a:pt x="127" y="3"/>
                      </a:lnTo>
                      <a:lnTo>
                        <a:pt x="124" y="0"/>
                      </a:lnTo>
                      <a:lnTo>
                        <a:pt x="122" y="0"/>
                      </a:lnTo>
                      <a:lnTo>
                        <a:pt x="122" y="2"/>
                      </a:lnTo>
                      <a:lnTo>
                        <a:pt x="120" y="7"/>
                      </a:lnTo>
                      <a:lnTo>
                        <a:pt x="118" y="15"/>
                      </a:lnTo>
                      <a:lnTo>
                        <a:pt x="112" y="19"/>
                      </a:lnTo>
                      <a:lnTo>
                        <a:pt x="108" y="19"/>
                      </a:lnTo>
                      <a:lnTo>
                        <a:pt x="105" y="21"/>
                      </a:lnTo>
                      <a:lnTo>
                        <a:pt x="99" y="21"/>
                      </a:lnTo>
                      <a:lnTo>
                        <a:pt x="93" y="21"/>
                      </a:lnTo>
                      <a:lnTo>
                        <a:pt x="86" y="19"/>
                      </a:lnTo>
                      <a:lnTo>
                        <a:pt x="78" y="19"/>
                      </a:lnTo>
                      <a:lnTo>
                        <a:pt x="72" y="19"/>
                      </a:lnTo>
                      <a:lnTo>
                        <a:pt x="65" y="19"/>
                      </a:lnTo>
                      <a:lnTo>
                        <a:pt x="57" y="19"/>
                      </a:lnTo>
                      <a:lnTo>
                        <a:pt x="50" y="19"/>
                      </a:lnTo>
                      <a:lnTo>
                        <a:pt x="42" y="17"/>
                      </a:lnTo>
                      <a:lnTo>
                        <a:pt x="36" y="17"/>
                      </a:lnTo>
                      <a:lnTo>
                        <a:pt x="31" y="17"/>
                      </a:lnTo>
                      <a:lnTo>
                        <a:pt x="29" y="17"/>
                      </a:lnTo>
                      <a:lnTo>
                        <a:pt x="25" y="17"/>
                      </a:lnTo>
                      <a:lnTo>
                        <a:pt x="0" y="26"/>
                      </a:lnTo>
                      <a:close/>
                    </a:path>
                  </a:pathLst>
                </a:custGeom>
                <a:solidFill>
                  <a:srgbClr val="000000"/>
                </a:solidFill>
                <a:ln w="9525">
                  <a:noFill/>
                  <a:round/>
                  <a:headEnd/>
                  <a:tailEnd/>
                </a:ln>
              </p:spPr>
              <p:txBody>
                <a:bodyPr/>
                <a:lstStyle/>
                <a:p>
                  <a:pPr algn="l" eaLnBrk="1" hangingPunct="1"/>
                  <a:endParaRPr lang="en-US"/>
                </a:p>
              </p:txBody>
            </p:sp>
            <p:sp>
              <p:nvSpPr>
                <p:cNvPr id="1440" name="Freeform 688"/>
                <p:cNvSpPr>
                  <a:spLocks noChangeAspect="1"/>
                </p:cNvSpPr>
                <p:nvPr/>
              </p:nvSpPr>
              <p:spPr bwMode="auto">
                <a:xfrm>
                  <a:off x="2820" y="2002"/>
                  <a:ext cx="58" cy="16"/>
                </a:xfrm>
                <a:custGeom>
                  <a:avLst/>
                  <a:gdLst>
                    <a:gd name="T0" fmla="*/ 0 w 116"/>
                    <a:gd name="T1" fmla="*/ 12 h 33"/>
                    <a:gd name="T2" fmla="*/ 4 w 116"/>
                    <a:gd name="T3" fmla="*/ 14 h 33"/>
                    <a:gd name="T4" fmla="*/ 8 w 116"/>
                    <a:gd name="T5" fmla="*/ 14 h 33"/>
                    <a:gd name="T6" fmla="*/ 14 w 116"/>
                    <a:gd name="T7" fmla="*/ 16 h 33"/>
                    <a:gd name="T8" fmla="*/ 19 w 116"/>
                    <a:gd name="T9" fmla="*/ 17 h 33"/>
                    <a:gd name="T10" fmla="*/ 29 w 116"/>
                    <a:gd name="T11" fmla="*/ 19 h 33"/>
                    <a:gd name="T12" fmla="*/ 36 w 116"/>
                    <a:gd name="T13" fmla="*/ 21 h 33"/>
                    <a:gd name="T14" fmla="*/ 44 w 116"/>
                    <a:gd name="T15" fmla="*/ 25 h 33"/>
                    <a:gd name="T16" fmla="*/ 53 w 116"/>
                    <a:gd name="T17" fmla="*/ 27 h 33"/>
                    <a:gd name="T18" fmla="*/ 61 w 116"/>
                    <a:gd name="T19" fmla="*/ 29 h 33"/>
                    <a:gd name="T20" fmla="*/ 71 w 116"/>
                    <a:gd name="T21" fmla="*/ 31 h 33"/>
                    <a:gd name="T22" fmla="*/ 80 w 116"/>
                    <a:gd name="T23" fmla="*/ 33 h 33"/>
                    <a:gd name="T24" fmla="*/ 88 w 116"/>
                    <a:gd name="T25" fmla="*/ 33 h 33"/>
                    <a:gd name="T26" fmla="*/ 97 w 116"/>
                    <a:gd name="T27" fmla="*/ 33 h 33"/>
                    <a:gd name="T28" fmla="*/ 103 w 116"/>
                    <a:gd name="T29" fmla="*/ 33 h 33"/>
                    <a:gd name="T30" fmla="*/ 109 w 116"/>
                    <a:gd name="T31" fmla="*/ 31 h 33"/>
                    <a:gd name="T32" fmla="*/ 112 w 116"/>
                    <a:gd name="T33" fmla="*/ 29 h 33"/>
                    <a:gd name="T34" fmla="*/ 114 w 116"/>
                    <a:gd name="T35" fmla="*/ 27 h 33"/>
                    <a:gd name="T36" fmla="*/ 114 w 116"/>
                    <a:gd name="T37" fmla="*/ 25 h 33"/>
                    <a:gd name="T38" fmla="*/ 116 w 116"/>
                    <a:gd name="T39" fmla="*/ 25 h 33"/>
                    <a:gd name="T40" fmla="*/ 112 w 116"/>
                    <a:gd name="T41" fmla="*/ 21 h 33"/>
                    <a:gd name="T42" fmla="*/ 107 w 116"/>
                    <a:gd name="T43" fmla="*/ 19 h 33"/>
                    <a:gd name="T44" fmla="*/ 101 w 116"/>
                    <a:gd name="T45" fmla="*/ 19 h 33"/>
                    <a:gd name="T46" fmla="*/ 97 w 116"/>
                    <a:gd name="T47" fmla="*/ 17 h 33"/>
                    <a:gd name="T48" fmla="*/ 91 w 116"/>
                    <a:gd name="T49" fmla="*/ 17 h 33"/>
                    <a:gd name="T50" fmla="*/ 88 w 116"/>
                    <a:gd name="T51" fmla="*/ 17 h 33"/>
                    <a:gd name="T52" fmla="*/ 82 w 116"/>
                    <a:gd name="T53" fmla="*/ 16 h 33"/>
                    <a:gd name="T54" fmla="*/ 76 w 116"/>
                    <a:gd name="T55" fmla="*/ 16 h 33"/>
                    <a:gd name="T56" fmla="*/ 72 w 116"/>
                    <a:gd name="T57" fmla="*/ 16 h 33"/>
                    <a:gd name="T58" fmla="*/ 69 w 116"/>
                    <a:gd name="T59" fmla="*/ 16 h 33"/>
                    <a:gd name="T60" fmla="*/ 65 w 116"/>
                    <a:gd name="T61" fmla="*/ 14 h 33"/>
                    <a:gd name="T62" fmla="*/ 61 w 116"/>
                    <a:gd name="T63" fmla="*/ 14 h 33"/>
                    <a:gd name="T64" fmla="*/ 55 w 116"/>
                    <a:gd name="T65" fmla="*/ 12 h 33"/>
                    <a:gd name="T66" fmla="*/ 52 w 116"/>
                    <a:gd name="T67" fmla="*/ 12 h 33"/>
                    <a:gd name="T68" fmla="*/ 46 w 116"/>
                    <a:gd name="T69" fmla="*/ 10 h 33"/>
                    <a:gd name="T70" fmla="*/ 40 w 116"/>
                    <a:gd name="T71" fmla="*/ 8 h 33"/>
                    <a:gd name="T72" fmla="*/ 34 w 116"/>
                    <a:gd name="T73" fmla="*/ 6 h 33"/>
                    <a:gd name="T74" fmla="*/ 31 w 116"/>
                    <a:gd name="T75" fmla="*/ 6 h 33"/>
                    <a:gd name="T76" fmla="*/ 25 w 116"/>
                    <a:gd name="T77" fmla="*/ 4 h 33"/>
                    <a:gd name="T78" fmla="*/ 19 w 116"/>
                    <a:gd name="T79" fmla="*/ 2 h 33"/>
                    <a:gd name="T80" fmla="*/ 15 w 116"/>
                    <a:gd name="T81" fmla="*/ 2 h 33"/>
                    <a:gd name="T82" fmla="*/ 12 w 116"/>
                    <a:gd name="T83" fmla="*/ 0 h 33"/>
                    <a:gd name="T84" fmla="*/ 6 w 116"/>
                    <a:gd name="T85" fmla="*/ 0 h 33"/>
                    <a:gd name="T86" fmla="*/ 6 w 116"/>
                    <a:gd name="T87" fmla="*/ 0 h 33"/>
                    <a:gd name="T88" fmla="*/ 0 w 116"/>
                    <a:gd name="T89" fmla="*/ 12 h 33"/>
                    <a:gd name="T90" fmla="*/ 0 w 116"/>
                    <a:gd name="T91" fmla="*/ 12 h 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33"/>
                    <a:gd name="T140" fmla="*/ 116 w 116"/>
                    <a:gd name="T141" fmla="*/ 33 h 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33">
                      <a:moveTo>
                        <a:pt x="0" y="12"/>
                      </a:moveTo>
                      <a:lnTo>
                        <a:pt x="4" y="14"/>
                      </a:lnTo>
                      <a:lnTo>
                        <a:pt x="8" y="14"/>
                      </a:lnTo>
                      <a:lnTo>
                        <a:pt x="14" y="16"/>
                      </a:lnTo>
                      <a:lnTo>
                        <a:pt x="19" y="17"/>
                      </a:lnTo>
                      <a:lnTo>
                        <a:pt x="29" y="19"/>
                      </a:lnTo>
                      <a:lnTo>
                        <a:pt x="36" y="21"/>
                      </a:lnTo>
                      <a:lnTo>
                        <a:pt x="44" y="25"/>
                      </a:lnTo>
                      <a:lnTo>
                        <a:pt x="53" y="27"/>
                      </a:lnTo>
                      <a:lnTo>
                        <a:pt x="61" y="29"/>
                      </a:lnTo>
                      <a:lnTo>
                        <a:pt x="71" y="31"/>
                      </a:lnTo>
                      <a:lnTo>
                        <a:pt x="80" y="33"/>
                      </a:lnTo>
                      <a:lnTo>
                        <a:pt x="88" y="33"/>
                      </a:lnTo>
                      <a:lnTo>
                        <a:pt x="97" y="33"/>
                      </a:lnTo>
                      <a:lnTo>
                        <a:pt x="103" y="33"/>
                      </a:lnTo>
                      <a:lnTo>
                        <a:pt x="109" y="31"/>
                      </a:lnTo>
                      <a:lnTo>
                        <a:pt x="112" y="29"/>
                      </a:lnTo>
                      <a:lnTo>
                        <a:pt x="114" y="27"/>
                      </a:lnTo>
                      <a:lnTo>
                        <a:pt x="114" y="25"/>
                      </a:lnTo>
                      <a:lnTo>
                        <a:pt x="116" y="25"/>
                      </a:lnTo>
                      <a:lnTo>
                        <a:pt x="112" y="21"/>
                      </a:lnTo>
                      <a:lnTo>
                        <a:pt x="107" y="19"/>
                      </a:lnTo>
                      <a:lnTo>
                        <a:pt x="101" y="19"/>
                      </a:lnTo>
                      <a:lnTo>
                        <a:pt x="97" y="17"/>
                      </a:lnTo>
                      <a:lnTo>
                        <a:pt x="91" y="17"/>
                      </a:lnTo>
                      <a:lnTo>
                        <a:pt x="88" y="17"/>
                      </a:lnTo>
                      <a:lnTo>
                        <a:pt x="82" y="16"/>
                      </a:lnTo>
                      <a:lnTo>
                        <a:pt x="76" y="16"/>
                      </a:lnTo>
                      <a:lnTo>
                        <a:pt x="72" y="16"/>
                      </a:lnTo>
                      <a:lnTo>
                        <a:pt x="69" y="16"/>
                      </a:lnTo>
                      <a:lnTo>
                        <a:pt x="65" y="14"/>
                      </a:lnTo>
                      <a:lnTo>
                        <a:pt x="61" y="14"/>
                      </a:lnTo>
                      <a:lnTo>
                        <a:pt x="55" y="12"/>
                      </a:lnTo>
                      <a:lnTo>
                        <a:pt x="52" y="12"/>
                      </a:lnTo>
                      <a:lnTo>
                        <a:pt x="46" y="10"/>
                      </a:lnTo>
                      <a:lnTo>
                        <a:pt x="40" y="8"/>
                      </a:lnTo>
                      <a:lnTo>
                        <a:pt x="34" y="6"/>
                      </a:lnTo>
                      <a:lnTo>
                        <a:pt x="31" y="6"/>
                      </a:lnTo>
                      <a:lnTo>
                        <a:pt x="25" y="4"/>
                      </a:lnTo>
                      <a:lnTo>
                        <a:pt x="19" y="2"/>
                      </a:lnTo>
                      <a:lnTo>
                        <a:pt x="15" y="2"/>
                      </a:lnTo>
                      <a:lnTo>
                        <a:pt x="12" y="0"/>
                      </a:lnTo>
                      <a:lnTo>
                        <a:pt x="6" y="0"/>
                      </a:lnTo>
                      <a:lnTo>
                        <a:pt x="0" y="12"/>
                      </a:lnTo>
                      <a:close/>
                    </a:path>
                  </a:pathLst>
                </a:custGeom>
                <a:solidFill>
                  <a:srgbClr val="000000"/>
                </a:solidFill>
                <a:ln w="9525">
                  <a:noFill/>
                  <a:round/>
                  <a:headEnd/>
                  <a:tailEnd/>
                </a:ln>
              </p:spPr>
              <p:txBody>
                <a:bodyPr/>
                <a:lstStyle/>
                <a:p>
                  <a:pPr algn="l" eaLnBrk="1" hangingPunct="1"/>
                  <a:endParaRPr lang="en-US"/>
                </a:p>
              </p:txBody>
            </p:sp>
          </p:grpSp>
          <p:grpSp>
            <p:nvGrpSpPr>
              <p:cNvPr id="1336" name="Group 689"/>
              <p:cNvGrpSpPr>
                <a:grpSpLocks noChangeAspect="1"/>
              </p:cNvGrpSpPr>
              <p:nvPr/>
            </p:nvGrpSpPr>
            <p:grpSpPr bwMode="auto">
              <a:xfrm>
                <a:off x="2187" y="1706"/>
                <a:ext cx="192" cy="344"/>
                <a:chOff x="3226" y="2374"/>
                <a:chExt cx="264" cy="344"/>
              </a:xfrm>
            </p:grpSpPr>
            <p:sp>
              <p:nvSpPr>
                <p:cNvPr id="1403" name="Freeform 690"/>
                <p:cNvSpPr>
                  <a:spLocks noChangeAspect="1"/>
                </p:cNvSpPr>
                <p:nvPr/>
              </p:nvSpPr>
              <p:spPr bwMode="auto">
                <a:xfrm>
                  <a:off x="3232" y="2457"/>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FFCC00"/>
                </a:solidFill>
                <a:ln w="9525">
                  <a:noFill/>
                  <a:round/>
                  <a:headEnd/>
                  <a:tailEnd/>
                </a:ln>
              </p:spPr>
              <p:txBody>
                <a:bodyPr/>
                <a:lstStyle/>
                <a:p>
                  <a:pPr algn="l" eaLnBrk="1" hangingPunct="1"/>
                  <a:endParaRPr lang="en-US"/>
                </a:p>
              </p:txBody>
            </p:sp>
            <p:sp>
              <p:nvSpPr>
                <p:cNvPr id="1404" name="Freeform 691"/>
                <p:cNvSpPr>
                  <a:spLocks noChangeAspect="1"/>
                </p:cNvSpPr>
                <p:nvPr/>
              </p:nvSpPr>
              <p:spPr bwMode="auto">
                <a:xfrm>
                  <a:off x="3264" y="2448"/>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FF9900"/>
                </a:solidFill>
                <a:ln w="9525">
                  <a:noFill/>
                  <a:round/>
                  <a:headEnd/>
                  <a:tailEnd/>
                </a:ln>
              </p:spPr>
              <p:txBody>
                <a:bodyPr/>
                <a:lstStyle/>
                <a:p>
                  <a:pPr algn="l" eaLnBrk="1" hangingPunct="1"/>
                  <a:endParaRPr lang="en-US"/>
                </a:p>
              </p:txBody>
            </p:sp>
            <p:sp>
              <p:nvSpPr>
                <p:cNvPr id="1405" name="Freeform 692"/>
                <p:cNvSpPr>
                  <a:spLocks noChangeAspect="1"/>
                </p:cNvSpPr>
                <p:nvPr/>
              </p:nvSpPr>
              <p:spPr bwMode="auto">
                <a:xfrm>
                  <a:off x="3250" y="2490"/>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406" name="Freeform 693"/>
                <p:cNvSpPr>
                  <a:spLocks noChangeAspect="1"/>
                </p:cNvSpPr>
                <p:nvPr/>
              </p:nvSpPr>
              <p:spPr bwMode="auto">
                <a:xfrm>
                  <a:off x="3276" y="2528"/>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339966"/>
                </a:solidFill>
                <a:ln w="9525">
                  <a:noFill/>
                  <a:round/>
                  <a:headEnd/>
                  <a:tailEnd/>
                </a:ln>
              </p:spPr>
              <p:txBody>
                <a:bodyPr/>
                <a:lstStyle/>
                <a:p>
                  <a:pPr algn="l" eaLnBrk="1" hangingPunct="1"/>
                  <a:endParaRPr lang="en-US"/>
                </a:p>
              </p:txBody>
            </p:sp>
            <p:sp>
              <p:nvSpPr>
                <p:cNvPr id="1407" name="Freeform 694"/>
                <p:cNvSpPr>
                  <a:spLocks noChangeAspect="1"/>
                </p:cNvSpPr>
                <p:nvPr/>
              </p:nvSpPr>
              <p:spPr bwMode="auto">
                <a:xfrm>
                  <a:off x="3278" y="2553"/>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408" name="Freeform 695"/>
                <p:cNvSpPr>
                  <a:spLocks noChangeAspect="1"/>
                </p:cNvSpPr>
                <p:nvPr/>
              </p:nvSpPr>
              <p:spPr bwMode="auto">
                <a:xfrm>
                  <a:off x="3257" y="2374"/>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FF6600"/>
                </a:solidFill>
                <a:ln w="9525">
                  <a:noFill/>
                  <a:round/>
                  <a:headEnd/>
                  <a:tailEnd/>
                </a:ln>
              </p:spPr>
              <p:txBody>
                <a:bodyPr/>
                <a:lstStyle/>
                <a:p>
                  <a:pPr algn="l" eaLnBrk="1" hangingPunct="1"/>
                  <a:endParaRPr lang="en-US"/>
                </a:p>
              </p:txBody>
            </p:sp>
            <p:sp>
              <p:nvSpPr>
                <p:cNvPr id="1409" name="Freeform 696"/>
                <p:cNvSpPr>
                  <a:spLocks noChangeAspect="1"/>
                </p:cNvSpPr>
                <p:nvPr/>
              </p:nvSpPr>
              <p:spPr bwMode="auto">
                <a:xfrm>
                  <a:off x="3267" y="2418"/>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FFA366"/>
                </a:solidFill>
                <a:ln w="9525">
                  <a:noFill/>
                  <a:round/>
                  <a:headEnd/>
                  <a:tailEnd/>
                </a:ln>
              </p:spPr>
              <p:txBody>
                <a:bodyPr/>
                <a:lstStyle/>
                <a:p>
                  <a:pPr algn="l" eaLnBrk="1" hangingPunct="1"/>
                  <a:endParaRPr lang="en-US"/>
                </a:p>
              </p:txBody>
            </p:sp>
            <p:sp>
              <p:nvSpPr>
                <p:cNvPr id="1410" name="Freeform 697"/>
                <p:cNvSpPr>
                  <a:spLocks noChangeAspect="1"/>
                </p:cNvSpPr>
                <p:nvPr/>
              </p:nvSpPr>
              <p:spPr bwMode="auto">
                <a:xfrm>
                  <a:off x="3297" y="2376"/>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D90000"/>
                </a:solidFill>
                <a:ln w="9525">
                  <a:noFill/>
                  <a:round/>
                  <a:headEnd/>
                  <a:tailEnd/>
                </a:ln>
              </p:spPr>
              <p:txBody>
                <a:bodyPr/>
                <a:lstStyle/>
                <a:p>
                  <a:pPr algn="l" eaLnBrk="1" hangingPunct="1"/>
                  <a:endParaRPr lang="en-US"/>
                </a:p>
              </p:txBody>
            </p:sp>
            <p:sp>
              <p:nvSpPr>
                <p:cNvPr id="1411" name="Freeform 698"/>
                <p:cNvSpPr>
                  <a:spLocks noChangeAspect="1"/>
                </p:cNvSpPr>
                <p:nvPr/>
              </p:nvSpPr>
              <p:spPr bwMode="auto">
                <a:xfrm>
                  <a:off x="3309" y="2400"/>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D90000"/>
                </a:solidFill>
                <a:ln w="9525">
                  <a:noFill/>
                  <a:round/>
                  <a:headEnd/>
                  <a:tailEnd/>
                </a:ln>
              </p:spPr>
              <p:txBody>
                <a:bodyPr/>
                <a:lstStyle/>
                <a:p>
                  <a:pPr algn="l" eaLnBrk="1" hangingPunct="1"/>
                  <a:endParaRPr lang="en-US"/>
                </a:p>
              </p:txBody>
            </p:sp>
            <p:sp>
              <p:nvSpPr>
                <p:cNvPr id="1412" name="Freeform 699"/>
                <p:cNvSpPr>
                  <a:spLocks noChangeAspect="1"/>
                </p:cNvSpPr>
                <p:nvPr/>
              </p:nvSpPr>
              <p:spPr bwMode="auto">
                <a:xfrm>
                  <a:off x="3260" y="2375"/>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413" name="Freeform 700"/>
                <p:cNvSpPr>
                  <a:spLocks noChangeAspect="1"/>
                </p:cNvSpPr>
                <p:nvPr/>
              </p:nvSpPr>
              <p:spPr bwMode="auto">
                <a:xfrm>
                  <a:off x="3249" y="2399"/>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414" name="Freeform 701"/>
                <p:cNvSpPr>
                  <a:spLocks noChangeAspect="1"/>
                </p:cNvSpPr>
                <p:nvPr/>
              </p:nvSpPr>
              <p:spPr bwMode="auto">
                <a:xfrm>
                  <a:off x="3423" y="2404"/>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415" name="Freeform 702"/>
                <p:cNvSpPr>
                  <a:spLocks noChangeAspect="1"/>
                </p:cNvSpPr>
                <p:nvPr/>
              </p:nvSpPr>
              <p:spPr bwMode="auto">
                <a:xfrm>
                  <a:off x="3226" y="2465"/>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416" name="Freeform 703"/>
                <p:cNvSpPr>
                  <a:spLocks noChangeAspect="1"/>
                </p:cNvSpPr>
                <p:nvPr/>
              </p:nvSpPr>
              <p:spPr bwMode="auto">
                <a:xfrm>
                  <a:off x="3396" y="2460"/>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417" name="Freeform 704"/>
                <p:cNvSpPr>
                  <a:spLocks noChangeAspect="1"/>
                </p:cNvSpPr>
                <p:nvPr/>
              </p:nvSpPr>
              <p:spPr bwMode="auto">
                <a:xfrm>
                  <a:off x="3245" y="2661"/>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418" name="Freeform 705"/>
                <p:cNvSpPr>
                  <a:spLocks noChangeAspect="1"/>
                </p:cNvSpPr>
                <p:nvPr/>
              </p:nvSpPr>
              <p:spPr bwMode="auto">
                <a:xfrm>
                  <a:off x="3268" y="2527"/>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419" name="Freeform 706"/>
                <p:cNvSpPr>
                  <a:spLocks noChangeAspect="1"/>
                </p:cNvSpPr>
                <p:nvPr/>
              </p:nvSpPr>
              <p:spPr bwMode="auto">
                <a:xfrm>
                  <a:off x="3285" y="2520"/>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420" name="Freeform 707"/>
                <p:cNvSpPr>
                  <a:spLocks noChangeAspect="1"/>
                </p:cNvSpPr>
                <p:nvPr/>
              </p:nvSpPr>
              <p:spPr bwMode="auto">
                <a:xfrm>
                  <a:off x="3409" y="2527"/>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421" name="Freeform 708"/>
                <p:cNvSpPr>
                  <a:spLocks noChangeAspect="1"/>
                </p:cNvSpPr>
                <p:nvPr/>
              </p:nvSpPr>
              <p:spPr bwMode="auto">
                <a:xfrm>
                  <a:off x="3286" y="2627"/>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422" name="Freeform 709"/>
                <p:cNvSpPr>
                  <a:spLocks noChangeAspect="1"/>
                </p:cNvSpPr>
                <p:nvPr/>
              </p:nvSpPr>
              <p:spPr bwMode="auto">
                <a:xfrm>
                  <a:off x="3318" y="2567"/>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80"/>
                </a:solidFill>
                <a:ln w="9525">
                  <a:noFill/>
                  <a:round/>
                  <a:headEnd/>
                  <a:tailEnd/>
                </a:ln>
              </p:spPr>
              <p:txBody>
                <a:bodyPr/>
                <a:lstStyle/>
                <a:p>
                  <a:pPr algn="l" eaLnBrk="1" hangingPunct="1"/>
                  <a:endParaRPr lang="en-US"/>
                </a:p>
              </p:txBody>
            </p:sp>
            <p:sp>
              <p:nvSpPr>
                <p:cNvPr id="1423" name="Freeform 710"/>
                <p:cNvSpPr>
                  <a:spLocks noChangeAspect="1"/>
                </p:cNvSpPr>
                <p:nvPr/>
              </p:nvSpPr>
              <p:spPr bwMode="auto">
                <a:xfrm>
                  <a:off x="3368" y="2389"/>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FFA366"/>
                </a:solidFill>
                <a:ln w="9525">
                  <a:noFill/>
                  <a:round/>
                  <a:headEnd/>
                  <a:tailEnd/>
                </a:ln>
              </p:spPr>
              <p:txBody>
                <a:bodyPr/>
                <a:lstStyle/>
                <a:p>
                  <a:pPr algn="l" eaLnBrk="1" hangingPunct="1"/>
                  <a:endParaRPr lang="en-US"/>
                </a:p>
              </p:txBody>
            </p:sp>
          </p:grpSp>
          <p:grpSp>
            <p:nvGrpSpPr>
              <p:cNvPr id="1337" name="Group 711"/>
              <p:cNvGrpSpPr>
                <a:grpSpLocks noChangeAspect="1"/>
              </p:cNvGrpSpPr>
              <p:nvPr/>
            </p:nvGrpSpPr>
            <p:grpSpPr bwMode="auto">
              <a:xfrm>
                <a:off x="3151" y="2046"/>
                <a:ext cx="288" cy="200"/>
                <a:chOff x="3226" y="1606"/>
                <a:chExt cx="264" cy="344"/>
              </a:xfrm>
            </p:grpSpPr>
            <p:sp>
              <p:nvSpPr>
                <p:cNvPr id="1382" name="Freeform 712"/>
                <p:cNvSpPr>
                  <a:spLocks noChangeAspect="1"/>
                </p:cNvSpPr>
                <p:nvPr/>
              </p:nvSpPr>
              <p:spPr bwMode="auto">
                <a:xfrm>
                  <a:off x="3232" y="1689"/>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66"/>
                </a:solidFill>
                <a:ln w="9525">
                  <a:noFill/>
                  <a:round/>
                  <a:headEnd/>
                  <a:tailEnd/>
                </a:ln>
              </p:spPr>
              <p:txBody>
                <a:bodyPr/>
                <a:lstStyle/>
                <a:p>
                  <a:pPr algn="l" eaLnBrk="1" hangingPunct="1"/>
                  <a:endParaRPr lang="en-US"/>
                </a:p>
              </p:txBody>
            </p:sp>
            <p:sp>
              <p:nvSpPr>
                <p:cNvPr id="1383" name="Freeform 713"/>
                <p:cNvSpPr>
                  <a:spLocks noChangeAspect="1"/>
                </p:cNvSpPr>
                <p:nvPr/>
              </p:nvSpPr>
              <p:spPr bwMode="auto">
                <a:xfrm>
                  <a:off x="3264" y="1680"/>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660066"/>
                </a:solidFill>
                <a:ln w="9525">
                  <a:noFill/>
                  <a:round/>
                  <a:headEnd/>
                  <a:tailEnd/>
                </a:ln>
              </p:spPr>
              <p:txBody>
                <a:bodyPr/>
                <a:lstStyle/>
                <a:p>
                  <a:pPr algn="l" eaLnBrk="1" hangingPunct="1"/>
                  <a:endParaRPr lang="en-US"/>
                </a:p>
              </p:txBody>
            </p:sp>
            <p:sp>
              <p:nvSpPr>
                <p:cNvPr id="1384" name="Freeform 714"/>
                <p:cNvSpPr>
                  <a:spLocks noChangeAspect="1"/>
                </p:cNvSpPr>
                <p:nvPr/>
              </p:nvSpPr>
              <p:spPr bwMode="auto">
                <a:xfrm>
                  <a:off x="3250" y="1722"/>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CC99FF"/>
                </a:solidFill>
                <a:ln w="9525">
                  <a:noFill/>
                  <a:round/>
                  <a:headEnd/>
                  <a:tailEnd/>
                </a:ln>
              </p:spPr>
              <p:txBody>
                <a:bodyPr/>
                <a:lstStyle/>
                <a:p>
                  <a:pPr algn="l" eaLnBrk="1" hangingPunct="1"/>
                  <a:endParaRPr lang="en-US"/>
                </a:p>
              </p:txBody>
            </p:sp>
            <p:sp>
              <p:nvSpPr>
                <p:cNvPr id="1385" name="Freeform 715"/>
                <p:cNvSpPr>
                  <a:spLocks noChangeAspect="1"/>
                </p:cNvSpPr>
                <p:nvPr/>
              </p:nvSpPr>
              <p:spPr bwMode="auto">
                <a:xfrm>
                  <a:off x="3276" y="1760"/>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FF9900"/>
                </a:solidFill>
                <a:ln w="9525">
                  <a:noFill/>
                  <a:round/>
                  <a:headEnd/>
                  <a:tailEnd/>
                </a:ln>
              </p:spPr>
              <p:txBody>
                <a:bodyPr/>
                <a:lstStyle/>
                <a:p>
                  <a:pPr algn="l" eaLnBrk="1" hangingPunct="1"/>
                  <a:endParaRPr lang="en-US"/>
                </a:p>
              </p:txBody>
            </p:sp>
            <p:sp>
              <p:nvSpPr>
                <p:cNvPr id="1386" name="Freeform 716"/>
                <p:cNvSpPr>
                  <a:spLocks noChangeAspect="1"/>
                </p:cNvSpPr>
                <p:nvPr/>
              </p:nvSpPr>
              <p:spPr bwMode="auto">
                <a:xfrm>
                  <a:off x="3278" y="1785"/>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FF99"/>
                </a:solidFill>
                <a:ln w="9525">
                  <a:noFill/>
                  <a:round/>
                  <a:headEnd/>
                  <a:tailEnd/>
                </a:ln>
              </p:spPr>
              <p:txBody>
                <a:bodyPr/>
                <a:lstStyle/>
                <a:p>
                  <a:pPr algn="l" eaLnBrk="1" hangingPunct="1"/>
                  <a:endParaRPr lang="en-US"/>
                </a:p>
              </p:txBody>
            </p:sp>
            <p:sp>
              <p:nvSpPr>
                <p:cNvPr id="1387" name="Freeform 717"/>
                <p:cNvSpPr>
                  <a:spLocks noChangeAspect="1"/>
                </p:cNvSpPr>
                <p:nvPr/>
              </p:nvSpPr>
              <p:spPr bwMode="auto">
                <a:xfrm>
                  <a:off x="3257" y="1606"/>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1388" name="Freeform 718"/>
                <p:cNvSpPr>
                  <a:spLocks noChangeAspect="1"/>
                </p:cNvSpPr>
                <p:nvPr/>
              </p:nvSpPr>
              <p:spPr bwMode="auto">
                <a:xfrm>
                  <a:off x="3267" y="1650"/>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1389" name="Freeform 719"/>
                <p:cNvSpPr>
                  <a:spLocks noChangeAspect="1"/>
                </p:cNvSpPr>
                <p:nvPr/>
              </p:nvSpPr>
              <p:spPr bwMode="auto">
                <a:xfrm>
                  <a:off x="3297" y="1608"/>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1390" name="Freeform 720"/>
                <p:cNvSpPr>
                  <a:spLocks noChangeAspect="1"/>
                </p:cNvSpPr>
                <p:nvPr/>
              </p:nvSpPr>
              <p:spPr bwMode="auto">
                <a:xfrm>
                  <a:off x="3309" y="1632"/>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1391" name="Freeform 721"/>
                <p:cNvSpPr>
                  <a:spLocks noChangeAspect="1"/>
                </p:cNvSpPr>
                <p:nvPr/>
              </p:nvSpPr>
              <p:spPr bwMode="auto">
                <a:xfrm>
                  <a:off x="3260" y="1607"/>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392" name="Freeform 722"/>
                <p:cNvSpPr>
                  <a:spLocks noChangeAspect="1"/>
                </p:cNvSpPr>
                <p:nvPr/>
              </p:nvSpPr>
              <p:spPr bwMode="auto">
                <a:xfrm>
                  <a:off x="3249" y="1631"/>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393" name="Freeform 723"/>
                <p:cNvSpPr>
                  <a:spLocks noChangeAspect="1"/>
                </p:cNvSpPr>
                <p:nvPr/>
              </p:nvSpPr>
              <p:spPr bwMode="auto">
                <a:xfrm>
                  <a:off x="3423" y="1636"/>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394" name="Freeform 724"/>
                <p:cNvSpPr>
                  <a:spLocks noChangeAspect="1"/>
                </p:cNvSpPr>
                <p:nvPr/>
              </p:nvSpPr>
              <p:spPr bwMode="auto">
                <a:xfrm>
                  <a:off x="3226" y="1697"/>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395" name="Freeform 725"/>
                <p:cNvSpPr>
                  <a:spLocks noChangeAspect="1"/>
                </p:cNvSpPr>
                <p:nvPr/>
              </p:nvSpPr>
              <p:spPr bwMode="auto">
                <a:xfrm>
                  <a:off x="3396" y="1692"/>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396" name="Freeform 726"/>
                <p:cNvSpPr>
                  <a:spLocks noChangeAspect="1"/>
                </p:cNvSpPr>
                <p:nvPr/>
              </p:nvSpPr>
              <p:spPr bwMode="auto">
                <a:xfrm>
                  <a:off x="3245" y="1893"/>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397" name="Freeform 727"/>
                <p:cNvSpPr>
                  <a:spLocks noChangeAspect="1"/>
                </p:cNvSpPr>
                <p:nvPr/>
              </p:nvSpPr>
              <p:spPr bwMode="auto">
                <a:xfrm>
                  <a:off x="3268" y="1759"/>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398" name="Freeform 728"/>
                <p:cNvSpPr>
                  <a:spLocks noChangeAspect="1"/>
                </p:cNvSpPr>
                <p:nvPr/>
              </p:nvSpPr>
              <p:spPr bwMode="auto">
                <a:xfrm>
                  <a:off x="3285" y="1752"/>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399" name="Freeform 729"/>
                <p:cNvSpPr>
                  <a:spLocks noChangeAspect="1"/>
                </p:cNvSpPr>
                <p:nvPr/>
              </p:nvSpPr>
              <p:spPr bwMode="auto">
                <a:xfrm>
                  <a:off x="3409" y="1759"/>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400" name="Freeform 730"/>
                <p:cNvSpPr>
                  <a:spLocks noChangeAspect="1"/>
                </p:cNvSpPr>
                <p:nvPr/>
              </p:nvSpPr>
              <p:spPr bwMode="auto">
                <a:xfrm>
                  <a:off x="3286" y="1859"/>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401" name="Freeform 731"/>
                <p:cNvSpPr>
                  <a:spLocks noChangeAspect="1"/>
                </p:cNvSpPr>
                <p:nvPr/>
              </p:nvSpPr>
              <p:spPr bwMode="auto">
                <a:xfrm>
                  <a:off x="3318" y="1799"/>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402" name="Freeform 732"/>
                <p:cNvSpPr>
                  <a:spLocks noChangeAspect="1"/>
                </p:cNvSpPr>
                <p:nvPr/>
              </p:nvSpPr>
              <p:spPr bwMode="auto">
                <a:xfrm>
                  <a:off x="3368" y="1621"/>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nvGrpSpPr>
              <p:cNvPr id="1338" name="Group 733"/>
              <p:cNvGrpSpPr>
                <a:grpSpLocks noChangeAspect="1"/>
              </p:cNvGrpSpPr>
              <p:nvPr/>
            </p:nvGrpSpPr>
            <p:grpSpPr bwMode="auto">
              <a:xfrm>
                <a:off x="2331" y="1802"/>
                <a:ext cx="264" cy="344"/>
                <a:chOff x="3658" y="2422"/>
                <a:chExt cx="264" cy="344"/>
              </a:xfrm>
            </p:grpSpPr>
            <p:sp>
              <p:nvSpPr>
                <p:cNvPr id="1361" name="Freeform 734"/>
                <p:cNvSpPr>
                  <a:spLocks noChangeAspect="1"/>
                </p:cNvSpPr>
                <p:nvPr/>
              </p:nvSpPr>
              <p:spPr bwMode="auto">
                <a:xfrm>
                  <a:off x="3664" y="2505"/>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CCFFCC"/>
                </a:solidFill>
                <a:ln w="9525">
                  <a:noFill/>
                  <a:round/>
                  <a:headEnd/>
                  <a:tailEnd/>
                </a:ln>
              </p:spPr>
              <p:txBody>
                <a:bodyPr/>
                <a:lstStyle/>
                <a:p>
                  <a:pPr algn="l" eaLnBrk="1" hangingPunct="1"/>
                  <a:endParaRPr lang="en-US"/>
                </a:p>
              </p:txBody>
            </p:sp>
            <p:sp>
              <p:nvSpPr>
                <p:cNvPr id="1362" name="Freeform 735"/>
                <p:cNvSpPr>
                  <a:spLocks noChangeAspect="1"/>
                </p:cNvSpPr>
                <p:nvPr/>
              </p:nvSpPr>
              <p:spPr bwMode="auto">
                <a:xfrm>
                  <a:off x="3696" y="2496"/>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9CD9BF"/>
                </a:solidFill>
                <a:ln w="9525">
                  <a:noFill/>
                  <a:round/>
                  <a:headEnd/>
                  <a:tailEnd/>
                </a:ln>
              </p:spPr>
              <p:txBody>
                <a:bodyPr/>
                <a:lstStyle/>
                <a:p>
                  <a:pPr algn="l" eaLnBrk="1" hangingPunct="1"/>
                  <a:endParaRPr lang="en-US"/>
                </a:p>
              </p:txBody>
            </p:sp>
            <p:sp>
              <p:nvSpPr>
                <p:cNvPr id="1363" name="Freeform 736"/>
                <p:cNvSpPr>
                  <a:spLocks noChangeAspect="1"/>
                </p:cNvSpPr>
                <p:nvPr/>
              </p:nvSpPr>
              <p:spPr bwMode="auto">
                <a:xfrm>
                  <a:off x="3682" y="2538"/>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5FFF5"/>
                </a:solidFill>
                <a:ln w="9525">
                  <a:noFill/>
                  <a:round/>
                  <a:headEnd/>
                  <a:tailEnd/>
                </a:ln>
              </p:spPr>
              <p:txBody>
                <a:bodyPr/>
                <a:lstStyle/>
                <a:p>
                  <a:pPr algn="l" eaLnBrk="1" hangingPunct="1"/>
                  <a:endParaRPr lang="en-US"/>
                </a:p>
              </p:txBody>
            </p:sp>
            <p:sp>
              <p:nvSpPr>
                <p:cNvPr id="1364" name="Freeform 737"/>
                <p:cNvSpPr>
                  <a:spLocks noChangeAspect="1"/>
                </p:cNvSpPr>
                <p:nvPr/>
              </p:nvSpPr>
              <p:spPr bwMode="auto">
                <a:xfrm>
                  <a:off x="3708" y="2576"/>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008000"/>
                </a:solidFill>
                <a:ln w="9525">
                  <a:noFill/>
                  <a:round/>
                  <a:headEnd/>
                  <a:tailEnd/>
                </a:ln>
              </p:spPr>
              <p:txBody>
                <a:bodyPr/>
                <a:lstStyle/>
                <a:p>
                  <a:pPr algn="l" eaLnBrk="1" hangingPunct="1"/>
                  <a:endParaRPr lang="en-US"/>
                </a:p>
              </p:txBody>
            </p:sp>
            <p:sp>
              <p:nvSpPr>
                <p:cNvPr id="1365" name="Freeform 738"/>
                <p:cNvSpPr>
                  <a:spLocks noChangeAspect="1"/>
                </p:cNvSpPr>
                <p:nvPr/>
              </p:nvSpPr>
              <p:spPr bwMode="auto">
                <a:xfrm>
                  <a:off x="3710" y="2601"/>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CCFFCC"/>
                </a:solidFill>
                <a:ln w="9525">
                  <a:noFill/>
                  <a:round/>
                  <a:headEnd/>
                  <a:tailEnd/>
                </a:ln>
              </p:spPr>
              <p:txBody>
                <a:bodyPr/>
                <a:lstStyle/>
                <a:p>
                  <a:pPr algn="l" eaLnBrk="1" hangingPunct="1"/>
                  <a:endParaRPr lang="en-US"/>
                </a:p>
              </p:txBody>
            </p:sp>
            <p:sp>
              <p:nvSpPr>
                <p:cNvPr id="1366" name="Freeform 739"/>
                <p:cNvSpPr>
                  <a:spLocks noChangeAspect="1"/>
                </p:cNvSpPr>
                <p:nvPr/>
              </p:nvSpPr>
              <p:spPr bwMode="auto">
                <a:xfrm>
                  <a:off x="3689" y="2422"/>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00"/>
                </a:solidFill>
                <a:ln w="9525">
                  <a:noFill/>
                  <a:round/>
                  <a:headEnd/>
                  <a:tailEnd/>
                </a:ln>
              </p:spPr>
              <p:txBody>
                <a:bodyPr/>
                <a:lstStyle/>
                <a:p>
                  <a:pPr algn="l" eaLnBrk="1" hangingPunct="1"/>
                  <a:endParaRPr lang="en-US"/>
                </a:p>
              </p:txBody>
            </p:sp>
            <p:sp>
              <p:nvSpPr>
                <p:cNvPr id="1367" name="Freeform 740"/>
                <p:cNvSpPr>
                  <a:spLocks noChangeAspect="1"/>
                </p:cNvSpPr>
                <p:nvPr/>
              </p:nvSpPr>
              <p:spPr bwMode="auto">
                <a:xfrm>
                  <a:off x="3699" y="2466"/>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99CC00"/>
                </a:solidFill>
                <a:ln w="9525">
                  <a:noFill/>
                  <a:round/>
                  <a:headEnd/>
                  <a:tailEnd/>
                </a:ln>
              </p:spPr>
              <p:txBody>
                <a:bodyPr/>
                <a:lstStyle/>
                <a:p>
                  <a:pPr algn="l" eaLnBrk="1" hangingPunct="1"/>
                  <a:endParaRPr lang="en-US"/>
                </a:p>
              </p:txBody>
            </p:sp>
            <p:sp>
              <p:nvSpPr>
                <p:cNvPr id="1368" name="Freeform 741"/>
                <p:cNvSpPr>
                  <a:spLocks noChangeAspect="1"/>
                </p:cNvSpPr>
                <p:nvPr/>
              </p:nvSpPr>
              <p:spPr bwMode="auto">
                <a:xfrm>
                  <a:off x="3729" y="2424"/>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008000"/>
                </a:solidFill>
                <a:ln w="9525">
                  <a:noFill/>
                  <a:round/>
                  <a:headEnd/>
                  <a:tailEnd/>
                </a:ln>
              </p:spPr>
              <p:txBody>
                <a:bodyPr/>
                <a:lstStyle/>
                <a:p>
                  <a:pPr algn="l" eaLnBrk="1" hangingPunct="1"/>
                  <a:endParaRPr lang="en-US"/>
                </a:p>
              </p:txBody>
            </p:sp>
            <p:sp>
              <p:nvSpPr>
                <p:cNvPr id="1369" name="Freeform 742"/>
                <p:cNvSpPr>
                  <a:spLocks noChangeAspect="1"/>
                </p:cNvSpPr>
                <p:nvPr/>
              </p:nvSpPr>
              <p:spPr bwMode="auto">
                <a:xfrm>
                  <a:off x="3741" y="2448"/>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003300"/>
                </a:solidFill>
                <a:ln w="9525">
                  <a:noFill/>
                  <a:round/>
                  <a:headEnd/>
                  <a:tailEnd/>
                </a:ln>
              </p:spPr>
              <p:txBody>
                <a:bodyPr/>
                <a:lstStyle/>
                <a:p>
                  <a:pPr algn="l" eaLnBrk="1" hangingPunct="1"/>
                  <a:endParaRPr lang="en-US"/>
                </a:p>
              </p:txBody>
            </p:sp>
            <p:sp>
              <p:nvSpPr>
                <p:cNvPr id="1370" name="Freeform 743"/>
                <p:cNvSpPr>
                  <a:spLocks noChangeAspect="1"/>
                </p:cNvSpPr>
                <p:nvPr/>
              </p:nvSpPr>
              <p:spPr bwMode="auto">
                <a:xfrm>
                  <a:off x="3692" y="2423"/>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371" name="Freeform 744"/>
                <p:cNvSpPr>
                  <a:spLocks noChangeAspect="1"/>
                </p:cNvSpPr>
                <p:nvPr/>
              </p:nvSpPr>
              <p:spPr bwMode="auto">
                <a:xfrm>
                  <a:off x="3681" y="2447"/>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372" name="Freeform 745"/>
                <p:cNvSpPr>
                  <a:spLocks noChangeAspect="1"/>
                </p:cNvSpPr>
                <p:nvPr/>
              </p:nvSpPr>
              <p:spPr bwMode="auto">
                <a:xfrm>
                  <a:off x="3855" y="2452"/>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373" name="Freeform 746"/>
                <p:cNvSpPr>
                  <a:spLocks noChangeAspect="1"/>
                </p:cNvSpPr>
                <p:nvPr/>
              </p:nvSpPr>
              <p:spPr bwMode="auto">
                <a:xfrm>
                  <a:off x="3658" y="2513"/>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374" name="Freeform 747"/>
                <p:cNvSpPr>
                  <a:spLocks noChangeAspect="1"/>
                </p:cNvSpPr>
                <p:nvPr/>
              </p:nvSpPr>
              <p:spPr bwMode="auto">
                <a:xfrm>
                  <a:off x="3828" y="2508"/>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375" name="Freeform 748"/>
                <p:cNvSpPr>
                  <a:spLocks noChangeAspect="1"/>
                </p:cNvSpPr>
                <p:nvPr/>
              </p:nvSpPr>
              <p:spPr bwMode="auto">
                <a:xfrm>
                  <a:off x="3677" y="2709"/>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376" name="Freeform 749"/>
                <p:cNvSpPr>
                  <a:spLocks noChangeAspect="1"/>
                </p:cNvSpPr>
                <p:nvPr/>
              </p:nvSpPr>
              <p:spPr bwMode="auto">
                <a:xfrm>
                  <a:off x="3700" y="2575"/>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377" name="Freeform 750"/>
                <p:cNvSpPr>
                  <a:spLocks noChangeAspect="1"/>
                </p:cNvSpPr>
                <p:nvPr/>
              </p:nvSpPr>
              <p:spPr bwMode="auto">
                <a:xfrm>
                  <a:off x="3717" y="2568"/>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378" name="Freeform 751"/>
                <p:cNvSpPr>
                  <a:spLocks noChangeAspect="1"/>
                </p:cNvSpPr>
                <p:nvPr/>
              </p:nvSpPr>
              <p:spPr bwMode="auto">
                <a:xfrm>
                  <a:off x="3841" y="2575"/>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379" name="Freeform 752"/>
                <p:cNvSpPr>
                  <a:spLocks noChangeAspect="1"/>
                </p:cNvSpPr>
                <p:nvPr/>
              </p:nvSpPr>
              <p:spPr bwMode="auto">
                <a:xfrm>
                  <a:off x="3718" y="2675"/>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380" name="Freeform 753"/>
                <p:cNvSpPr>
                  <a:spLocks noChangeAspect="1"/>
                </p:cNvSpPr>
                <p:nvPr/>
              </p:nvSpPr>
              <p:spPr bwMode="auto">
                <a:xfrm>
                  <a:off x="3750" y="2615"/>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381" name="Freeform 754"/>
                <p:cNvSpPr>
                  <a:spLocks noChangeAspect="1"/>
                </p:cNvSpPr>
                <p:nvPr/>
              </p:nvSpPr>
              <p:spPr bwMode="auto">
                <a:xfrm>
                  <a:off x="3800" y="2437"/>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CFFCC"/>
                </a:solidFill>
                <a:ln w="9525">
                  <a:noFill/>
                  <a:round/>
                  <a:headEnd/>
                  <a:tailEnd/>
                </a:ln>
              </p:spPr>
              <p:txBody>
                <a:bodyPr/>
                <a:lstStyle/>
                <a:p>
                  <a:pPr algn="l" eaLnBrk="1" hangingPunct="1"/>
                  <a:endParaRPr lang="en-US"/>
                </a:p>
              </p:txBody>
            </p:sp>
          </p:grpSp>
          <p:grpSp>
            <p:nvGrpSpPr>
              <p:cNvPr id="1339" name="Group 755"/>
              <p:cNvGrpSpPr>
                <a:grpSpLocks noChangeAspect="1"/>
              </p:cNvGrpSpPr>
              <p:nvPr/>
            </p:nvGrpSpPr>
            <p:grpSpPr bwMode="auto">
              <a:xfrm>
                <a:off x="2715" y="2042"/>
                <a:ext cx="240" cy="192"/>
                <a:chOff x="3210" y="1981"/>
                <a:chExt cx="264" cy="344"/>
              </a:xfrm>
            </p:grpSpPr>
            <p:sp>
              <p:nvSpPr>
                <p:cNvPr id="1340" name="Freeform 756"/>
                <p:cNvSpPr>
                  <a:spLocks noChangeAspect="1"/>
                </p:cNvSpPr>
                <p:nvPr/>
              </p:nvSpPr>
              <p:spPr bwMode="auto">
                <a:xfrm>
                  <a:off x="3216" y="2064"/>
                  <a:ext cx="253" cy="252"/>
                </a:xfrm>
                <a:custGeom>
                  <a:avLst/>
                  <a:gdLst>
                    <a:gd name="T0" fmla="*/ 118 w 506"/>
                    <a:gd name="T1" fmla="*/ 1 h 503"/>
                    <a:gd name="T2" fmla="*/ 97 w 506"/>
                    <a:gd name="T3" fmla="*/ 9 h 503"/>
                    <a:gd name="T4" fmla="*/ 78 w 506"/>
                    <a:gd name="T5" fmla="*/ 19 h 503"/>
                    <a:gd name="T6" fmla="*/ 59 w 506"/>
                    <a:gd name="T7" fmla="*/ 30 h 503"/>
                    <a:gd name="T8" fmla="*/ 44 w 506"/>
                    <a:gd name="T9" fmla="*/ 43 h 503"/>
                    <a:gd name="T10" fmla="*/ 29 w 506"/>
                    <a:gd name="T11" fmla="*/ 58 h 503"/>
                    <a:gd name="T12" fmla="*/ 17 w 506"/>
                    <a:gd name="T13" fmla="*/ 76 h 503"/>
                    <a:gd name="T14" fmla="*/ 8 w 506"/>
                    <a:gd name="T15" fmla="*/ 95 h 503"/>
                    <a:gd name="T16" fmla="*/ 4 w 506"/>
                    <a:gd name="T17" fmla="*/ 117 h 503"/>
                    <a:gd name="T18" fmla="*/ 0 w 506"/>
                    <a:gd name="T19" fmla="*/ 154 h 503"/>
                    <a:gd name="T20" fmla="*/ 0 w 506"/>
                    <a:gd name="T21" fmla="*/ 199 h 503"/>
                    <a:gd name="T22" fmla="*/ 2 w 506"/>
                    <a:gd name="T23" fmla="*/ 251 h 503"/>
                    <a:gd name="T24" fmla="*/ 4 w 506"/>
                    <a:gd name="T25" fmla="*/ 304 h 503"/>
                    <a:gd name="T26" fmla="*/ 8 w 506"/>
                    <a:gd name="T27" fmla="*/ 353 h 503"/>
                    <a:gd name="T28" fmla="*/ 13 w 506"/>
                    <a:gd name="T29" fmla="*/ 395 h 503"/>
                    <a:gd name="T30" fmla="*/ 21 w 506"/>
                    <a:gd name="T31" fmla="*/ 422 h 503"/>
                    <a:gd name="T32" fmla="*/ 29 w 506"/>
                    <a:gd name="T33" fmla="*/ 435 h 503"/>
                    <a:gd name="T34" fmla="*/ 48 w 506"/>
                    <a:gd name="T35" fmla="*/ 446 h 503"/>
                    <a:gd name="T36" fmla="*/ 72 w 506"/>
                    <a:gd name="T37" fmla="*/ 460 h 503"/>
                    <a:gd name="T38" fmla="*/ 107 w 506"/>
                    <a:gd name="T39" fmla="*/ 473 h 503"/>
                    <a:gd name="T40" fmla="*/ 145 w 506"/>
                    <a:gd name="T41" fmla="*/ 486 h 503"/>
                    <a:gd name="T42" fmla="*/ 186 w 506"/>
                    <a:gd name="T43" fmla="*/ 496 h 503"/>
                    <a:gd name="T44" fmla="*/ 232 w 506"/>
                    <a:gd name="T45" fmla="*/ 502 h 503"/>
                    <a:gd name="T46" fmla="*/ 278 w 506"/>
                    <a:gd name="T47" fmla="*/ 503 h 503"/>
                    <a:gd name="T48" fmla="*/ 321 w 506"/>
                    <a:gd name="T49" fmla="*/ 502 h 503"/>
                    <a:gd name="T50" fmla="*/ 359 w 506"/>
                    <a:gd name="T51" fmla="*/ 498 h 503"/>
                    <a:gd name="T52" fmla="*/ 392 w 506"/>
                    <a:gd name="T53" fmla="*/ 494 h 503"/>
                    <a:gd name="T54" fmla="*/ 418 w 506"/>
                    <a:gd name="T55" fmla="*/ 488 h 503"/>
                    <a:gd name="T56" fmla="*/ 441 w 506"/>
                    <a:gd name="T57" fmla="*/ 481 h 503"/>
                    <a:gd name="T58" fmla="*/ 458 w 506"/>
                    <a:gd name="T59" fmla="*/ 467 h 503"/>
                    <a:gd name="T60" fmla="*/ 471 w 506"/>
                    <a:gd name="T61" fmla="*/ 450 h 503"/>
                    <a:gd name="T62" fmla="*/ 483 w 506"/>
                    <a:gd name="T63" fmla="*/ 427 h 503"/>
                    <a:gd name="T64" fmla="*/ 492 w 506"/>
                    <a:gd name="T65" fmla="*/ 397 h 503"/>
                    <a:gd name="T66" fmla="*/ 498 w 506"/>
                    <a:gd name="T67" fmla="*/ 351 h 503"/>
                    <a:gd name="T68" fmla="*/ 504 w 506"/>
                    <a:gd name="T69" fmla="*/ 298 h 503"/>
                    <a:gd name="T70" fmla="*/ 506 w 506"/>
                    <a:gd name="T71" fmla="*/ 239 h 503"/>
                    <a:gd name="T72" fmla="*/ 504 w 506"/>
                    <a:gd name="T73" fmla="*/ 180 h 503"/>
                    <a:gd name="T74" fmla="*/ 496 w 506"/>
                    <a:gd name="T75" fmla="*/ 127 h 503"/>
                    <a:gd name="T76" fmla="*/ 485 w 506"/>
                    <a:gd name="T77" fmla="*/ 81 h 503"/>
                    <a:gd name="T78" fmla="*/ 466 w 506"/>
                    <a:gd name="T79" fmla="*/ 49 h 503"/>
                    <a:gd name="T80" fmla="*/ 441 w 506"/>
                    <a:gd name="T81" fmla="*/ 32 h 503"/>
                    <a:gd name="T82" fmla="*/ 399 w 506"/>
                    <a:gd name="T83" fmla="*/ 20 h 503"/>
                    <a:gd name="T84" fmla="*/ 348 w 506"/>
                    <a:gd name="T85" fmla="*/ 13 h 503"/>
                    <a:gd name="T86" fmla="*/ 293 w 506"/>
                    <a:gd name="T87" fmla="*/ 7 h 503"/>
                    <a:gd name="T88" fmla="*/ 238 w 506"/>
                    <a:gd name="T89" fmla="*/ 3 h 503"/>
                    <a:gd name="T90" fmla="*/ 190 w 506"/>
                    <a:gd name="T91" fmla="*/ 0 h 503"/>
                    <a:gd name="T92" fmla="*/ 152 w 506"/>
                    <a:gd name="T93" fmla="*/ 0 h 503"/>
                    <a:gd name="T94" fmla="*/ 131 w 506"/>
                    <a:gd name="T95" fmla="*/ 0 h 503"/>
                    <a:gd name="T96" fmla="*/ 129 w 506"/>
                    <a:gd name="T97" fmla="*/ 0 h 5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6"/>
                    <a:gd name="T148" fmla="*/ 0 h 503"/>
                    <a:gd name="T149" fmla="*/ 506 w 506"/>
                    <a:gd name="T150" fmla="*/ 503 h 5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6" h="503">
                      <a:moveTo>
                        <a:pt x="129" y="0"/>
                      </a:moveTo>
                      <a:lnTo>
                        <a:pt x="118" y="1"/>
                      </a:lnTo>
                      <a:lnTo>
                        <a:pt x="108" y="5"/>
                      </a:lnTo>
                      <a:lnTo>
                        <a:pt x="97" y="9"/>
                      </a:lnTo>
                      <a:lnTo>
                        <a:pt x="88" y="15"/>
                      </a:lnTo>
                      <a:lnTo>
                        <a:pt x="78" y="19"/>
                      </a:lnTo>
                      <a:lnTo>
                        <a:pt x="69" y="24"/>
                      </a:lnTo>
                      <a:lnTo>
                        <a:pt x="59" y="30"/>
                      </a:lnTo>
                      <a:lnTo>
                        <a:pt x="51" y="38"/>
                      </a:lnTo>
                      <a:lnTo>
                        <a:pt x="44" y="43"/>
                      </a:lnTo>
                      <a:lnTo>
                        <a:pt x="36" y="51"/>
                      </a:lnTo>
                      <a:lnTo>
                        <a:pt x="29" y="58"/>
                      </a:lnTo>
                      <a:lnTo>
                        <a:pt x="23" y="66"/>
                      </a:lnTo>
                      <a:lnTo>
                        <a:pt x="17" y="76"/>
                      </a:lnTo>
                      <a:lnTo>
                        <a:pt x="12" y="85"/>
                      </a:lnTo>
                      <a:lnTo>
                        <a:pt x="8" y="95"/>
                      </a:lnTo>
                      <a:lnTo>
                        <a:pt x="6" y="106"/>
                      </a:lnTo>
                      <a:lnTo>
                        <a:pt x="4" y="117"/>
                      </a:lnTo>
                      <a:lnTo>
                        <a:pt x="2" y="135"/>
                      </a:lnTo>
                      <a:lnTo>
                        <a:pt x="0" y="154"/>
                      </a:lnTo>
                      <a:lnTo>
                        <a:pt x="0" y="176"/>
                      </a:lnTo>
                      <a:lnTo>
                        <a:pt x="0" y="199"/>
                      </a:lnTo>
                      <a:lnTo>
                        <a:pt x="0" y="226"/>
                      </a:lnTo>
                      <a:lnTo>
                        <a:pt x="2" y="251"/>
                      </a:lnTo>
                      <a:lnTo>
                        <a:pt x="4" y="279"/>
                      </a:lnTo>
                      <a:lnTo>
                        <a:pt x="4" y="304"/>
                      </a:lnTo>
                      <a:lnTo>
                        <a:pt x="6" y="330"/>
                      </a:lnTo>
                      <a:lnTo>
                        <a:pt x="8" y="353"/>
                      </a:lnTo>
                      <a:lnTo>
                        <a:pt x="12" y="376"/>
                      </a:lnTo>
                      <a:lnTo>
                        <a:pt x="13" y="395"/>
                      </a:lnTo>
                      <a:lnTo>
                        <a:pt x="17" y="410"/>
                      </a:lnTo>
                      <a:lnTo>
                        <a:pt x="21" y="422"/>
                      </a:lnTo>
                      <a:lnTo>
                        <a:pt x="25" y="429"/>
                      </a:lnTo>
                      <a:lnTo>
                        <a:pt x="29" y="435"/>
                      </a:lnTo>
                      <a:lnTo>
                        <a:pt x="38" y="441"/>
                      </a:lnTo>
                      <a:lnTo>
                        <a:pt x="48" y="446"/>
                      </a:lnTo>
                      <a:lnTo>
                        <a:pt x="59" y="454"/>
                      </a:lnTo>
                      <a:lnTo>
                        <a:pt x="72" y="460"/>
                      </a:lnTo>
                      <a:lnTo>
                        <a:pt x="89" y="467"/>
                      </a:lnTo>
                      <a:lnTo>
                        <a:pt x="107" y="473"/>
                      </a:lnTo>
                      <a:lnTo>
                        <a:pt x="126" y="481"/>
                      </a:lnTo>
                      <a:lnTo>
                        <a:pt x="145" y="486"/>
                      </a:lnTo>
                      <a:lnTo>
                        <a:pt x="165" y="492"/>
                      </a:lnTo>
                      <a:lnTo>
                        <a:pt x="186" y="496"/>
                      </a:lnTo>
                      <a:lnTo>
                        <a:pt x="209" y="500"/>
                      </a:lnTo>
                      <a:lnTo>
                        <a:pt x="232" y="502"/>
                      </a:lnTo>
                      <a:lnTo>
                        <a:pt x="255" y="503"/>
                      </a:lnTo>
                      <a:lnTo>
                        <a:pt x="278" y="503"/>
                      </a:lnTo>
                      <a:lnTo>
                        <a:pt x="300" y="503"/>
                      </a:lnTo>
                      <a:lnTo>
                        <a:pt x="321" y="502"/>
                      </a:lnTo>
                      <a:lnTo>
                        <a:pt x="340" y="500"/>
                      </a:lnTo>
                      <a:lnTo>
                        <a:pt x="359" y="498"/>
                      </a:lnTo>
                      <a:lnTo>
                        <a:pt x="376" y="498"/>
                      </a:lnTo>
                      <a:lnTo>
                        <a:pt x="392" y="494"/>
                      </a:lnTo>
                      <a:lnTo>
                        <a:pt x="405" y="492"/>
                      </a:lnTo>
                      <a:lnTo>
                        <a:pt x="418" y="488"/>
                      </a:lnTo>
                      <a:lnTo>
                        <a:pt x="430" y="486"/>
                      </a:lnTo>
                      <a:lnTo>
                        <a:pt x="441" y="481"/>
                      </a:lnTo>
                      <a:lnTo>
                        <a:pt x="451" y="475"/>
                      </a:lnTo>
                      <a:lnTo>
                        <a:pt x="458" y="467"/>
                      </a:lnTo>
                      <a:lnTo>
                        <a:pt x="466" y="460"/>
                      </a:lnTo>
                      <a:lnTo>
                        <a:pt x="471" y="450"/>
                      </a:lnTo>
                      <a:lnTo>
                        <a:pt x="477" y="439"/>
                      </a:lnTo>
                      <a:lnTo>
                        <a:pt x="483" y="427"/>
                      </a:lnTo>
                      <a:lnTo>
                        <a:pt x="489" y="414"/>
                      </a:lnTo>
                      <a:lnTo>
                        <a:pt x="492" y="397"/>
                      </a:lnTo>
                      <a:lnTo>
                        <a:pt x="496" y="376"/>
                      </a:lnTo>
                      <a:lnTo>
                        <a:pt x="498" y="351"/>
                      </a:lnTo>
                      <a:lnTo>
                        <a:pt x="502" y="327"/>
                      </a:lnTo>
                      <a:lnTo>
                        <a:pt x="504" y="298"/>
                      </a:lnTo>
                      <a:lnTo>
                        <a:pt x="506" y="270"/>
                      </a:lnTo>
                      <a:lnTo>
                        <a:pt x="506" y="239"/>
                      </a:lnTo>
                      <a:lnTo>
                        <a:pt x="506" y="211"/>
                      </a:lnTo>
                      <a:lnTo>
                        <a:pt x="504" y="180"/>
                      </a:lnTo>
                      <a:lnTo>
                        <a:pt x="500" y="154"/>
                      </a:lnTo>
                      <a:lnTo>
                        <a:pt x="496" y="127"/>
                      </a:lnTo>
                      <a:lnTo>
                        <a:pt x="492" y="102"/>
                      </a:lnTo>
                      <a:lnTo>
                        <a:pt x="485" y="81"/>
                      </a:lnTo>
                      <a:lnTo>
                        <a:pt x="477" y="62"/>
                      </a:lnTo>
                      <a:lnTo>
                        <a:pt x="466" y="49"/>
                      </a:lnTo>
                      <a:lnTo>
                        <a:pt x="456" y="39"/>
                      </a:lnTo>
                      <a:lnTo>
                        <a:pt x="441" y="32"/>
                      </a:lnTo>
                      <a:lnTo>
                        <a:pt x="422" y="26"/>
                      </a:lnTo>
                      <a:lnTo>
                        <a:pt x="399" y="20"/>
                      </a:lnTo>
                      <a:lnTo>
                        <a:pt x="375" y="17"/>
                      </a:lnTo>
                      <a:lnTo>
                        <a:pt x="348" y="13"/>
                      </a:lnTo>
                      <a:lnTo>
                        <a:pt x="321" y="9"/>
                      </a:lnTo>
                      <a:lnTo>
                        <a:pt x="293" y="7"/>
                      </a:lnTo>
                      <a:lnTo>
                        <a:pt x="266" y="5"/>
                      </a:lnTo>
                      <a:lnTo>
                        <a:pt x="238" y="3"/>
                      </a:lnTo>
                      <a:lnTo>
                        <a:pt x="213" y="1"/>
                      </a:lnTo>
                      <a:lnTo>
                        <a:pt x="190" y="0"/>
                      </a:lnTo>
                      <a:lnTo>
                        <a:pt x="169" y="0"/>
                      </a:lnTo>
                      <a:lnTo>
                        <a:pt x="152" y="0"/>
                      </a:lnTo>
                      <a:lnTo>
                        <a:pt x="141" y="0"/>
                      </a:lnTo>
                      <a:lnTo>
                        <a:pt x="131" y="0"/>
                      </a:lnTo>
                      <a:lnTo>
                        <a:pt x="129" y="0"/>
                      </a:lnTo>
                      <a:close/>
                    </a:path>
                  </a:pathLst>
                </a:custGeom>
                <a:solidFill>
                  <a:srgbClr val="993300"/>
                </a:solidFill>
                <a:ln w="9525">
                  <a:noFill/>
                  <a:round/>
                  <a:headEnd/>
                  <a:tailEnd/>
                </a:ln>
              </p:spPr>
              <p:txBody>
                <a:bodyPr/>
                <a:lstStyle/>
                <a:p>
                  <a:pPr algn="l" eaLnBrk="1" hangingPunct="1"/>
                  <a:endParaRPr lang="en-US"/>
                </a:p>
              </p:txBody>
            </p:sp>
            <p:sp>
              <p:nvSpPr>
                <p:cNvPr id="1341" name="Freeform 757"/>
                <p:cNvSpPr>
                  <a:spLocks noChangeAspect="1"/>
                </p:cNvSpPr>
                <p:nvPr/>
              </p:nvSpPr>
              <p:spPr bwMode="auto">
                <a:xfrm>
                  <a:off x="3248" y="2055"/>
                  <a:ext cx="193" cy="243"/>
                </a:xfrm>
                <a:custGeom>
                  <a:avLst/>
                  <a:gdLst>
                    <a:gd name="T0" fmla="*/ 384 w 386"/>
                    <a:gd name="T1" fmla="*/ 212 h 487"/>
                    <a:gd name="T2" fmla="*/ 386 w 386"/>
                    <a:gd name="T3" fmla="*/ 257 h 487"/>
                    <a:gd name="T4" fmla="*/ 386 w 386"/>
                    <a:gd name="T5" fmla="*/ 312 h 487"/>
                    <a:gd name="T6" fmla="*/ 380 w 386"/>
                    <a:gd name="T7" fmla="*/ 366 h 487"/>
                    <a:gd name="T8" fmla="*/ 372 w 386"/>
                    <a:gd name="T9" fmla="*/ 415 h 487"/>
                    <a:gd name="T10" fmla="*/ 357 w 386"/>
                    <a:gd name="T11" fmla="*/ 449 h 487"/>
                    <a:gd name="T12" fmla="*/ 321 w 386"/>
                    <a:gd name="T13" fmla="*/ 474 h 487"/>
                    <a:gd name="T14" fmla="*/ 272 w 386"/>
                    <a:gd name="T15" fmla="*/ 485 h 487"/>
                    <a:gd name="T16" fmla="*/ 216 w 386"/>
                    <a:gd name="T17" fmla="*/ 487 h 487"/>
                    <a:gd name="T18" fmla="*/ 163 w 386"/>
                    <a:gd name="T19" fmla="*/ 483 h 487"/>
                    <a:gd name="T20" fmla="*/ 121 w 386"/>
                    <a:gd name="T21" fmla="*/ 472 h 487"/>
                    <a:gd name="T22" fmla="*/ 85 w 386"/>
                    <a:gd name="T23" fmla="*/ 455 h 487"/>
                    <a:gd name="T24" fmla="*/ 55 w 386"/>
                    <a:gd name="T25" fmla="*/ 438 h 487"/>
                    <a:gd name="T26" fmla="*/ 30 w 386"/>
                    <a:gd name="T27" fmla="*/ 423 h 487"/>
                    <a:gd name="T28" fmla="*/ 13 w 386"/>
                    <a:gd name="T29" fmla="*/ 411 h 487"/>
                    <a:gd name="T30" fmla="*/ 2 w 386"/>
                    <a:gd name="T31" fmla="*/ 402 h 487"/>
                    <a:gd name="T32" fmla="*/ 7 w 386"/>
                    <a:gd name="T33" fmla="*/ 404 h 487"/>
                    <a:gd name="T34" fmla="*/ 43 w 386"/>
                    <a:gd name="T35" fmla="*/ 411 h 487"/>
                    <a:gd name="T36" fmla="*/ 99 w 386"/>
                    <a:gd name="T37" fmla="*/ 419 h 487"/>
                    <a:gd name="T38" fmla="*/ 159 w 386"/>
                    <a:gd name="T39" fmla="*/ 417 h 487"/>
                    <a:gd name="T40" fmla="*/ 213 w 386"/>
                    <a:gd name="T41" fmla="*/ 396 h 487"/>
                    <a:gd name="T42" fmla="*/ 249 w 386"/>
                    <a:gd name="T43" fmla="*/ 352 h 487"/>
                    <a:gd name="T44" fmla="*/ 270 w 386"/>
                    <a:gd name="T45" fmla="*/ 295 h 487"/>
                    <a:gd name="T46" fmla="*/ 279 w 386"/>
                    <a:gd name="T47" fmla="*/ 234 h 487"/>
                    <a:gd name="T48" fmla="*/ 277 w 386"/>
                    <a:gd name="T49" fmla="*/ 175 h 487"/>
                    <a:gd name="T50" fmla="*/ 268 w 386"/>
                    <a:gd name="T51" fmla="*/ 126 h 487"/>
                    <a:gd name="T52" fmla="*/ 254 w 386"/>
                    <a:gd name="T53" fmla="*/ 96 h 487"/>
                    <a:gd name="T54" fmla="*/ 218 w 386"/>
                    <a:gd name="T55" fmla="*/ 77 h 487"/>
                    <a:gd name="T56" fmla="*/ 159 w 386"/>
                    <a:gd name="T57" fmla="*/ 65 h 487"/>
                    <a:gd name="T58" fmla="*/ 95 w 386"/>
                    <a:gd name="T59" fmla="*/ 58 h 487"/>
                    <a:gd name="T60" fmla="*/ 40 w 386"/>
                    <a:gd name="T61" fmla="*/ 56 h 487"/>
                    <a:gd name="T62" fmla="*/ 7 w 386"/>
                    <a:gd name="T63" fmla="*/ 56 h 487"/>
                    <a:gd name="T64" fmla="*/ 5 w 386"/>
                    <a:gd name="T65" fmla="*/ 50 h 487"/>
                    <a:gd name="T66" fmla="*/ 11 w 386"/>
                    <a:gd name="T67" fmla="*/ 42 h 487"/>
                    <a:gd name="T68" fmla="*/ 30 w 386"/>
                    <a:gd name="T69" fmla="*/ 33 h 487"/>
                    <a:gd name="T70" fmla="*/ 64 w 386"/>
                    <a:gd name="T71" fmla="*/ 20 h 487"/>
                    <a:gd name="T72" fmla="*/ 121 w 386"/>
                    <a:gd name="T73" fmla="*/ 6 h 487"/>
                    <a:gd name="T74" fmla="*/ 186 w 386"/>
                    <a:gd name="T75" fmla="*/ 0 h 487"/>
                    <a:gd name="T76" fmla="*/ 245 w 386"/>
                    <a:gd name="T77" fmla="*/ 6 h 487"/>
                    <a:gd name="T78" fmla="*/ 294 w 386"/>
                    <a:gd name="T79" fmla="*/ 23 h 487"/>
                    <a:gd name="T80" fmla="*/ 332 w 386"/>
                    <a:gd name="T81" fmla="*/ 42 h 487"/>
                    <a:gd name="T82" fmla="*/ 355 w 386"/>
                    <a:gd name="T83" fmla="*/ 63 h 487"/>
                    <a:gd name="T84" fmla="*/ 368 w 386"/>
                    <a:gd name="T85" fmla="*/ 82 h 487"/>
                    <a:gd name="T86" fmla="*/ 376 w 386"/>
                    <a:gd name="T87" fmla="*/ 103 h 487"/>
                    <a:gd name="T88" fmla="*/ 382 w 386"/>
                    <a:gd name="T89" fmla="*/ 126 h 487"/>
                    <a:gd name="T90" fmla="*/ 382 w 386"/>
                    <a:gd name="T91" fmla="*/ 151 h 487"/>
                    <a:gd name="T92" fmla="*/ 384 w 386"/>
                    <a:gd name="T93" fmla="*/ 174 h 487"/>
                    <a:gd name="T94" fmla="*/ 384 w 386"/>
                    <a:gd name="T95" fmla="*/ 191 h 4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86"/>
                    <a:gd name="T145" fmla="*/ 0 h 487"/>
                    <a:gd name="T146" fmla="*/ 386 w 386"/>
                    <a:gd name="T147" fmla="*/ 487 h 4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86" h="487">
                      <a:moveTo>
                        <a:pt x="384" y="191"/>
                      </a:moveTo>
                      <a:lnTo>
                        <a:pt x="384" y="200"/>
                      </a:lnTo>
                      <a:lnTo>
                        <a:pt x="384" y="212"/>
                      </a:lnTo>
                      <a:lnTo>
                        <a:pt x="384" y="225"/>
                      </a:lnTo>
                      <a:lnTo>
                        <a:pt x="386" y="242"/>
                      </a:lnTo>
                      <a:lnTo>
                        <a:pt x="386" y="257"/>
                      </a:lnTo>
                      <a:lnTo>
                        <a:pt x="386" y="274"/>
                      </a:lnTo>
                      <a:lnTo>
                        <a:pt x="386" y="293"/>
                      </a:lnTo>
                      <a:lnTo>
                        <a:pt x="386" y="312"/>
                      </a:lnTo>
                      <a:lnTo>
                        <a:pt x="384" y="329"/>
                      </a:lnTo>
                      <a:lnTo>
                        <a:pt x="382" y="348"/>
                      </a:lnTo>
                      <a:lnTo>
                        <a:pt x="380" y="366"/>
                      </a:lnTo>
                      <a:lnTo>
                        <a:pt x="378" y="383"/>
                      </a:lnTo>
                      <a:lnTo>
                        <a:pt x="376" y="400"/>
                      </a:lnTo>
                      <a:lnTo>
                        <a:pt x="372" y="415"/>
                      </a:lnTo>
                      <a:lnTo>
                        <a:pt x="368" y="428"/>
                      </a:lnTo>
                      <a:lnTo>
                        <a:pt x="365" y="440"/>
                      </a:lnTo>
                      <a:lnTo>
                        <a:pt x="357" y="449"/>
                      </a:lnTo>
                      <a:lnTo>
                        <a:pt x="348" y="459"/>
                      </a:lnTo>
                      <a:lnTo>
                        <a:pt x="334" y="466"/>
                      </a:lnTo>
                      <a:lnTo>
                        <a:pt x="321" y="474"/>
                      </a:lnTo>
                      <a:lnTo>
                        <a:pt x="306" y="478"/>
                      </a:lnTo>
                      <a:lnTo>
                        <a:pt x="291" y="483"/>
                      </a:lnTo>
                      <a:lnTo>
                        <a:pt x="272" y="485"/>
                      </a:lnTo>
                      <a:lnTo>
                        <a:pt x="254" y="487"/>
                      </a:lnTo>
                      <a:lnTo>
                        <a:pt x="235" y="487"/>
                      </a:lnTo>
                      <a:lnTo>
                        <a:pt x="216" y="487"/>
                      </a:lnTo>
                      <a:lnTo>
                        <a:pt x="197" y="487"/>
                      </a:lnTo>
                      <a:lnTo>
                        <a:pt x="180" y="485"/>
                      </a:lnTo>
                      <a:lnTo>
                        <a:pt x="163" y="483"/>
                      </a:lnTo>
                      <a:lnTo>
                        <a:pt x="148" y="480"/>
                      </a:lnTo>
                      <a:lnTo>
                        <a:pt x="133" y="476"/>
                      </a:lnTo>
                      <a:lnTo>
                        <a:pt x="121" y="472"/>
                      </a:lnTo>
                      <a:lnTo>
                        <a:pt x="108" y="466"/>
                      </a:lnTo>
                      <a:lnTo>
                        <a:pt x="97" y="461"/>
                      </a:lnTo>
                      <a:lnTo>
                        <a:pt x="85" y="455"/>
                      </a:lnTo>
                      <a:lnTo>
                        <a:pt x="76" y="449"/>
                      </a:lnTo>
                      <a:lnTo>
                        <a:pt x="64" y="444"/>
                      </a:lnTo>
                      <a:lnTo>
                        <a:pt x="55" y="438"/>
                      </a:lnTo>
                      <a:lnTo>
                        <a:pt x="45" y="432"/>
                      </a:lnTo>
                      <a:lnTo>
                        <a:pt x="40" y="428"/>
                      </a:lnTo>
                      <a:lnTo>
                        <a:pt x="30" y="423"/>
                      </a:lnTo>
                      <a:lnTo>
                        <a:pt x="23" y="417"/>
                      </a:lnTo>
                      <a:lnTo>
                        <a:pt x="17" y="413"/>
                      </a:lnTo>
                      <a:lnTo>
                        <a:pt x="13" y="411"/>
                      </a:lnTo>
                      <a:lnTo>
                        <a:pt x="7" y="407"/>
                      </a:lnTo>
                      <a:lnTo>
                        <a:pt x="4" y="406"/>
                      </a:lnTo>
                      <a:lnTo>
                        <a:pt x="2" y="402"/>
                      </a:lnTo>
                      <a:lnTo>
                        <a:pt x="0" y="402"/>
                      </a:lnTo>
                      <a:lnTo>
                        <a:pt x="2" y="402"/>
                      </a:lnTo>
                      <a:lnTo>
                        <a:pt x="7" y="404"/>
                      </a:lnTo>
                      <a:lnTo>
                        <a:pt x="17" y="406"/>
                      </a:lnTo>
                      <a:lnTo>
                        <a:pt x="30" y="409"/>
                      </a:lnTo>
                      <a:lnTo>
                        <a:pt x="43" y="411"/>
                      </a:lnTo>
                      <a:lnTo>
                        <a:pt x="61" y="415"/>
                      </a:lnTo>
                      <a:lnTo>
                        <a:pt x="80" y="417"/>
                      </a:lnTo>
                      <a:lnTo>
                        <a:pt x="99" y="419"/>
                      </a:lnTo>
                      <a:lnTo>
                        <a:pt x="119" y="419"/>
                      </a:lnTo>
                      <a:lnTo>
                        <a:pt x="138" y="419"/>
                      </a:lnTo>
                      <a:lnTo>
                        <a:pt x="159" y="417"/>
                      </a:lnTo>
                      <a:lnTo>
                        <a:pt x="178" y="411"/>
                      </a:lnTo>
                      <a:lnTo>
                        <a:pt x="197" y="406"/>
                      </a:lnTo>
                      <a:lnTo>
                        <a:pt x="213" y="396"/>
                      </a:lnTo>
                      <a:lnTo>
                        <a:pt x="228" y="385"/>
                      </a:lnTo>
                      <a:lnTo>
                        <a:pt x="241" y="371"/>
                      </a:lnTo>
                      <a:lnTo>
                        <a:pt x="249" y="352"/>
                      </a:lnTo>
                      <a:lnTo>
                        <a:pt x="258" y="333"/>
                      </a:lnTo>
                      <a:lnTo>
                        <a:pt x="264" y="314"/>
                      </a:lnTo>
                      <a:lnTo>
                        <a:pt x="270" y="295"/>
                      </a:lnTo>
                      <a:lnTo>
                        <a:pt x="273" y="274"/>
                      </a:lnTo>
                      <a:lnTo>
                        <a:pt x="277" y="255"/>
                      </a:lnTo>
                      <a:lnTo>
                        <a:pt x="279" y="234"/>
                      </a:lnTo>
                      <a:lnTo>
                        <a:pt x="279" y="213"/>
                      </a:lnTo>
                      <a:lnTo>
                        <a:pt x="279" y="194"/>
                      </a:lnTo>
                      <a:lnTo>
                        <a:pt x="277" y="175"/>
                      </a:lnTo>
                      <a:lnTo>
                        <a:pt x="275" y="158"/>
                      </a:lnTo>
                      <a:lnTo>
                        <a:pt x="273" y="141"/>
                      </a:lnTo>
                      <a:lnTo>
                        <a:pt x="268" y="126"/>
                      </a:lnTo>
                      <a:lnTo>
                        <a:pt x="264" y="115"/>
                      </a:lnTo>
                      <a:lnTo>
                        <a:pt x="258" y="103"/>
                      </a:lnTo>
                      <a:lnTo>
                        <a:pt x="254" y="96"/>
                      </a:lnTo>
                      <a:lnTo>
                        <a:pt x="245" y="88"/>
                      </a:lnTo>
                      <a:lnTo>
                        <a:pt x="234" y="80"/>
                      </a:lnTo>
                      <a:lnTo>
                        <a:pt x="218" y="77"/>
                      </a:lnTo>
                      <a:lnTo>
                        <a:pt x="201" y="73"/>
                      </a:lnTo>
                      <a:lnTo>
                        <a:pt x="180" y="67"/>
                      </a:lnTo>
                      <a:lnTo>
                        <a:pt x="159" y="65"/>
                      </a:lnTo>
                      <a:lnTo>
                        <a:pt x="138" y="61"/>
                      </a:lnTo>
                      <a:lnTo>
                        <a:pt x="118" y="61"/>
                      </a:lnTo>
                      <a:lnTo>
                        <a:pt x="95" y="58"/>
                      </a:lnTo>
                      <a:lnTo>
                        <a:pt x="76" y="58"/>
                      </a:lnTo>
                      <a:lnTo>
                        <a:pt x="55" y="56"/>
                      </a:lnTo>
                      <a:lnTo>
                        <a:pt x="40" y="56"/>
                      </a:lnTo>
                      <a:lnTo>
                        <a:pt x="24" y="56"/>
                      </a:lnTo>
                      <a:lnTo>
                        <a:pt x="13" y="56"/>
                      </a:lnTo>
                      <a:lnTo>
                        <a:pt x="7" y="56"/>
                      </a:lnTo>
                      <a:lnTo>
                        <a:pt x="5" y="56"/>
                      </a:lnTo>
                      <a:lnTo>
                        <a:pt x="4" y="54"/>
                      </a:lnTo>
                      <a:lnTo>
                        <a:pt x="5" y="50"/>
                      </a:lnTo>
                      <a:lnTo>
                        <a:pt x="5" y="48"/>
                      </a:lnTo>
                      <a:lnTo>
                        <a:pt x="9" y="46"/>
                      </a:lnTo>
                      <a:lnTo>
                        <a:pt x="11" y="42"/>
                      </a:lnTo>
                      <a:lnTo>
                        <a:pt x="17" y="40"/>
                      </a:lnTo>
                      <a:lnTo>
                        <a:pt x="23" y="35"/>
                      </a:lnTo>
                      <a:lnTo>
                        <a:pt x="30" y="33"/>
                      </a:lnTo>
                      <a:lnTo>
                        <a:pt x="40" y="27"/>
                      </a:lnTo>
                      <a:lnTo>
                        <a:pt x="51" y="23"/>
                      </a:lnTo>
                      <a:lnTo>
                        <a:pt x="64" y="20"/>
                      </a:lnTo>
                      <a:lnTo>
                        <a:pt x="80" y="16"/>
                      </a:lnTo>
                      <a:lnTo>
                        <a:pt x="99" y="10"/>
                      </a:lnTo>
                      <a:lnTo>
                        <a:pt x="121" y="6"/>
                      </a:lnTo>
                      <a:lnTo>
                        <a:pt x="142" y="2"/>
                      </a:lnTo>
                      <a:lnTo>
                        <a:pt x="165" y="0"/>
                      </a:lnTo>
                      <a:lnTo>
                        <a:pt x="186" y="0"/>
                      </a:lnTo>
                      <a:lnTo>
                        <a:pt x="207" y="0"/>
                      </a:lnTo>
                      <a:lnTo>
                        <a:pt x="226" y="2"/>
                      </a:lnTo>
                      <a:lnTo>
                        <a:pt x="245" y="6"/>
                      </a:lnTo>
                      <a:lnTo>
                        <a:pt x="262" y="10"/>
                      </a:lnTo>
                      <a:lnTo>
                        <a:pt x="279" y="18"/>
                      </a:lnTo>
                      <a:lnTo>
                        <a:pt x="294" y="23"/>
                      </a:lnTo>
                      <a:lnTo>
                        <a:pt x="308" y="29"/>
                      </a:lnTo>
                      <a:lnTo>
                        <a:pt x="319" y="35"/>
                      </a:lnTo>
                      <a:lnTo>
                        <a:pt x="332" y="42"/>
                      </a:lnTo>
                      <a:lnTo>
                        <a:pt x="340" y="50"/>
                      </a:lnTo>
                      <a:lnTo>
                        <a:pt x="349" y="58"/>
                      </a:lnTo>
                      <a:lnTo>
                        <a:pt x="355" y="63"/>
                      </a:lnTo>
                      <a:lnTo>
                        <a:pt x="361" y="71"/>
                      </a:lnTo>
                      <a:lnTo>
                        <a:pt x="365" y="77"/>
                      </a:lnTo>
                      <a:lnTo>
                        <a:pt x="368" y="82"/>
                      </a:lnTo>
                      <a:lnTo>
                        <a:pt x="370" y="90"/>
                      </a:lnTo>
                      <a:lnTo>
                        <a:pt x="374" y="97"/>
                      </a:lnTo>
                      <a:lnTo>
                        <a:pt x="376" y="103"/>
                      </a:lnTo>
                      <a:lnTo>
                        <a:pt x="378" y="111"/>
                      </a:lnTo>
                      <a:lnTo>
                        <a:pt x="380" y="118"/>
                      </a:lnTo>
                      <a:lnTo>
                        <a:pt x="382" y="126"/>
                      </a:lnTo>
                      <a:lnTo>
                        <a:pt x="382" y="134"/>
                      </a:lnTo>
                      <a:lnTo>
                        <a:pt x="382" y="141"/>
                      </a:lnTo>
                      <a:lnTo>
                        <a:pt x="382" y="151"/>
                      </a:lnTo>
                      <a:lnTo>
                        <a:pt x="384" y="158"/>
                      </a:lnTo>
                      <a:lnTo>
                        <a:pt x="384" y="166"/>
                      </a:lnTo>
                      <a:lnTo>
                        <a:pt x="384" y="174"/>
                      </a:lnTo>
                      <a:lnTo>
                        <a:pt x="384" y="183"/>
                      </a:lnTo>
                      <a:lnTo>
                        <a:pt x="384" y="191"/>
                      </a:lnTo>
                      <a:close/>
                    </a:path>
                  </a:pathLst>
                </a:custGeom>
                <a:solidFill>
                  <a:srgbClr val="800000"/>
                </a:solidFill>
                <a:ln w="9525">
                  <a:noFill/>
                  <a:round/>
                  <a:headEnd/>
                  <a:tailEnd/>
                </a:ln>
              </p:spPr>
              <p:txBody>
                <a:bodyPr/>
                <a:lstStyle/>
                <a:p>
                  <a:pPr algn="l" eaLnBrk="1" hangingPunct="1"/>
                  <a:endParaRPr lang="en-US"/>
                </a:p>
              </p:txBody>
            </p:sp>
            <p:sp>
              <p:nvSpPr>
                <p:cNvPr id="1342" name="Freeform 758"/>
                <p:cNvSpPr>
                  <a:spLocks noChangeAspect="1"/>
                </p:cNvSpPr>
                <p:nvPr/>
              </p:nvSpPr>
              <p:spPr bwMode="auto">
                <a:xfrm>
                  <a:off x="3234" y="2097"/>
                  <a:ext cx="183" cy="76"/>
                </a:xfrm>
                <a:custGeom>
                  <a:avLst/>
                  <a:gdLst>
                    <a:gd name="T0" fmla="*/ 50 w 365"/>
                    <a:gd name="T1" fmla="*/ 2 h 152"/>
                    <a:gd name="T2" fmla="*/ 57 w 365"/>
                    <a:gd name="T3" fmla="*/ 4 h 152"/>
                    <a:gd name="T4" fmla="*/ 71 w 365"/>
                    <a:gd name="T5" fmla="*/ 8 h 152"/>
                    <a:gd name="T6" fmla="*/ 88 w 365"/>
                    <a:gd name="T7" fmla="*/ 13 h 152"/>
                    <a:gd name="T8" fmla="*/ 110 w 365"/>
                    <a:gd name="T9" fmla="*/ 19 h 152"/>
                    <a:gd name="T10" fmla="*/ 135 w 365"/>
                    <a:gd name="T11" fmla="*/ 27 h 152"/>
                    <a:gd name="T12" fmla="*/ 162 w 365"/>
                    <a:gd name="T13" fmla="*/ 32 h 152"/>
                    <a:gd name="T14" fmla="*/ 187 w 365"/>
                    <a:gd name="T15" fmla="*/ 38 h 152"/>
                    <a:gd name="T16" fmla="*/ 215 w 365"/>
                    <a:gd name="T17" fmla="*/ 42 h 152"/>
                    <a:gd name="T18" fmla="*/ 242 w 365"/>
                    <a:gd name="T19" fmla="*/ 42 h 152"/>
                    <a:gd name="T20" fmla="*/ 270 w 365"/>
                    <a:gd name="T21" fmla="*/ 40 h 152"/>
                    <a:gd name="T22" fmla="*/ 297 w 365"/>
                    <a:gd name="T23" fmla="*/ 38 h 152"/>
                    <a:gd name="T24" fmla="*/ 320 w 365"/>
                    <a:gd name="T25" fmla="*/ 34 h 152"/>
                    <a:gd name="T26" fmla="*/ 340 w 365"/>
                    <a:gd name="T27" fmla="*/ 31 h 152"/>
                    <a:gd name="T28" fmla="*/ 356 w 365"/>
                    <a:gd name="T29" fmla="*/ 29 h 152"/>
                    <a:gd name="T30" fmla="*/ 363 w 365"/>
                    <a:gd name="T31" fmla="*/ 27 h 152"/>
                    <a:gd name="T32" fmla="*/ 363 w 365"/>
                    <a:gd name="T33" fmla="*/ 29 h 152"/>
                    <a:gd name="T34" fmla="*/ 356 w 365"/>
                    <a:gd name="T35" fmla="*/ 36 h 152"/>
                    <a:gd name="T36" fmla="*/ 340 w 365"/>
                    <a:gd name="T37" fmla="*/ 51 h 152"/>
                    <a:gd name="T38" fmla="*/ 321 w 365"/>
                    <a:gd name="T39" fmla="*/ 69 h 152"/>
                    <a:gd name="T40" fmla="*/ 299 w 365"/>
                    <a:gd name="T41" fmla="*/ 90 h 152"/>
                    <a:gd name="T42" fmla="*/ 272 w 365"/>
                    <a:gd name="T43" fmla="*/ 110 h 152"/>
                    <a:gd name="T44" fmla="*/ 245 w 365"/>
                    <a:gd name="T45" fmla="*/ 128 h 152"/>
                    <a:gd name="T46" fmla="*/ 219 w 365"/>
                    <a:gd name="T47" fmla="*/ 143 h 152"/>
                    <a:gd name="T48" fmla="*/ 194 w 365"/>
                    <a:gd name="T49" fmla="*/ 148 h 152"/>
                    <a:gd name="T50" fmla="*/ 166 w 365"/>
                    <a:gd name="T51" fmla="*/ 152 h 152"/>
                    <a:gd name="T52" fmla="*/ 135 w 365"/>
                    <a:gd name="T53" fmla="*/ 152 h 152"/>
                    <a:gd name="T54" fmla="*/ 105 w 365"/>
                    <a:gd name="T55" fmla="*/ 147 h 152"/>
                    <a:gd name="T56" fmla="*/ 74 w 365"/>
                    <a:gd name="T57" fmla="*/ 139 h 152"/>
                    <a:gd name="T58" fmla="*/ 50 w 365"/>
                    <a:gd name="T59" fmla="*/ 129 h 152"/>
                    <a:gd name="T60" fmla="*/ 27 w 365"/>
                    <a:gd name="T61" fmla="*/ 116 h 152"/>
                    <a:gd name="T62" fmla="*/ 12 w 365"/>
                    <a:gd name="T63" fmla="*/ 99 h 152"/>
                    <a:gd name="T64" fmla="*/ 4 w 365"/>
                    <a:gd name="T65" fmla="*/ 82 h 152"/>
                    <a:gd name="T66" fmla="*/ 0 w 365"/>
                    <a:gd name="T67" fmla="*/ 65 h 152"/>
                    <a:gd name="T68" fmla="*/ 2 w 365"/>
                    <a:gd name="T69" fmla="*/ 46 h 152"/>
                    <a:gd name="T70" fmla="*/ 8 w 365"/>
                    <a:gd name="T71" fmla="*/ 31 h 152"/>
                    <a:gd name="T72" fmla="*/ 15 w 365"/>
                    <a:gd name="T73" fmla="*/ 17 h 152"/>
                    <a:gd name="T74" fmla="*/ 23 w 365"/>
                    <a:gd name="T75" fmla="*/ 8 h 152"/>
                    <a:gd name="T76" fmla="*/ 33 w 365"/>
                    <a:gd name="T77" fmla="*/ 2 h 152"/>
                    <a:gd name="T78" fmla="*/ 44 w 365"/>
                    <a:gd name="T79" fmla="*/ 0 h 152"/>
                    <a:gd name="T80" fmla="*/ 50 w 365"/>
                    <a:gd name="T81" fmla="*/ 2 h 1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5"/>
                    <a:gd name="T124" fmla="*/ 0 h 152"/>
                    <a:gd name="T125" fmla="*/ 365 w 365"/>
                    <a:gd name="T126" fmla="*/ 152 h 1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5" h="152">
                      <a:moveTo>
                        <a:pt x="50" y="2"/>
                      </a:moveTo>
                      <a:lnTo>
                        <a:pt x="50" y="2"/>
                      </a:lnTo>
                      <a:lnTo>
                        <a:pt x="53" y="2"/>
                      </a:lnTo>
                      <a:lnTo>
                        <a:pt x="57" y="4"/>
                      </a:lnTo>
                      <a:lnTo>
                        <a:pt x="63" y="6"/>
                      </a:lnTo>
                      <a:lnTo>
                        <a:pt x="71" y="8"/>
                      </a:lnTo>
                      <a:lnTo>
                        <a:pt x="78" y="12"/>
                      </a:lnTo>
                      <a:lnTo>
                        <a:pt x="88" y="13"/>
                      </a:lnTo>
                      <a:lnTo>
                        <a:pt x="99" y="17"/>
                      </a:lnTo>
                      <a:lnTo>
                        <a:pt x="110" y="19"/>
                      </a:lnTo>
                      <a:lnTo>
                        <a:pt x="122" y="23"/>
                      </a:lnTo>
                      <a:lnTo>
                        <a:pt x="135" y="27"/>
                      </a:lnTo>
                      <a:lnTo>
                        <a:pt x="148" y="31"/>
                      </a:lnTo>
                      <a:lnTo>
                        <a:pt x="162" y="32"/>
                      </a:lnTo>
                      <a:lnTo>
                        <a:pt x="173" y="36"/>
                      </a:lnTo>
                      <a:lnTo>
                        <a:pt x="187" y="38"/>
                      </a:lnTo>
                      <a:lnTo>
                        <a:pt x="202" y="40"/>
                      </a:lnTo>
                      <a:lnTo>
                        <a:pt x="215" y="42"/>
                      </a:lnTo>
                      <a:lnTo>
                        <a:pt x="228" y="42"/>
                      </a:lnTo>
                      <a:lnTo>
                        <a:pt x="242" y="42"/>
                      </a:lnTo>
                      <a:lnTo>
                        <a:pt x="257" y="42"/>
                      </a:lnTo>
                      <a:lnTo>
                        <a:pt x="270" y="40"/>
                      </a:lnTo>
                      <a:lnTo>
                        <a:pt x="283" y="40"/>
                      </a:lnTo>
                      <a:lnTo>
                        <a:pt x="297" y="38"/>
                      </a:lnTo>
                      <a:lnTo>
                        <a:pt x="310" y="36"/>
                      </a:lnTo>
                      <a:lnTo>
                        <a:pt x="320" y="34"/>
                      </a:lnTo>
                      <a:lnTo>
                        <a:pt x="331" y="32"/>
                      </a:lnTo>
                      <a:lnTo>
                        <a:pt x="340" y="31"/>
                      </a:lnTo>
                      <a:lnTo>
                        <a:pt x="348" y="31"/>
                      </a:lnTo>
                      <a:lnTo>
                        <a:pt x="356" y="29"/>
                      </a:lnTo>
                      <a:lnTo>
                        <a:pt x="361" y="27"/>
                      </a:lnTo>
                      <a:lnTo>
                        <a:pt x="363" y="27"/>
                      </a:lnTo>
                      <a:lnTo>
                        <a:pt x="365" y="27"/>
                      </a:lnTo>
                      <a:lnTo>
                        <a:pt x="363" y="29"/>
                      </a:lnTo>
                      <a:lnTo>
                        <a:pt x="361" y="31"/>
                      </a:lnTo>
                      <a:lnTo>
                        <a:pt x="356" y="36"/>
                      </a:lnTo>
                      <a:lnTo>
                        <a:pt x="348" y="42"/>
                      </a:lnTo>
                      <a:lnTo>
                        <a:pt x="340" y="51"/>
                      </a:lnTo>
                      <a:lnTo>
                        <a:pt x="333" y="59"/>
                      </a:lnTo>
                      <a:lnTo>
                        <a:pt x="321" y="69"/>
                      </a:lnTo>
                      <a:lnTo>
                        <a:pt x="310" y="80"/>
                      </a:lnTo>
                      <a:lnTo>
                        <a:pt x="299" y="90"/>
                      </a:lnTo>
                      <a:lnTo>
                        <a:pt x="285" y="101"/>
                      </a:lnTo>
                      <a:lnTo>
                        <a:pt x="272" y="110"/>
                      </a:lnTo>
                      <a:lnTo>
                        <a:pt x="259" y="120"/>
                      </a:lnTo>
                      <a:lnTo>
                        <a:pt x="245" y="128"/>
                      </a:lnTo>
                      <a:lnTo>
                        <a:pt x="232" y="137"/>
                      </a:lnTo>
                      <a:lnTo>
                        <a:pt x="219" y="143"/>
                      </a:lnTo>
                      <a:lnTo>
                        <a:pt x="207" y="147"/>
                      </a:lnTo>
                      <a:lnTo>
                        <a:pt x="194" y="148"/>
                      </a:lnTo>
                      <a:lnTo>
                        <a:pt x="181" y="152"/>
                      </a:lnTo>
                      <a:lnTo>
                        <a:pt x="166" y="152"/>
                      </a:lnTo>
                      <a:lnTo>
                        <a:pt x="150" y="152"/>
                      </a:lnTo>
                      <a:lnTo>
                        <a:pt x="135" y="152"/>
                      </a:lnTo>
                      <a:lnTo>
                        <a:pt x="120" y="150"/>
                      </a:lnTo>
                      <a:lnTo>
                        <a:pt x="105" y="147"/>
                      </a:lnTo>
                      <a:lnTo>
                        <a:pt x="90" y="145"/>
                      </a:lnTo>
                      <a:lnTo>
                        <a:pt x="74" y="139"/>
                      </a:lnTo>
                      <a:lnTo>
                        <a:pt x="61" y="135"/>
                      </a:lnTo>
                      <a:lnTo>
                        <a:pt x="50" y="129"/>
                      </a:lnTo>
                      <a:lnTo>
                        <a:pt x="38" y="124"/>
                      </a:lnTo>
                      <a:lnTo>
                        <a:pt x="27" y="116"/>
                      </a:lnTo>
                      <a:lnTo>
                        <a:pt x="19" y="109"/>
                      </a:lnTo>
                      <a:lnTo>
                        <a:pt x="12" y="99"/>
                      </a:lnTo>
                      <a:lnTo>
                        <a:pt x="8" y="91"/>
                      </a:lnTo>
                      <a:lnTo>
                        <a:pt x="4" y="82"/>
                      </a:lnTo>
                      <a:lnTo>
                        <a:pt x="2" y="72"/>
                      </a:lnTo>
                      <a:lnTo>
                        <a:pt x="0" y="65"/>
                      </a:lnTo>
                      <a:lnTo>
                        <a:pt x="2" y="55"/>
                      </a:lnTo>
                      <a:lnTo>
                        <a:pt x="2" y="46"/>
                      </a:lnTo>
                      <a:lnTo>
                        <a:pt x="6" y="38"/>
                      </a:lnTo>
                      <a:lnTo>
                        <a:pt x="8" y="31"/>
                      </a:lnTo>
                      <a:lnTo>
                        <a:pt x="12" y="25"/>
                      </a:lnTo>
                      <a:lnTo>
                        <a:pt x="15" y="17"/>
                      </a:lnTo>
                      <a:lnTo>
                        <a:pt x="19" y="12"/>
                      </a:lnTo>
                      <a:lnTo>
                        <a:pt x="23" y="8"/>
                      </a:lnTo>
                      <a:lnTo>
                        <a:pt x="29" y="4"/>
                      </a:lnTo>
                      <a:lnTo>
                        <a:pt x="33" y="2"/>
                      </a:lnTo>
                      <a:lnTo>
                        <a:pt x="40" y="0"/>
                      </a:lnTo>
                      <a:lnTo>
                        <a:pt x="44" y="0"/>
                      </a:lnTo>
                      <a:lnTo>
                        <a:pt x="50" y="2"/>
                      </a:lnTo>
                      <a:close/>
                    </a:path>
                  </a:pathLst>
                </a:custGeom>
                <a:solidFill>
                  <a:srgbClr val="FFCC99"/>
                </a:solidFill>
                <a:ln w="9525">
                  <a:noFill/>
                  <a:round/>
                  <a:headEnd/>
                  <a:tailEnd/>
                </a:ln>
              </p:spPr>
              <p:txBody>
                <a:bodyPr/>
                <a:lstStyle/>
                <a:p>
                  <a:pPr algn="l" eaLnBrk="1" hangingPunct="1"/>
                  <a:endParaRPr lang="en-US"/>
                </a:p>
              </p:txBody>
            </p:sp>
            <p:sp>
              <p:nvSpPr>
                <p:cNvPr id="1343" name="Freeform 759"/>
                <p:cNvSpPr>
                  <a:spLocks noChangeAspect="1"/>
                </p:cNvSpPr>
                <p:nvPr/>
              </p:nvSpPr>
              <p:spPr bwMode="auto">
                <a:xfrm>
                  <a:off x="3260" y="2135"/>
                  <a:ext cx="150" cy="113"/>
                </a:xfrm>
                <a:custGeom>
                  <a:avLst/>
                  <a:gdLst>
                    <a:gd name="T0" fmla="*/ 15 w 300"/>
                    <a:gd name="T1" fmla="*/ 0 h 226"/>
                    <a:gd name="T2" fmla="*/ 9 w 300"/>
                    <a:gd name="T3" fmla="*/ 10 h 226"/>
                    <a:gd name="T4" fmla="*/ 3 w 300"/>
                    <a:gd name="T5" fmla="*/ 23 h 226"/>
                    <a:gd name="T6" fmla="*/ 1 w 300"/>
                    <a:gd name="T7" fmla="*/ 40 h 226"/>
                    <a:gd name="T8" fmla="*/ 0 w 300"/>
                    <a:gd name="T9" fmla="*/ 57 h 226"/>
                    <a:gd name="T10" fmla="*/ 0 w 300"/>
                    <a:gd name="T11" fmla="*/ 76 h 226"/>
                    <a:gd name="T12" fmla="*/ 1 w 300"/>
                    <a:gd name="T13" fmla="*/ 91 h 226"/>
                    <a:gd name="T14" fmla="*/ 3 w 300"/>
                    <a:gd name="T15" fmla="*/ 107 h 226"/>
                    <a:gd name="T16" fmla="*/ 3 w 300"/>
                    <a:gd name="T17" fmla="*/ 120 h 226"/>
                    <a:gd name="T18" fmla="*/ 3 w 300"/>
                    <a:gd name="T19" fmla="*/ 133 h 226"/>
                    <a:gd name="T20" fmla="*/ 3 w 300"/>
                    <a:gd name="T21" fmla="*/ 150 h 226"/>
                    <a:gd name="T22" fmla="*/ 3 w 300"/>
                    <a:gd name="T23" fmla="*/ 169 h 226"/>
                    <a:gd name="T24" fmla="*/ 7 w 300"/>
                    <a:gd name="T25" fmla="*/ 187 h 226"/>
                    <a:gd name="T26" fmla="*/ 13 w 300"/>
                    <a:gd name="T27" fmla="*/ 202 h 226"/>
                    <a:gd name="T28" fmla="*/ 22 w 300"/>
                    <a:gd name="T29" fmla="*/ 213 h 226"/>
                    <a:gd name="T30" fmla="*/ 39 w 300"/>
                    <a:gd name="T31" fmla="*/ 223 h 226"/>
                    <a:gd name="T32" fmla="*/ 62 w 300"/>
                    <a:gd name="T33" fmla="*/ 226 h 226"/>
                    <a:gd name="T34" fmla="*/ 93 w 300"/>
                    <a:gd name="T35" fmla="*/ 226 h 226"/>
                    <a:gd name="T36" fmla="*/ 133 w 300"/>
                    <a:gd name="T37" fmla="*/ 226 h 226"/>
                    <a:gd name="T38" fmla="*/ 174 w 300"/>
                    <a:gd name="T39" fmla="*/ 225 h 226"/>
                    <a:gd name="T40" fmla="*/ 214 w 300"/>
                    <a:gd name="T41" fmla="*/ 221 h 226"/>
                    <a:gd name="T42" fmla="*/ 252 w 300"/>
                    <a:gd name="T43" fmla="*/ 219 h 226"/>
                    <a:gd name="T44" fmla="*/ 281 w 300"/>
                    <a:gd name="T45" fmla="*/ 215 h 226"/>
                    <a:gd name="T46" fmla="*/ 296 w 300"/>
                    <a:gd name="T47" fmla="*/ 215 h 226"/>
                    <a:gd name="T48" fmla="*/ 298 w 300"/>
                    <a:gd name="T49" fmla="*/ 213 h 226"/>
                    <a:gd name="T50" fmla="*/ 296 w 300"/>
                    <a:gd name="T51" fmla="*/ 204 h 226"/>
                    <a:gd name="T52" fmla="*/ 290 w 300"/>
                    <a:gd name="T53" fmla="*/ 188 h 226"/>
                    <a:gd name="T54" fmla="*/ 285 w 300"/>
                    <a:gd name="T55" fmla="*/ 171 h 226"/>
                    <a:gd name="T56" fmla="*/ 281 w 300"/>
                    <a:gd name="T57" fmla="*/ 150 h 226"/>
                    <a:gd name="T58" fmla="*/ 275 w 300"/>
                    <a:gd name="T59" fmla="*/ 131 h 226"/>
                    <a:gd name="T60" fmla="*/ 271 w 300"/>
                    <a:gd name="T61" fmla="*/ 114 h 226"/>
                    <a:gd name="T62" fmla="*/ 271 w 300"/>
                    <a:gd name="T63" fmla="*/ 101 h 226"/>
                    <a:gd name="T64" fmla="*/ 271 w 300"/>
                    <a:gd name="T65" fmla="*/ 91 h 226"/>
                    <a:gd name="T66" fmla="*/ 273 w 300"/>
                    <a:gd name="T67" fmla="*/ 80 h 226"/>
                    <a:gd name="T68" fmla="*/ 275 w 300"/>
                    <a:gd name="T69" fmla="*/ 67 h 226"/>
                    <a:gd name="T70" fmla="*/ 279 w 300"/>
                    <a:gd name="T71" fmla="*/ 52 h 226"/>
                    <a:gd name="T72" fmla="*/ 283 w 300"/>
                    <a:gd name="T73" fmla="*/ 34 h 226"/>
                    <a:gd name="T74" fmla="*/ 287 w 300"/>
                    <a:gd name="T75" fmla="*/ 19 h 226"/>
                    <a:gd name="T76" fmla="*/ 288 w 300"/>
                    <a:gd name="T77" fmla="*/ 10 h 226"/>
                    <a:gd name="T78" fmla="*/ 290 w 300"/>
                    <a:gd name="T79" fmla="*/ 2 h 226"/>
                    <a:gd name="T80" fmla="*/ 288 w 300"/>
                    <a:gd name="T81" fmla="*/ 2 h 226"/>
                    <a:gd name="T82" fmla="*/ 279 w 300"/>
                    <a:gd name="T83" fmla="*/ 4 h 226"/>
                    <a:gd name="T84" fmla="*/ 264 w 300"/>
                    <a:gd name="T85" fmla="*/ 10 h 226"/>
                    <a:gd name="T86" fmla="*/ 243 w 300"/>
                    <a:gd name="T87" fmla="*/ 15 h 226"/>
                    <a:gd name="T88" fmla="*/ 222 w 300"/>
                    <a:gd name="T89" fmla="*/ 21 h 226"/>
                    <a:gd name="T90" fmla="*/ 197 w 300"/>
                    <a:gd name="T91" fmla="*/ 27 h 226"/>
                    <a:gd name="T92" fmla="*/ 176 w 300"/>
                    <a:gd name="T93" fmla="*/ 33 h 226"/>
                    <a:gd name="T94" fmla="*/ 159 w 300"/>
                    <a:gd name="T95" fmla="*/ 34 h 226"/>
                    <a:gd name="T96" fmla="*/ 144 w 300"/>
                    <a:gd name="T97" fmla="*/ 34 h 226"/>
                    <a:gd name="T98" fmla="*/ 125 w 300"/>
                    <a:gd name="T99" fmla="*/ 33 h 226"/>
                    <a:gd name="T100" fmla="*/ 104 w 300"/>
                    <a:gd name="T101" fmla="*/ 27 h 226"/>
                    <a:gd name="T102" fmla="*/ 83 w 300"/>
                    <a:gd name="T103" fmla="*/ 21 h 226"/>
                    <a:gd name="T104" fmla="*/ 62 w 300"/>
                    <a:gd name="T105" fmla="*/ 14 h 226"/>
                    <a:gd name="T106" fmla="*/ 43 w 300"/>
                    <a:gd name="T107" fmla="*/ 8 h 226"/>
                    <a:gd name="T108" fmla="*/ 28 w 300"/>
                    <a:gd name="T109" fmla="*/ 2 h 226"/>
                    <a:gd name="T110" fmla="*/ 20 w 300"/>
                    <a:gd name="T111" fmla="*/ 0 h 226"/>
                    <a:gd name="T112" fmla="*/ 20 w 300"/>
                    <a:gd name="T113" fmla="*/ 0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26"/>
                    <a:gd name="T173" fmla="*/ 300 w 300"/>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26">
                      <a:moveTo>
                        <a:pt x="20" y="0"/>
                      </a:moveTo>
                      <a:lnTo>
                        <a:pt x="15" y="0"/>
                      </a:lnTo>
                      <a:lnTo>
                        <a:pt x="11" y="6"/>
                      </a:lnTo>
                      <a:lnTo>
                        <a:pt x="9" y="10"/>
                      </a:lnTo>
                      <a:lnTo>
                        <a:pt x="7" y="17"/>
                      </a:lnTo>
                      <a:lnTo>
                        <a:pt x="3" y="23"/>
                      </a:lnTo>
                      <a:lnTo>
                        <a:pt x="3" y="33"/>
                      </a:lnTo>
                      <a:lnTo>
                        <a:pt x="1" y="40"/>
                      </a:lnTo>
                      <a:lnTo>
                        <a:pt x="1" y="50"/>
                      </a:lnTo>
                      <a:lnTo>
                        <a:pt x="0" y="57"/>
                      </a:lnTo>
                      <a:lnTo>
                        <a:pt x="0" y="67"/>
                      </a:lnTo>
                      <a:lnTo>
                        <a:pt x="0" y="76"/>
                      </a:lnTo>
                      <a:lnTo>
                        <a:pt x="1" y="84"/>
                      </a:lnTo>
                      <a:lnTo>
                        <a:pt x="1" y="91"/>
                      </a:lnTo>
                      <a:lnTo>
                        <a:pt x="1" y="101"/>
                      </a:lnTo>
                      <a:lnTo>
                        <a:pt x="3" y="107"/>
                      </a:lnTo>
                      <a:lnTo>
                        <a:pt x="3" y="114"/>
                      </a:lnTo>
                      <a:lnTo>
                        <a:pt x="3" y="120"/>
                      </a:lnTo>
                      <a:lnTo>
                        <a:pt x="3" y="126"/>
                      </a:lnTo>
                      <a:lnTo>
                        <a:pt x="3" y="133"/>
                      </a:lnTo>
                      <a:lnTo>
                        <a:pt x="3" y="143"/>
                      </a:lnTo>
                      <a:lnTo>
                        <a:pt x="3" y="150"/>
                      </a:lnTo>
                      <a:lnTo>
                        <a:pt x="3" y="160"/>
                      </a:lnTo>
                      <a:lnTo>
                        <a:pt x="3" y="169"/>
                      </a:lnTo>
                      <a:lnTo>
                        <a:pt x="5" y="177"/>
                      </a:lnTo>
                      <a:lnTo>
                        <a:pt x="7" y="187"/>
                      </a:lnTo>
                      <a:lnTo>
                        <a:pt x="9" y="194"/>
                      </a:lnTo>
                      <a:lnTo>
                        <a:pt x="13" y="202"/>
                      </a:lnTo>
                      <a:lnTo>
                        <a:pt x="19" y="207"/>
                      </a:lnTo>
                      <a:lnTo>
                        <a:pt x="22" y="213"/>
                      </a:lnTo>
                      <a:lnTo>
                        <a:pt x="30" y="219"/>
                      </a:lnTo>
                      <a:lnTo>
                        <a:pt x="39" y="223"/>
                      </a:lnTo>
                      <a:lnTo>
                        <a:pt x="51" y="226"/>
                      </a:lnTo>
                      <a:lnTo>
                        <a:pt x="62" y="226"/>
                      </a:lnTo>
                      <a:lnTo>
                        <a:pt x="76" y="226"/>
                      </a:lnTo>
                      <a:lnTo>
                        <a:pt x="93" y="226"/>
                      </a:lnTo>
                      <a:lnTo>
                        <a:pt x="112" y="226"/>
                      </a:lnTo>
                      <a:lnTo>
                        <a:pt x="133" y="226"/>
                      </a:lnTo>
                      <a:lnTo>
                        <a:pt x="154" y="225"/>
                      </a:lnTo>
                      <a:lnTo>
                        <a:pt x="174" y="225"/>
                      </a:lnTo>
                      <a:lnTo>
                        <a:pt x="195" y="223"/>
                      </a:lnTo>
                      <a:lnTo>
                        <a:pt x="214" y="221"/>
                      </a:lnTo>
                      <a:lnTo>
                        <a:pt x="235" y="221"/>
                      </a:lnTo>
                      <a:lnTo>
                        <a:pt x="252" y="219"/>
                      </a:lnTo>
                      <a:lnTo>
                        <a:pt x="268" y="217"/>
                      </a:lnTo>
                      <a:lnTo>
                        <a:pt x="281" y="215"/>
                      </a:lnTo>
                      <a:lnTo>
                        <a:pt x="290" y="215"/>
                      </a:lnTo>
                      <a:lnTo>
                        <a:pt x="296" y="215"/>
                      </a:lnTo>
                      <a:lnTo>
                        <a:pt x="300" y="215"/>
                      </a:lnTo>
                      <a:lnTo>
                        <a:pt x="298" y="213"/>
                      </a:lnTo>
                      <a:lnTo>
                        <a:pt x="298" y="209"/>
                      </a:lnTo>
                      <a:lnTo>
                        <a:pt x="296" y="204"/>
                      </a:lnTo>
                      <a:lnTo>
                        <a:pt x="294" y="198"/>
                      </a:lnTo>
                      <a:lnTo>
                        <a:pt x="290" y="188"/>
                      </a:lnTo>
                      <a:lnTo>
                        <a:pt x="288" y="181"/>
                      </a:lnTo>
                      <a:lnTo>
                        <a:pt x="285" y="171"/>
                      </a:lnTo>
                      <a:lnTo>
                        <a:pt x="283" y="162"/>
                      </a:lnTo>
                      <a:lnTo>
                        <a:pt x="281" y="150"/>
                      </a:lnTo>
                      <a:lnTo>
                        <a:pt x="277" y="141"/>
                      </a:lnTo>
                      <a:lnTo>
                        <a:pt x="275" y="131"/>
                      </a:lnTo>
                      <a:lnTo>
                        <a:pt x="273" y="122"/>
                      </a:lnTo>
                      <a:lnTo>
                        <a:pt x="271" y="114"/>
                      </a:lnTo>
                      <a:lnTo>
                        <a:pt x="271" y="107"/>
                      </a:lnTo>
                      <a:lnTo>
                        <a:pt x="271" y="101"/>
                      </a:lnTo>
                      <a:lnTo>
                        <a:pt x="271" y="97"/>
                      </a:lnTo>
                      <a:lnTo>
                        <a:pt x="271" y="91"/>
                      </a:lnTo>
                      <a:lnTo>
                        <a:pt x="271" y="88"/>
                      </a:lnTo>
                      <a:lnTo>
                        <a:pt x="273" y="80"/>
                      </a:lnTo>
                      <a:lnTo>
                        <a:pt x="275" y="74"/>
                      </a:lnTo>
                      <a:lnTo>
                        <a:pt x="275" y="67"/>
                      </a:lnTo>
                      <a:lnTo>
                        <a:pt x="277" y="59"/>
                      </a:lnTo>
                      <a:lnTo>
                        <a:pt x="279" y="52"/>
                      </a:lnTo>
                      <a:lnTo>
                        <a:pt x="281" y="44"/>
                      </a:lnTo>
                      <a:lnTo>
                        <a:pt x="283" y="34"/>
                      </a:lnTo>
                      <a:lnTo>
                        <a:pt x="285" y="27"/>
                      </a:lnTo>
                      <a:lnTo>
                        <a:pt x="287" y="19"/>
                      </a:lnTo>
                      <a:lnTo>
                        <a:pt x="287" y="14"/>
                      </a:lnTo>
                      <a:lnTo>
                        <a:pt x="288" y="10"/>
                      </a:lnTo>
                      <a:lnTo>
                        <a:pt x="288" y="6"/>
                      </a:lnTo>
                      <a:lnTo>
                        <a:pt x="290" y="2"/>
                      </a:lnTo>
                      <a:lnTo>
                        <a:pt x="288" y="2"/>
                      </a:lnTo>
                      <a:lnTo>
                        <a:pt x="285" y="4"/>
                      </a:lnTo>
                      <a:lnTo>
                        <a:pt x="279" y="4"/>
                      </a:lnTo>
                      <a:lnTo>
                        <a:pt x="273" y="8"/>
                      </a:lnTo>
                      <a:lnTo>
                        <a:pt x="264" y="10"/>
                      </a:lnTo>
                      <a:lnTo>
                        <a:pt x="254" y="12"/>
                      </a:lnTo>
                      <a:lnTo>
                        <a:pt x="243" y="15"/>
                      </a:lnTo>
                      <a:lnTo>
                        <a:pt x="233" y="19"/>
                      </a:lnTo>
                      <a:lnTo>
                        <a:pt x="222" y="21"/>
                      </a:lnTo>
                      <a:lnTo>
                        <a:pt x="209" y="23"/>
                      </a:lnTo>
                      <a:lnTo>
                        <a:pt x="197" y="27"/>
                      </a:lnTo>
                      <a:lnTo>
                        <a:pt x="188" y="29"/>
                      </a:lnTo>
                      <a:lnTo>
                        <a:pt x="176" y="33"/>
                      </a:lnTo>
                      <a:lnTo>
                        <a:pt x="167" y="34"/>
                      </a:lnTo>
                      <a:lnTo>
                        <a:pt x="159" y="34"/>
                      </a:lnTo>
                      <a:lnTo>
                        <a:pt x="152" y="36"/>
                      </a:lnTo>
                      <a:lnTo>
                        <a:pt x="144" y="34"/>
                      </a:lnTo>
                      <a:lnTo>
                        <a:pt x="136" y="34"/>
                      </a:lnTo>
                      <a:lnTo>
                        <a:pt x="125" y="33"/>
                      </a:lnTo>
                      <a:lnTo>
                        <a:pt x="115" y="31"/>
                      </a:lnTo>
                      <a:lnTo>
                        <a:pt x="104" y="27"/>
                      </a:lnTo>
                      <a:lnTo>
                        <a:pt x="93" y="25"/>
                      </a:lnTo>
                      <a:lnTo>
                        <a:pt x="83" y="21"/>
                      </a:lnTo>
                      <a:lnTo>
                        <a:pt x="72" y="19"/>
                      </a:lnTo>
                      <a:lnTo>
                        <a:pt x="62" y="14"/>
                      </a:lnTo>
                      <a:lnTo>
                        <a:pt x="51" y="12"/>
                      </a:lnTo>
                      <a:lnTo>
                        <a:pt x="43" y="8"/>
                      </a:lnTo>
                      <a:lnTo>
                        <a:pt x="36" y="6"/>
                      </a:lnTo>
                      <a:lnTo>
                        <a:pt x="28" y="2"/>
                      </a:lnTo>
                      <a:lnTo>
                        <a:pt x="24" y="0"/>
                      </a:lnTo>
                      <a:lnTo>
                        <a:pt x="20" y="0"/>
                      </a:lnTo>
                      <a:close/>
                    </a:path>
                  </a:pathLst>
                </a:custGeom>
                <a:solidFill>
                  <a:srgbClr val="6EDEE6"/>
                </a:solidFill>
                <a:ln w="9525">
                  <a:noFill/>
                  <a:round/>
                  <a:headEnd/>
                  <a:tailEnd/>
                </a:ln>
              </p:spPr>
              <p:txBody>
                <a:bodyPr/>
                <a:lstStyle/>
                <a:p>
                  <a:pPr algn="l" eaLnBrk="1" hangingPunct="1"/>
                  <a:endParaRPr lang="en-US"/>
                </a:p>
              </p:txBody>
            </p:sp>
            <p:sp>
              <p:nvSpPr>
                <p:cNvPr id="1344" name="Freeform 760"/>
                <p:cNvSpPr>
                  <a:spLocks noChangeAspect="1"/>
                </p:cNvSpPr>
                <p:nvPr/>
              </p:nvSpPr>
              <p:spPr bwMode="auto">
                <a:xfrm>
                  <a:off x="3262" y="2160"/>
                  <a:ext cx="148" cy="92"/>
                </a:xfrm>
                <a:custGeom>
                  <a:avLst/>
                  <a:gdLst>
                    <a:gd name="T0" fmla="*/ 192 w 297"/>
                    <a:gd name="T1" fmla="*/ 17 h 182"/>
                    <a:gd name="T2" fmla="*/ 189 w 297"/>
                    <a:gd name="T3" fmla="*/ 34 h 182"/>
                    <a:gd name="T4" fmla="*/ 173 w 297"/>
                    <a:gd name="T5" fmla="*/ 34 h 182"/>
                    <a:gd name="T6" fmla="*/ 152 w 297"/>
                    <a:gd name="T7" fmla="*/ 19 h 182"/>
                    <a:gd name="T8" fmla="*/ 130 w 297"/>
                    <a:gd name="T9" fmla="*/ 7 h 182"/>
                    <a:gd name="T10" fmla="*/ 105 w 297"/>
                    <a:gd name="T11" fmla="*/ 1 h 182"/>
                    <a:gd name="T12" fmla="*/ 86 w 297"/>
                    <a:gd name="T13" fmla="*/ 1 h 182"/>
                    <a:gd name="T14" fmla="*/ 74 w 297"/>
                    <a:gd name="T15" fmla="*/ 5 h 182"/>
                    <a:gd name="T16" fmla="*/ 76 w 297"/>
                    <a:gd name="T17" fmla="*/ 19 h 182"/>
                    <a:gd name="T18" fmla="*/ 80 w 297"/>
                    <a:gd name="T19" fmla="*/ 34 h 182"/>
                    <a:gd name="T20" fmla="*/ 86 w 297"/>
                    <a:gd name="T21" fmla="*/ 49 h 182"/>
                    <a:gd name="T22" fmla="*/ 84 w 297"/>
                    <a:gd name="T23" fmla="*/ 64 h 182"/>
                    <a:gd name="T24" fmla="*/ 74 w 297"/>
                    <a:gd name="T25" fmla="*/ 72 h 182"/>
                    <a:gd name="T26" fmla="*/ 59 w 297"/>
                    <a:gd name="T27" fmla="*/ 70 h 182"/>
                    <a:gd name="T28" fmla="*/ 44 w 297"/>
                    <a:gd name="T29" fmla="*/ 62 h 182"/>
                    <a:gd name="T30" fmla="*/ 27 w 297"/>
                    <a:gd name="T31" fmla="*/ 57 h 182"/>
                    <a:gd name="T32" fmla="*/ 14 w 297"/>
                    <a:gd name="T33" fmla="*/ 51 h 182"/>
                    <a:gd name="T34" fmla="*/ 2 w 297"/>
                    <a:gd name="T35" fmla="*/ 45 h 182"/>
                    <a:gd name="T36" fmla="*/ 4 w 297"/>
                    <a:gd name="T37" fmla="*/ 106 h 182"/>
                    <a:gd name="T38" fmla="*/ 21 w 297"/>
                    <a:gd name="T39" fmla="*/ 117 h 182"/>
                    <a:gd name="T40" fmla="*/ 54 w 297"/>
                    <a:gd name="T41" fmla="*/ 136 h 182"/>
                    <a:gd name="T42" fmla="*/ 92 w 297"/>
                    <a:gd name="T43" fmla="*/ 157 h 182"/>
                    <a:gd name="T44" fmla="*/ 128 w 297"/>
                    <a:gd name="T45" fmla="*/ 173 h 182"/>
                    <a:gd name="T46" fmla="*/ 154 w 297"/>
                    <a:gd name="T47" fmla="*/ 182 h 182"/>
                    <a:gd name="T48" fmla="*/ 168 w 297"/>
                    <a:gd name="T49" fmla="*/ 178 h 182"/>
                    <a:gd name="T50" fmla="*/ 175 w 297"/>
                    <a:gd name="T51" fmla="*/ 167 h 182"/>
                    <a:gd name="T52" fmla="*/ 179 w 297"/>
                    <a:gd name="T53" fmla="*/ 154 h 182"/>
                    <a:gd name="T54" fmla="*/ 183 w 297"/>
                    <a:gd name="T55" fmla="*/ 140 h 182"/>
                    <a:gd name="T56" fmla="*/ 187 w 297"/>
                    <a:gd name="T57" fmla="*/ 129 h 182"/>
                    <a:gd name="T58" fmla="*/ 196 w 297"/>
                    <a:gd name="T59" fmla="*/ 125 h 182"/>
                    <a:gd name="T60" fmla="*/ 209 w 297"/>
                    <a:gd name="T61" fmla="*/ 131 h 182"/>
                    <a:gd name="T62" fmla="*/ 225 w 297"/>
                    <a:gd name="T63" fmla="*/ 146 h 182"/>
                    <a:gd name="T64" fmla="*/ 240 w 297"/>
                    <a:gd name="T65" fmla="*/ 161 h 182"/>
                    <a:gd name="T66" fmla="*/ 249 w 297"/>
                    <a:gd name="T67" fmla="*/ 173 h 182"/>
                    <a:gd name="T68" fmla="*/ 297 w 297"/>
                    <a:gd name="T69" fmla="*/ 157 h 182"/>
                    <a:gd name="T70" fmla="*/ 278 w 297"/>
                    <a:gd name="T71" fmla="*/ 95 h 182"/>
                    <a:gd name="T72" fmla="*/ 274 w 297"/>
                    <a:gd name="T73" fmla="*/ 81 h 182"/>
                    <a:gd name="T74" fmla="*/ 270 w 297"/>
                    <a:gd name="T75" fmla="*/ 62 h 182"/>
                    <a:gd name="T76" fmla="*/ 259 w 297"/>
                    <a:gd name="T77" fmla="*/ 39 h 182"/>
                    <a:gd name="T78" fmla="*/ 247 w 297"/>
                    <a:gd name="T79" fmla="*/ 20 h 182"/>
                    <a:gd name="T80" fmla="*/ 228 w 297"/>
                    <a:gd name="T81" fmla="*/ 7 h 182"/>
                    <a:gd name="T82" fmla="*/ 213 w 297"/>
                    <a:gd name="T83" fmla="*/ 1 h 182"/>
                    <a:gd name="T84" fmla="*/ 202 w 297"/>
                    <a:gd name="T85" fmla="*/ 1 h 182"/>
                    <a:gd name="T86" fmla="*/ 194 w 297"/>
                    <a:gd name="T87" fmla="*/ 7 h 182"/>
                    <a:gd name="T88" fmla="*/ 192 w 297"/>
                    <a:gd name="T89" fmla="*/ 11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82"/>
                    <a:gd name="T137" fmla="*/ 297 w 297"/>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82">
                      <a:moveTo>
                        <a:pt x="192" y="11"/>
                      </a:moveTo>
                      <a:lnTo>
                        <a:pt x="192" y="13"/>
                      </a:lnTo>
                      <a:lnTo>
                        <a:pt x="192" y="17"/>
                      </a:lnTo>
                      <a:lnTo>
                        <a:pt x="192" y="22"/>
                      </a:lnTo>
                      <a:lnTo>
                        <a:pt x="190" y="30"/>
                      </a:lnTo>
                      <a:lnTo>
                        <a:pt x="189" y="34"/>
                      </a:lnTo>
                      <a:lnTo>
                        <a:pt x="183" y="36"/>
                      </a:lnTo>
                      <a:lnTo>
                        <a:pt x="179" y="36"/>
                      </a:lnTo>
                      <a:lnTo>
                        <a:pt x="173" y="34"/>
                      </a:lnTo>
                      <a:lnTo>
                        <a:pt x="168" y="30"/>
                      </a:lnTo>
                      <a:lnTo>
                        <a:pt x="162" y="26"/>
                      </a:lnTo>
                      <a:lnTo>
                        <a:pt x="152" y="19"/>
                      </a:lnTo>
                      <a:lnTo>
                        <a:pt x="145" y="15"/>
                      </a:lnTo>
                      <a:lnTo>
                        <a:pt x="137" y="11"/>
                      </a:lnTo>
                      <a:lnTo>
                        <a:pt x="130" y="7"/>
                      </a:lnTo>
                      <a:lnTo>
                        <a:pt x="120" y="5"/>
                      </a:lnTo>
                      <a:lnTo>
                        <a:pt x="112" y="3"/>
                      </a:lnTo>
                      <a:lnTo>
                        <a:pt x="105" y="1"/>
                      </a:lnTo>
                      <a:lnTo>
                        <a:pt x="99" y="1"/>
                      </a:lnTo>
                      <a:lnTo>
                        <a:pt x="92" y="0"/>
                      </a:lnTo>
                      <a:lnTo>
                        <a:pt x="86" y="1"/>
                      </a:lnTo>
                      <a:lnTo>
                        <a:pt x="80" y="1"/>
                      </a:lnTo>
                      <a:lnTo>
                        <a:pt x="78" y="3"/>
                      </a:lnTo>
                      <a:lnTo>
                        <a:pt x="74" y="5"/>
                      </a:lnTo>
                      <a:lnTo>
                        <a:pt x="74" y="9"/>
                      </a:lnTo>
                      <a:lnTo>
                        <a:pt x="74" y="13"/>
                      </a:lnTo>
                      <a:lnTo>
                        <a:pt x="76" y="19"/>
                      </a:lnTo>
                      <a:lnTo>
                        <a:pt x="78" y="24"/>
                      </a:lnTo>
                      <a:lnTo>
                        <a:pt x="80" y="28"/>
                      </a:lnTo>
                      <a:lnTo>
                        <a:pt x="80" y="34"/>
                      </a:lnTo>
                      <a:lnTo>
                        <a:pt x="84" y="39"/>
                      </a:lnTo>
                      <a:lnTo>
                        <a:pt x="84" y="43"/>
                      </a:lnTo>
                      <a:lnTo>
                        <a:pt x="86" y="49"/>
                      </a:lnTo>
                      <a:lnTo>
                        <a:pt x="86" y="53"/>
                      </a:lnTo>
                      <a:lnTo>
                        <a:pt x="86" y="59"/>
                      </a:lnTo>
                      <a:lnTo>
                        <a:pt x="84" y="64"/>
                      </a:lnTo>
                      <a:lnTo>
                        <a:pt x="80" y="70"/>
                      </a:lnTo>
                      <a:lnTo>
                        <a:pt x="76" y="72"/>
                      </a:lnTo>
                      <a:lnTo>
                        <a:pt x="74" y="72"/>
                      </a:lnTo>
                      <a:lnTo>
                        <a:pt x="69" y="72"/>
                      </a:lnTo>
                      <a:lnTo>
                        <a:pt x="65" y="72"/>
                      </a:lnTo>
                      <a:lnTo>
                        <a:pt x="59" y="70"/>
                      </a:lnTo>
                      <a:lnTo>
                        <a:pt x="54" y="68"/>
                      </a:lnTo>
                      <a:lnTo>
                        <a:pt x="48" y="64"/>
                      </a:lnTo>
                      <a:lnTo>
                        <a:pt x="44" y="62"/>
                      </a:lnTo>
                      <a:lnTo>
                        <a:pt x="38" y="60"/>
                      </a:lnTo>
                      <a:lnTo>
                        <a:pt x="33" y="59"/>
                      </a:lnTo>
                      <a:lnTo>
                        <a:pt x="27" y="57"/>
                      </a:lnTo>
                      <a:lnTo>
                        <a:pt x="21" y="55"/>
                      </a:lnTo>
                      <a:lnTo>
                        <a:pt x="17" y="53"/>
                      </a:lnTo>
                      <a:lnTo>
                        <a:pt x="14" y="51"/>
                      </a:lnTo>
                      <a:lnTo>
                        <a:pt x="10" y="49"/>
                      </a:lnTo>
                      <a:lnTo>
                        <a:pt x="6" y="47"/>
                      </a:lnTo>
                      <a:lnTo>
                        <a:pt x="2" y="45"/>
                      </a:lnTo>
                      <a:lnTo>
                        <a:pt x="0" y="45"/>
                      </a:lnTo>
                      <a:lnTo>
                        <a:pt x="2" y="106"/>
                      </a:lnTo>
                      <a:lnTo>
                        <a:pt x="4" y="106"/>
                      </a:lnTo>
                      <a:lnTo>
                        <a:pt x="8" y="108"/>
                      </a:lnTo>
                      <a:lnTo>
                        <a:pt x="14" y="112"/>
                      </a:lnTo>
                      <a:lnTo>
                        <a:pt x="21" y="117"/>
                      </a:lnTo>
                      <a:lnTo>
                        <a:pt x="31" y="121"/>
                      </a:lnTo>
                      <a:lnTo>
                        <a:pt x="42" y="129"/>
                      </a:lnTo>
                      <a:lnTo>
                        <a:pt x="54" y="136"/>
                      </a:lnTo>
                      <a:lnTo>
                        <a:pt x="67" y="142"/>
                      </a:lnTo>
                      <a:lnTo>
                        <a:pt x="78" y="150"/>
                      </a:lnTo>
                      <a:lnTo>
                        <a:pt x="92" y="157"/>
                      </a:lnTo>
                      <a:lnTo>
                        <a:pt x="105" y="163"/>
                      </a:lnTo>
                      <a:lnTo>
                        <a:pt x="116" y="169"/>
                      </a:lnTo>
                      <a:lnTo>
                        <a:pt x="128" y="173"/>
                      </a:lnTo>
                      <a:lnTo>
                        <a:pt x="137" y="178"/>
                      </a:lnTo>
                      <a:lnTo>
                        <a:pt x="147" y="180"/>
                      </a:lnTo>
                      <a:lnTo>
                        <a:pt x="154" y="182"/>
                      </a:lnTo>
                      <a:lnTo>
                        <a:pt x="158" y="180"/>
                      </a:lnTo>
                      <a:lnTo>
                        <a:pt x="164" y="180"/>
                      </a:lnTo>
                      <a:lnTo>
                        <a:pt x="168" y="178"/>
                      </a:lnTo>
                      <a:lnTo>
                        <a:pt x="171" y="174"/>
                      </a:lnTo>
                      <a:lnTo>
                        <a:pt x="173" y="171"/>
                      </a:lnTo>
                      <a:lnTo>
                        <a:pt x="175" y="167"/>
                      </a:lnTo>
                      <a:lnTo>
                        <a:pt x="177" y="163"/>
                      </a:lnTo>
                      <a:lnTo>
                        <a:pt x="179" y="159"/>
                      </a:lnTo>
                      <a:lnTo>
                        <a:pt x="179" y="154"/>
                      </a:lnTo>
                      <a:lnTo>
                        <a:pt x="181" y="150"/>
                      </a:lnTo>
                      <a:lnTo>
                        <a:pt x="181" y="144"/>
                      </a:lnTo>
                      <a:lnTo>
                        <a:pt x="183" y="140"/>
                      </a:lnTo>
                      <a:lnTo>
                        <a:pt x="185" y="136"/>
                      </a:lnTo>
                      <a:lnTo>
                        <a:pt x="185" y="133"/>
                      </a:lnTo>
                      <a:lnTo>
                        <a:pt x="187" y="129"/>
                      </a:lnTo>
                      <a:lnTo>
                        <a:pt x="190" y="127"/>
                      </a:lnTo>
                      <a:lnTo>
                        <a:pt x="192" y="125"/>
                      </a:lnTo>
                      <a:lnTo>
                        <a:pt x="196" y="125"/>
                      </a:lnTo>
                      <a:lnTo>
                        <a:pt x="200" y="125"/>
                      </a:lnTo>
                      <a:lnTo>
                        <a:pt x="204" y="129"/>
                      </a:lnTo>
                      <a:lnTo>
                        <a:pt x="209" y="131"/>
                      </a:lnTo>
                      <a:lnTo>
                        <a:pt x="213" y="136"/>
                      </a:lnTo>
                      <a:lnTo>
                        <a:pt x="219" y="140"/>
                      </a:lnTo>
                      <a:lnTo>
                        <a:pt x="225" y="146"/>
                      </a:lnTo>
                      <a:lnTo>
                        <a:pt x="230" y="150"/>
                      </a:lnTo>
                      <a:lnTo>
                        <a:pt x="234" y="155"/>
                      </a:lnTo>
                      <a:lnTo>
                        <a:pt x="240" y="161"/>
                      </a:lnTo>
                      <a:lnTo>
                        <a:pt x="244" y="165"/>
                      </a:lnTo>
                      <a:lnTo>
                        <a:pt x="247" y="169"/>
                      </a:lnTo>
                      <a:lnTo>
                        <a:pt x="249" y="173"/>
                      </a:lnTo>
                      <a:lnTo>
                        <a:pt x="251" y="174"/>
                      </a:lnTo>
                      <a:lnTo>
                        <a:pt x="253" y="176"/>
                      </a:lnTo>
                      <a:lnTo>
                        <a:pt x="297" y="157"/>
                      </a:lnTo>
                      <a:lnTo>
                        <a:pt x="278" y="98"/>
                      </a:lnTo>
                      <a:lnTo>
                        <a:pt x="278" y="97"/>
                      </a:lnTo>
                      <a:lnTo>
                        <a:pt x="278" y="95"/>
                      </a:lnTo>
                      <a:lnTo>
                        <a:pt x="278" y="91"/>
                      </a:lnTo>
                      <a:lnTo>
                        <a:pt x="276" y="87"/>
                      </a:lnTo>
                      <a:lnTo>
                        <a:pt x="274" y="81"/>
                      </a:lnTo>
                      <a:lnTo>
                        <a:pt x="274" y="76"/>
                      </a:lnTo>
                      <a:lnTo>
                        <a:pt x="272" y="68"/>
                      </a:lnTo>
                      <a:lnTo>
                        <a:pt x="270" y="62"/>
                      </a:lnTo>
                      <a:lnTo>
                        <a:pt x="266" y="55"/>
                      </a:lnTo>
                      <a:lnTo>
                        <a:pt x="263" y="47"/>
                      </a:lnTo>
                      <a:lnTo>
                        <a:pt x="259" y="39"/>
                      </a:lnTo>
                      <a:lnTo>
                        <a:pt x="255" y="34"/>
                      </a:lnTo>
                      <a:lnTo>
                        <a:pt x="251" y="26"/>
                      </a:lnTo>
                      <a:lnTo>
                        <a:pt x="247" y="20"/>
                      </a:lnTo>
                      <a:lnTo>
                        <a:pt x="240" y="15"/>
                      </a:lnTo>
                      <a:lnTo>
                        <a:pt x="236" y="11"/>
                      </a:lnTo>
                      <a:lnTo>
                        <a:pt x="228" y="7"/>
                      </a:lnTo>
                      <a:lnTo>
                        <a:pt x="223" y="3"/>
                      </a:lnTo>
                      <a:lnTo>
                        <a:pt x="219" y="1"/>
                      </a:lnTo>
                      <a:lnTo>
                        <a:pt x="213" y="1"/>
                      </a:lnTo>
                      <a:lnTo>
                        <a:pt x="209" y="0"/>
                      </a:lnTo>
                      <a:lnTo>
                        <a:pt x="206" y="1"/>
                      </a:lnTo>
                      <a:lnTo>
                        <a:pt x="202" y="1"/>
                      </a:lnTo>
                      <a:lnTo>
                        <a:pt x="200" y="1"/>
                      </a:lnTo>
                      <a:lnTo>
                        <a:pt x="196" y="5"/>
                      </a:lnTo>
                      <a:lnTo>
                        <a:pt x="194" y="7"/>
                      </a:lnTo>
                      <a:lnTo>
                        <a:pt x="192" y="9"/>
                      </a:lnTo>
                      <a:lnTo>
                        <a:pt x="192" y="11"/>
                      </a:lnTo>
                      <a:close/>
                    </a:path>
                  </a:pathLst>
                </a:custGeom>
                <a:solidFill>
                  <a:srgbClr val="FFA366"/>
                </a:solidFill>
                <a:ln w="9525">
                  <a:noFill/>
                  <a:round/>
                  <a:headEnd/>
                  <a:tailEnd/>
                </a:ln>
              </p:spPr>
              <p:txBody>
                <a:bodyPr/>
                <a:lstStyle/>
                <a:p>
                  <a:pPr algn="l" eaLnBrk="1" hangingPunct="1"/>
                  <a:endParaRPr lang="en-US"/>
                </a:p>
              </p:txBody>
            </p:sp>
            <p:sp>
              <p:nvSpPr>
                <p:cNvPr id="1345" name="Freeform 761"/>
                <p:cNvSpPr>
                  <a:spLocks noChangeAspect="1"/>
                </p:cNvSpPr>
                <p:nvPr/>
              </p:nvSpPr>
              <p:spPr bwMode="auto">
                <a:xfrm>
                  <a:off x="3241" y="1981"/>
                  <a:ext cx="202" cy="88"/>
                </a:xfrm>
                <a:custGeom>
                  <a:avLst/>
                  <a:gdLst>
                    <a:gd name="T0" fmla="*/ 11 w 404"/>
                    <a:gd name="T1" fmla="*/ 65 h 177"/>
                    <a:gd name="T2" fmla="*/ 7 w 404"/>
                    <a:gd name="T3" fmla="*/ 76 h 177"/>
                    <a:gd name="T4" fmla="*/ 1 w 404"/>
                    <a:gd name="T5" fmla="*/ 90 h 177"/>
                    <a:gd name="T6" fmla="*/ 0 w 404"/>
                    <a:gd name="T7" fmla="*/ 103 h 177"/>
                    <a:gd name="T8" fmla="*/ 1 w 404"/>
                    <a:gd name="T9" fmla="*/ 116 h 177"/>
                    <a:gd name="T10" fmla="*/ 9 w 404"/>
                    <a:gd name="T11" fmla="*/ 129 h 177"/>
                    <a:gd name="T12" fmla="*/ 24 w 404"/>
                    <a:gd name="T13" fmla="*/ 141 h 177"/>
                    <a:gd name="T14" fmla="*/ 49 w 404"/>
                    <a:gd name="T15" fmla="*/ 152 h 177"/>
                    <a:gd name="T16" fmla="*/ 85 w 404"/>
                    <a:gd name="T17" fmla="*/ 160 h 177"/>
                    <a:gd name="T18" fmla="*/ 123 w 404"/>
                    <a:gd name="T19" fmla="*/ 166 h 177"/>
                    <a:gd name="T20" fmla="*/ 165 w 404"/>
                    <a:gd name="T21" fmla="*/ 171 h 177"/>
                    <a:gd name="T22" fmla="*/ 207 w 404"/>
                    <a:gd name="T23" fmla="*/ 175 h 177"/>
                    <a:gd name="T24" fmla="*/ 247 w 404"/>
                    <a:gd name="T25" fmla="*/ 177 h 177"/>
                    <a:gd name="T26" fmla="*/ 283 w 404"/>
                    <a:gd name="T27" fmla="*/ 177 h 177"/>
                    <a:gd name="T28" fmla="*/ 315 w 404"/>
                    <a:gd name="T29" fmla="*/ 173 h 177"/>
                    <a:gd name="T30" fmla="*/ 340 w 404"/>
                    <a:gd name="T31" fmla="*/ 166 h 177"/>
                    <a:gd name="T32" fmla="*/ 359 w 404"/>
                    <a:gd name="T33" fmla="*/ 156 h 177"/>
                    <a:gd name="T34" fmla="*/ 376 w 404"/>
                    <a:gd name="T35" fmla="*/ 141 h 177"/>
                    <a:gd name="T36" fmla="*/ 391 w 404"/>
                    <a:gd name="T37" fmla="*/ 124 h 177"/>
                    <a:gd name="T38" fmla="*/ 401 w 404"/>
                    <a:gd name="T39" fmla="*/ 105 h 177"/>
                    <a:gd name="T40" fmla="*/ 404 w 404"/>
                    <a:gd name="T41" fmla="*/ 84 h 177"/>
                    <a:gd name="T42" fmla="*/ 399 w 404"/>
                    <a:gd name="T43" fmla="*/ 65 h 177"/>
                    <a:gd name="T44" fmla="*/ 382 w 404"/>
                    <a:gd name="T45" fmla="*/ 46 h 177"/>
                    <a:gd name="T46" fmla="*/ 353 w 404"/>
                    <a:gd name="T47" fmla="*/ 31 h 177"/>
                    <a:gd name="T48" fmla="*/ 309 w 404"/>
                    <a:gd name="T49" fmla="*/ 17 h 177"/>
                    <a:gd name="T50" fmla="*/ 273 w 404"/>
                    <a:gd name="T51" fmla="*/ 8 h 177"/>
                    <a:gd name="T52" fmla="*/ 247 w 404"/>
                    <a:gd name="T53" fmla="*/ 2 h 177"/>
                    <a:gd name="T54" fmla="*/ 226 w 404"/>
                    <a:gd name="T55" fmla="*/ 0 h 177"/>
                    <a:gd name="T56" fmla="*/ 209 w 404"/>
                    <a:gd name="T57" fmla="*/ 0 h 177"/>
                    <a:gd name="T58" fmla="*/ 193 w 404"/>
                    <a:gd name="T59" fmla="*/ 2 h 177"/>
                    <a:gd name="T60" fmla="*/ 178 w 404"/>
                    <a:gd name="T61" fmla="*/ 4 h 177"/>
                    <a:gd name="T62" fmla="*/ 161 w 404"/>
                    <a:gd name="T63" fmla="*/ 10 h 177"/>
                    <a:gd name="T64" fmla="*/ 140 w 404"/>
                    <a:gd name="T65" fmla="*/ 13 h 177"/>
                    <a:gd name="T66" fmla="*/ 117 w 404"/>
                    <a:gd name="T67" fmla="*/ 17 h 177"/>
                    <a:gd name="T68" fmla="*/ 95 w 404"/>
                    <a:gd name="T69" fmla="*/ 21 h 177"/>
                    <a:gd name="T70" fmla="*/ 74 w 404"/>
                    <a:gd name="T71" fmla="*/ 23 h 177"/>
                    <a:gd name="T72" fmla="*/ 55 w 404"/>
                    <a:gd name="T73" fmla="*/ 29 h 177"/>
                    <a:gd name="T74" fmla="*/ 38 w 404"/>
                    <a:gd name="T75" fmla="*/ 34 h 177"/>
                    <a:gd name="T76" fmla="*/ 24 w 404"/>
                    <a:gd name="T77" fmla="*/ 42 h 177"/>
                    <a:gd name="T78" fmla="*/ 15 w 404"/>
                    <a:gd name="T79" fmla="*/ 53 h 177"/>
                    <a:gd name="T80" fmla="*/ 13 w 404"/>
                    <a:gd name="T81" fmla="*/ 61 h 1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4"/>
                    <a:gd name="T124" fmla="*/ 0 h 177"/>
                    <a:gd name="T125" fmla="*/ 404 w 404"/>
                    <a:gd name="T126" fmla="*/ 177 h 1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4" h="177">
                      <a:moveTo>
                        <a:pt x="13" y="61"/>
                      </a:moveTo>
                      <a:lnTo>
                        <a:pt x="11" y="65"/>
                      </a:lnTo>
                      <a:lnTo>
                        <a:pt x="9" y="71"/>
                      </a:lnTo>
                      <a:lnTo>
                        <a:pt x="7" y="76"/>
                      </a:lnTo>
                      <a:lnTo>
                        <a:pt x="5" y="82"/>
                      </a:lnTo>
                      <a:lnTo>
                        <a:pt x="1" y="90"/>
                      </a:lnTo>
                      <a:lnTo>
                        <a:pt x="1" y="95"/>
                      </a:lnTo>
                      <a:lnTo>
                        <a:pt x="0" y="103"/>
                      </a:lnTo>
                      <a:lnTo>
                        <a:pt x="1" y="110"/>
                      </a:lnTo>
                      <a:lnTo>
                        <a:pt x="1" y="116"/>
                      </a:lnTo>
                      <a:lnTo>
                        <a:pt x="3" y="124"/>
                      </a:lnTo>
                      <a:lnTo>
                        <a:pt x="9" y="129"/>
                      </a:lnTo>
                      <a:lnTo>
                        <a:pt x="15" y="137"/>
                      </a:lnTo>
                      <a:lnTo>
                        <a:pt x="24" y="141"/>
                      </a:lnTo>
                      <a:lnTo>
                        <a:pt x="36" y="147"/>
                      </a:lnTo>
                      <a:lnTo>
                        <a:pt x="49" y="152"/>
                      </a:lnTo>
                      <a:lnTo>
                        <a:pt x="66" y="156"/>
                      </a:lnTo>
                      <a:lnTo>
                        <a:pt x="85" y="160"/>
                      </a:lnTo>
                      <a:lnTo>
                        <a:pt x="104" y="162"/>
                      </a:lnTo>
                      <a:lnTo>
                        <a:pt x="123" y="166"/>
                      </a:lnTo>
                      <a:lnTo>
                        <a:pt x="144" y="169"/>
                      </a:lnTo>
                      <a:lnTo>
                        <a:pt x="165" y="171"/>
                      </a:lnTo>
                      <a:lnTo>
                        <a:pt x="186" y="173"/>
                      </a:lnTo>
                      <a:lnTo>
                        <a:pt x="207" y="175"/>
                      </a:lnTo>
                      <a:lnTo>
                        <a:pt x="228" y="177"/>
                      </a:lnTo>
                      <a:lnTo>
                        <a:pt x="247" y="177"/>
                      </a:lnTo>
                      <a:lnTo>
                        <a:pt x="266" y="177"/>
                      </a:lnTo>
                      <a:lnTo>
                        <a:pt x="283" y="177"/>
                      </a:lnTo>
                      <a:lnTo>
                        <a:pt x="300" y="175"/>
                      </a:lnTo>
                      <a:lnTo>
                        <a:pt x="315" y="173"/>
                      </a:lnTo>
                      <a:lnTo>
                        <a:pt x="328" y="171"/>
                      </a:lnTo>
                      <a:lnTo>
                        <a:pt x="340" y="166"/>
                      </a:lnTo>
                      <a:lnTo>
                        <a:pt x="351" y="162"/>
                      </a:lnTo>
                      <a:lnTo>
                        <a:pt x="359" y="156"/>
                      </a:lnTo>
                      <a:lnTo>
                        <a:pt x="368" y="148"/>
                      </a:lnTo>
                      <a:lnTo>
                        <a:pt x="376" y="141"/>
                      </a:lnTo>
                      <a:lnTo>
                        <a:pt x="383" y="133"/>
                      </a:lnTo>
                      <a:lnTo>
                        <a:pt x="391" y="124"/>
                      </a:lnTo>
                      <a:lnTo>
                        <a:pt x="397" y="114"/>
                      </a:lnTo>
                      <a:lnTo>
                        <a:pt x="401" y="105"/>
                      </a:lnTo>
                      <a:lnTo>
                        <a:pt x="404" y="95"/>
                      </a:lnTo>
                      <a:lnTo>
                        <a:pt x="404" y="84"/>
                      </a:lnTo>
                      <a:lnTo>
                        <a:pt x="402" y="74"/>
                      </a:lnTo>
                      <a:lnTo>
                        <a:pt x="399" y="65"/>
                      </a:lnTo>
                      <a:lnTo>
                        <a:pt x="393" y="55"/>
                      </a:lnTo>
                      <a:lnTo>
                        <a:pt x="382" y="46"/>
                      </a:lnTo>
                      <a:lnTo>
                        <a:pt x="368" y="38"/>
                      </a:lnTo>
                      <a:lnTo>
                        <a:pt x="353" y="31"/>
                      </a:lnTo>
                      <a:lnTo>
                        <a:pt x="332" y="23"/>
                      </a:lnTo>
                      <a:lnTo>
                        <a:pt x="309" y="17"/>
                      </a:lnTo>
                      <a:lnTo>
                        <a:pt x="290" y="12"/>
                      </a:lnTo>
                      <a:lnTo>
                        <a:pt x="273" y="8"/>
                      </a:lnTo>
                      <a:lnTo>
                        <a:pt x="260" y="6"/>
                      </a:lnTo>
                      <a:lnTo>
                        <a:pt x="247" y="2"/>
                      </a:lnTo>
                      <a:lnTo>
                        <a:pt x="235" y="2"/>
                      </a:lnTo>
                      <a:lnTo>
                        <a:pt x="226" y="0"/>
                      </a:lnTo>
                      <a:lnTo>
                        <a:pt x="216" y="0"/>
                      </a:lnTo>
                      <a:lnTo>
                        <a:pt x="209" y="0"/>
                      </a:lnTo>
                      <a:lnTo>
                        <a:pt x="201" y="2"/>
                      </a:lnTo>
                      <a:lnTo>
                        <a:pt x="193" y="2"/>
                      </a:lnTo>
                      <a:lnTo>
                        <a:pt x="186" y="4"/>
                      </a:lnTo>
                      <a:lnTo>
                        <a:pt x="178" y="4"/>
                      </a:lnTo>
                      <a:lnTo>
                        <a:pt x="171" y="8"/>
                      </a:lnTo>
                      <a:lnTo>
                        <a:pt x="161" y="10"/>
                      </a:lnTo>
                      <a:lnTo>
                        <a:pt x="152" y="12"/>
                      </a:lnTo>
                      <a:lnTo>
                        <a:pt x="140" y="13"/>
                      </a:lnTo>
                      <a:lnTo>
                        <a:pt x="129" y="15"/>
                      </a:lnTo>
                      <a:lnTo>
                        <a:pt x="117" y="17"/>
                      </a:lnTo>
                      <a:lnTo>
                        <a:pt x="106" y="19"/>
                      </a:lnTo>
                      <a:lnTo>
                        <a:pt x="95" y="21"/>
                      </a:lnTo>
                      <a:lnTo>
                        <a:pt x="85" y="21"/>
                      </a:lnTo>
                      <a:lnTo>
                        <a:pt x="74" y="23"/>
                      </a:lnTo>
                      <a:lnTo>
                        <a:pt x="64" y="27"/>
                      </a:lnTo>
                      <a:lnTo>
                        <a:pt x="55" y="29"/>
                      </a:lnTo>
                      <a:lnTo>
                        <a:pt x="45" y="31"/>
                      </a:lnTo>
                      <a:lnTo>
                        <a:pt x="38" y="34"/>
                      </a:lnTo>
                      <a:lnTo>
                        <a:pt x="30" y="38"/>
                      </a:lnTo>
                      <a:lnTo>
                        <a:pt x="24" y="42"/>
                      </a:lnTo>
                      <a:lnTo>
                        <a:pt x="19" y="48"/>
                      </a:lnTo>
                      <a:lnTo>
                        <a:pt x="15" y="53"/>
                      </a:lnTo>
                      <a:lnTo>
                        <a:pt x="13" y="61"/>
                      </a:lnTo>
                      <a:close/>
                    </a:path>
                  </a:pathLst>
                </a:custGeom>
                <a:solidFill>
                  <a:srgbClr val="808080"/>
                </a:solidFill>
                <a:ln w="9525">
                  <a:noFill/>
                  <a:round/>
                  <a:headEnd/>
                  <a:tailEnd/>
                </a:ln>
              </p:spPr>
              <p:txBody>
                <a:bodyPr/>
                <a:lstStyle/>
                <a:p>
                  <a:pPr algn="l" eaLnBrk="1" hangingPunct="1"/>
                  <a:endParaRPr lang="en-US"/>
                </a:p>
              </p:txBody>
            </p:sp>
            <p:sp>
              <p:nvSpPr>
                <p:cNvPr id="1346" name="Freeform 762"/>
                <p:cNvSpPr>
                  <a:spLocks noChangeAspect="1"/>
                </p:cNvSpPr>
                <p:nvPr/>
              </p:nvSpPr>
              <p:spPr bwMode="auto">
                <a:xfrm>
                  <a:off x="3251" y="2025"/>
                  <a:ext cx="76" cy="29"/>
                </a:xfrm>
                <a:custGeom>
                  <a:avLst/>
                  <a:gdLst>
                    <a:gd name="T0" fmla="*/ 8 w 153"/>
                    <a:gd name="T1" fmla="*/ 0 h 57"/>
                    <a:gd name="T2" fmla="*/ 8 w 153"/>
                    <a:gd name="T3" fmla="*/ 0 h 57"/>
                    <a:gd name="T4" fmla="*/ 12 w 153"/>
                    <a:gd name="T5" fmla="*/ 1 h 57"/>
                    <a:gd name="T6" fmla="*/ 16 w 153"/>
                    <a:gd name="T7" fmla="*/ 3 h 57"/>
                    <a:gd name="T8" fmla="*/ 21 w 153"/>
                    <a:gd name="T9" fmla="*/ 7 h 57"/>
                    <a:gd name="T10" fmla="*/ 29 w 153"/>
                    <a:gd name="T11" fmla="*/ 9 h 57"/>
                    <a:gd name="T12" fmla="*/ 38 w 153"/>
                    <a:gd name="T13" fmla="*/ 15 h 57"/>
                    <a:gd name="T14" fmla="*/ 48 w 153"/>
                    <a:gd name="T15" fmla="*/ 19 h 57"/>
                    <a:gd name="T16" fmla="*/ 59 w 153"/>
                    <a:gd name="T17" fmla="*/ 24 h 57"/>
                    <a:gd name="T18" fmla="*/ 69 w 153"/>
                    <a:gd name="T19" fmla="*/ 28 h 57"/>
                    <a:gd name="T20" fmla="*/ 80 w 153"/>
                    <a:gd name="T21" fmla="*/ 34 h 57"/>
                    <a:gd name="T22" fmla="*/ 94 w 153"/>
                    <a:gd name="T23" fmla="*/ 38 h 57"/>
                    <a:gd name="T24" fmla="*/ 105 w 153"/>
                    <a:gd name="T25" fmla="*/ 41 h 57"/>
                    <a:gd name="T26" fmla="*/ 116 w 153"/>
                    <a:gd name="T27" fmla="*/ 45 h 57"/>
                    <a:gd name="T28" fmla="*/ 130 w 153"/>
                    <a:gd name="T29" fmla="*/ 49 h 57"/>
                    <a:gd name="T30" fmla="*/ 141 w 153"/>
                    <a:gd name="T31" fmla="*/ 51 h 57"/>
                    <a:gd name="T32" fmla="*/ 153 w 153"/>
                    <a:gd name="T33" fmla="*/ 53 h 57"/>
                    <a:gd name="T34" fmla="*/ 151 w 153"/>
                    <a:gd name="T35" fmla="*/ 53 h 57"/>
                    <a:gd name="T36" fmla="*/ 149 w 153"/>
                    <a:gd name="T37" fmla="*/ 53 h 57"/>
                    <a:gd name="T38" fmla="*/ 145 w 153"/>
                    <a:gd name="T39" fmla="*/ 53 h 57"/>
                    <a:gd name="T40" fmla="*/ 141 w 153"/>
                    <a:gd name="T41" fmla="*/ 55 h 57"/>
                    <a:gd name="T42" fmla="*/ 135 w 153"/>
                    <a:gd name="T43" fmla="*/ 55 h 57"/>
                    <a:gd name="T44" fmla="*/ 130 w 153"/>
                    <a:gd name="T45" fmla="*/ 55 h 57"/>
                    <a:gd name="T46" fmla="*/ 122 w 153"/>
                    <a:gd name="T47" fmla="*/ 55 h 57"/>
                    <a:gd name="T48" fmla="*/ 114 w 153"/>
                    <a:gd name="T49" fmla="*/ 57 h 57"/>
                    <a:gd name="T50" fmla="*/ 105 w 153"/>
                    <a:gd name="T51" fmla="*/ 57 h 57"/>
                    <a:gd name="T52" fmla="*/ 95 w 153"/>
                    <a:gd name="T53" fmla="*/ 57 h 57"/>
                    <a:gd name="T54" fmla="*/ 86 w 153"/>
                    <a:gd name="T55" fmla="*/ 57 h 57"/>
                    <a:gd name="T56" fmla="*/ 76 w 153"/>
                    <a:gd name="T57" fmla="*/ 57 h 57"/>
                    <a:gd name="T58" fmla="*/ 65 w 153"/>
                    <a:gd name="T59" fmla="*/ 55 h 57"/>
                    <a:gd name="T60" fmla="*/ 56 w 153"/>
                    <a:gd name="T61" fmla="*/ 55 h 57"/>
                    <a:gd name="T62" fmla="*/ 46 w 153"/>
                    <a:gd name="T63" fmla="*/ 53 h 57"/>
                    <a:gd name="T64" fmla="*/ 35 w 153"/>
                    <a:gd name="T65" fmla="*/ 51 h 57"/>
                    <a:gd name="T66" fmla="*/ 25 w 153"/>
                    <a:gd name="T67" fmla="*/ 47 h 57"/>
                    <a:gd name="T68" fmla="*/ 18 w 153"/>
                    <a:gd name="T69" fmla="*/ 43 h 57"/>
                    <a:gd name="T70" fmla="*/ 12 w 153"/>
                    <a:gd name="T71" fmla="*/ 41 h 57"/>
                    <a:gd name="T72" fmla="*/ 8 w 153"/>
                    <a:gd name="T73" fmla="*/ 38 h 57"/>
                    <a:gd name="T74" fmla="*/ 4 w 153"/>
                    <a:gd name="T75" fmla="*/ 32 h 57"/>
                    <a:gd name="T76" fmla="*/ 2 w 153"/>
                    <a:gd name="T77" fmla="*/ 28 h 57"/>
                    <a:gd name="T78" fmla="*/ 0 w 153"/>
                    <a:gd name="T79" fmla="*/ 24 h 57"/>
                    <a:gd name="T80" fmla="*/ 0 w 153"/>
                    <a:gd name="T81" fmla="*/ 20 h 57"/>
                    <a:gd name="T82" fmla="*/ 0 w 153"/>
                    <a:gd name="T83" fmla="*/ 15 h 57"/>
                    <a:gd name="T84" fmla="*/ 2 w 153"/>
                    <a:gd name="T85" fmla="*/ 11 h 57"/>
                    <a:gd name="T86" fmla="*/ 2 w 153"/>
                    <a:gd name="T87" fmla="*/ 7 h 57"/>
                    <a:gd name="T88" fmla="*/ 4 w 153"/>
                    <a:gd name="T89" fmla="*/ 5 h 57"/>
                    <a:gd name="T90" fmla="*/ 6 w 153"/>
                    <a:gd name="T91" fmla="*/ 1 h 57"/>
                    <a:gd name="T92" fmla="*/ 8 w 153"/>
                    <a:gd name="T93" fmla="*/ 0 h 57"/>
                    <a:gd name="T94" fmla="*/ 8 w 153"/>
                    <a:gd name="T95" fmla="*/ 0 h 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3"/>
                    <a:gd name="T145" fmla="*/ 0 h 57"/>
                    <a:gd name="T146" fmla="*/ 153 w 153"/>
                    <a:gd name="T147" fmla="*/ 57 h 5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3" h="57">
                      <a:moveTo>
                        <a:pt x="8" y="0"/>
                      </a:moveTo>
                      <a:lnTo>
                        <a:pt x="8" y="0"/>
                      </a:lnTo>
                      <a:lnTo>
                        <a:pt x="12" y="1"/>
                      </a:lnTo>
                      <a:lnTo>
                        <a:pt x="16" y="3"/>
                      </a:lnTo>
                      <a:lnTo>
                        <a:pt x="21" y="7"/>
                      </a:lnTo>
                      <a:lnTo>
                        <a:pt x="29" y="9"/>
                      </a:lnTo>
                      <a:lnTo>
                        <a:pt x="38" y="15"/>
                      </a:lnTo>
                      <a:lnTo>
                        <a:pt x="48" y="19"/>
                      </a:lnTo>
                      <a:lnTo>
                        <a:pt x="59" y="24"/>
                      </a:lnTo>
                      <a:lnTo>
                        <a:pt x="69" y="28"/>
                      </a:lnTo>
                      <a:lnTo>
                        <a:pt x="80" y="34"/>
                      </a:lnTo>
                      <a:lnTo>
                        <a:pt x="94" y="38"/>
                      </a:lnTo>
                      <a:lnTo>
                        <a:pt x="105" y="41"/>
                      </a:lnTo>
                      <a:lnTo>
                        <a:pt x="116" y="45"/>
                      </a:lnTo>
                      <a:lnTo>
                        <a:pt x="130" y="49"/>
                      </a:lnTo>
                      <a:lnTo>
                        <a:pt x="141" y="51"/>
                      </a:lnTo>
                      <a:lnTo>
                        <a:pt x="153" y="53"/>
                      </a:lnTo>
                      <a:lnTo>
                        <a:pt x="151" y="53"/>
                      </a:lnTo>
                      <a:lnTo>
                        <a:pt x="149" y="53"/>
                      </a:lnTo>
                      <a:lnTo>
                        <a:pt x="145" y="53"/>
                      </a:lnTo>
                      <a:lnTo>
                        <a:pt x="141" y="55"/>
                      </a:lnTo>
                      <a:lnTo>
                        <a:pt x="135" y="55"/>
                      </a:lnTo>
                      <a:lnTo>
                        <a:pt x="130" y="55"/>
                      </a:lnTo>
                      <a:lnTo>
                        <a:pt x="122" y="55"/>
                      </a:lnTo>
                      <a:lnTo>
                        <a:pt x="114" y="57"/>
                      </a:lnTo>
                      <a:lnTo>
                        <a:pt x="105" y="57"/>
                      </a:lnTo>
                      <a:lnTo>
                        <a:pt x="95" y="57"/>
                      </a:lnTo>
                      <a:lnTo>
                        <a:pt x="86" y="57"/>
                      </a:lnTo>
                      <a:lnTo>
                        <a:pt x="76" y="57"/>
                      </a:lnTo>
                      <a:lnTo>
                        <a:pt x="65" y="55"/>
                      </a:lnTo>
                      <a:lnTo>
                        <a:pt x="56" y="55"/>
                      </a:lnTo>
                      <a:lnTo>
                        <a:pt x="46" y="53"/>
                      </a:lnTo>
                      <a:lnTo>
                        <a:pt x="35" y="51"/>
                      </a:lnTo>
                      <a:lnTo>
                        <a:pt x="25" y="47"/>
                      </a:lnTo>
                      <a:lnTo>
                        <a:pt x="18" y="43"/>
                      </a:lnTo>
                      <a:lnTo>
                        <a:pt x="12" y="41"/>
                      </a:lnTo>
                      <a:lnTo>
                        <a:pt x="8" y="38"/>
                      </a:lnTo>
                      <a:lnTo>
                        <a:pt x="4" y="32"/>
                      </a:lnTo>
                      <a:lnTo>
                        <a:pt x="2" y="28"/>
                      </a:lnTo>
                      <a:lnTo>
                        <a:pt x="0" y="24"/>
                      </a:lnTo>
                      <a:lnTo>
                        <a:pt x="0" y="20"/>
                      </a:lnTo>
                      <a:lnTo>
                        <a:pt x="0" y="15"/>
                      </a:lnTo>
                      <a:lnTo>
                        <a:pt x="2" y="11"/>
                      </a:lnTo>
                      <a:lnTo>
                        <a:pt x="2" y="7"/>
                      </a:lnTo>
                      <a:lnTo>
                        <a:pt x="4" y="5"/>
                      </a:lnTo>
                      <a:lnTo>
                        <a:pt x="6" y="1"/>
                      </a:lnTo>
                      <a:lnTo>
                        <a:pt x="8" y="0"/>
                      </a:lnTo>
                      <a:close/>
                    </a:path>
                  </a:pathLst>
                </a:custGeom>
                <a:solidFill>
                  <a:srgbClr val="C0C0C0"/>
                </a:solidFill>
                <a:ln w="9525">
                  <a:noFill/>
                  <a:round/>
                  <a:headEnd/>
                  <a:tailEnd/>
                </a:ln>
              </p:spPr>
              <p:txBody>
                <a:bodyPr/>
                <a:lstStyle/>
                <a:p>
                  <a:pPr algn="l" eaLnBrk="1" hangingPunct="1"/>
                  <a:endParaRPr lang="en-US"/>
                </a:p>
              </p:txBody>
            </p:sp>
            <p:sp>
              <p:nvSpPr>
                <p:cNvPr id="1347" name="Freeform 763"/>
                <p:cNvSpPr>
                  <a:spLocks noChangeAspect="1"/>
                </p:cNvSpPr>
                <p:nvPr/>
              </p:nvSpPr>
              <p:spPr bwMode="auto">
                <a:xfrm>
                  <a:off x="3281" y="1983"/>
                  <a:ext cx="84" cy="41"/>
                </a:xfrm>
                <a:custGeom>
                  <a:avLst/>
                  <a:gdLst>
                    <a:gd name="T0" fmla="*/ 31 w 170"/>
                    <a:gd name="T1" fmla="*/ 72 h 82"/>
                    <a:gd name="T2" fmla="*/ 19 w 170"/>
                    <a:gd name="T3" fmla="*/ 68 h 82"/>
                    <a:gd name="T4" fmla="*/ 10 w 170"/>
                    <a:gd name="T5" fmla="*/ 63 h 82"/>
                    <a:gd name="T6" fmla="*/ 2 w 170"/>
                    <a:gd name="T7" fmla="*/ 55 h 82"/>
                    <a:gd name="T8" fmla="*/ 0 w 170"/>
                    <a:gd name="T9" fmla="*/ 47 h 82"/>
                    <a:gd name="T10" fmla="*/ 0 w 170"/>
                    <a:gd name="T11" fmla="*/ 38 h 82"/>
                    <a:gd name="T12" fmla="*/ 10 w 170"/>
                    <a:gd name="T13" fmla="*/ 26 h 82"/>
                    <a:gd name="T14" fmla="*/ 29 w 170"/>
                    <a:gd name="T15" fmla="*/ 15 h 82"/>
                    <a:gd name="T16" fmla="*/ 50 w 170"/>
                    <a:gd name="T17" fmla="*/ 7 h 82"/>
                    <a:gd name="T18" fmla="*/ 74 w 170"/>
                    <a:gd name="T19" fmla="*/ 2 h 82"/>
                    <a:gd name="T20" fmla="*/ 99 w 170"/>
                    <a:gd name="T21" fmla="*/ 0 h 82"/>
                    <a:gd name="T22" fmla="*/ 124 w 170"/>
                    <a:gd name="T23" fmla="*/ 0 h 82"/>
                    <a:gd name="T24" fmla="*/ 145 w 170"/>
                    <a:gd name="T25" fmla="*/ 2 h 82"/>
                    <a:gd name="T26" fmla="*/ 160 w 170"/>
                    <a:gd name="T27" fmla="*/ 2 h 82"/>
                    <a:gd name="T28" fmla="*/ 168 w 170"/>
                    <a:gd name="T29" fmla="*/ 4 h 82"/>
                    <a:gd name="T30" fmla="*/ 168 w 170"/>
                    <a:gd name="T31" fmla="*/ 4 h 82"/>
                    <a:gd name="T32" fmla="*/ 160 w 170"/>
                    <a:gd name="T33" fmla="*/ 4 h 82"/>
                    <a:gd name="T34" fmla="*/ 147 w 170"/>
                    <a:gd name="T35" fmla="*/ 6 h 82"/>
                    <a:gd name="T36" fmla="*/ 130 w 170"/>
                    <a:gd name="T37" fmla="*/ 9 h 82"/>
                    <a:gd name="T38" fmla="*/ 111 w 170"/>
                    <a:gd name="T39" fmla="*/ 13 h 82"/>
                    <a:gd name="T40" fmla="*/ 94 w 170"/>
                    <a:gd name="T41" fmla="*/ 17 h 82"/>
                    <a:gd name="T42" fmla="*/ 78 w 170"/>
                    <a:gd name="T43" fmla="*/ 23 h 82"/>
                    <a:gd name="T44" fmla="*/ 67 w 170"/>
                    <a:gd name="T45" fmla="*/ 30 h 82"/>
                    <a:gd name="T46" fmla="*/ 63 w 170"/>
                    <a:gd name="T47" fmla="*/ 42 h 82"/>
                    <a:gd name="T48" fmla="*/ 67 w 170"/>
                    <a:gd name="T49" fmla="*/ 53 h 82"/>
                    <a:gd name="T50" fmla="*/ 73 w 170"/>
                    <a:gd name="T51" fmla="*/ 61 h 82"/>
                    <a:gd name="T52" fmla="*/ 84 w 170"/>
                    <a:gd name="T53" fmla="*/ 70 h 82"/>
                    <a:gd name="T54" fmla="*/ 95 w 170"/>
                    <a:gd name="T55" fmla="*/ 78 h 82"/>
                    <a:gd name="T56" fmla="*/ 95 w 170"/>
                    <a:gd name="T57" fmla="*/ 80 h 82"/>
                    <a:gd name="T58" fmla="*/ 90 w 170"/>
                    <a:gd name="T59" fmla="*/ 80 h 82"/>
                    <a:gd name="T60" fmla="*/ 82 w 170"/>
                    <a:gd name="T61" fmla="*/ 82 h 82"/>
                    <a:gd name="T62" fmla="*/ 74 w 170"/>
                    <a:gd name="T63" fmla="*/ 82 h 82"/>
                    <a:gd name="T64" fmla="*/ 63 w 170"/>
                    <a:gd name="T65" fmla="*/ 80 h 82"/>
                    <a:gd name="T66" fmla="*/ 52 w 170"/>
                    <a:gd name="T67" fmla="*/ 78 h 82"/>
                    <a:gd name="T68" fmla="*/ 40 w 170"/>
                    <a:gd name="T69" fmla="*/ 76 h 82"/>
                    <a:gd name="T70" fmla="*/ 33 w 170"/>
                    <a:gd name="T71" fmla="*/ 74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0"/>
                    <a:gd name="T109" fmla="*/ 0 h 82"/>
                    <a:gd name="T110" fmla="*/ 170 w 170"/>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0" h="82">
                      <a:moveTo>
                        <a:pt x="33" y="74"/>
                      </a:moveTo>
                      <a:lnTo>
                        <a:pt x="31" y="72"/>
                      </a:lnTo>
                      <a:lnTo>
                        <a:pt x="23" y="70"/>
                      </a:lnTo>
                      <a:lnTo>
                        <a:pt x="19" y="68"/>
                      </a:lnTo>
                      <a:lnTo>
                        <a:pt x="16" y="65"/>
                      </a:lnTo>
                      <a:lnTo>
                        <a:pt x="10" y="63"/>
                      </a:lnTo>
                      <a:lnTo>
                        <a:pt x="8" y="59"/>
                      </a:lnTo>
                      <a:lnTo>
                        <a:pt x="2" y="55"/>
                      </a:lnTo>
                      <a:lnTo>
                        <a:pt x="0" y="51"/>
                      </a:lnTo>
                      <a:lnTo>
                        <a:pt x="0" y="47"/>
                      </a:lnTo>
                      <a:lnTo>
                        <a:pt x="0" y="42"/>
                      </a:lnTo>
                      <a:lnTo>
                        <a:pt x="0" y="38"/>
                      </a:lnTo>
                      <a:lnTo>
                        <a:pt x="6" y="32"/>
                      </a:lnTo>
                      <a:lnTo>
                        <a:pt x="10" y="26"/>
                      </a:lnTo>
                      <a:lnTo>
                        <a:pt x="19" y="21"/>
                      </a:lnTo>
                      <a:lnTo>
                        <a:pt x="29" y="15"/>
                      </a:lnTo>
                      <a:lnTo>
                        <a:pt x="40" y="11"/>
                      </a:lnTo>
                      <a:lnTo>
                        <a:pt x="50" y="7"/>
                      </a:lnTo>
                      <a:lnTo>
                        <a:pt x="63" y="6"/>
                      </a:lnTo>
                      <a:lnTo>
                        <a:pt x="74" y="2"/>
                      </a:lnTo>
                      <a:lnTo>
                        <a:pt x="88" y="2"/>
                      </a:lnTo>
                      <a:lnTo>
                        <a:pt x="99" y="0"/>
                      </a:lnTo>
                      <a:lnTo>
                        <a:pt x="113" y="0"/>
                      </a:lnTo>
                      <a:lnTo>
                        <a:pt x="124" y="0"/>
                      </a:lnTo>
                      <a:lnTo>
                        <a:pt x="135" y="0"/>
                      </a:lnTo>
                      <a:lnTo>
                        <a:pt x="145" y="2"/>
                      </a:lnTo>
                      <a:lnTo>
                        <a:pt x="152" y="2"/>
                      </a:lnTo>
                      <a:lnTo>
                        <a:pt x="160" y="2"/>
                      </a:lnTo>
                      <a:lnTo>
                        <a:pt x="164" y="2"/>
                      </a:lnTo>
                      <a:lnTo>
                        <a:pt x="168" y="4"/>
                      </a:lnTo>
                      <a:lnTo>
                        <a:pt x="170" y="4"/>
                      </a:lnTo>
                      <a:lnTo>
                        <a:pt x="168" y="4"/>
                      </a:lnTo>
                      <a:lnTo>
                        <a:pt x="166" y="4"/>
                      </a:lnTo>
                      <a:lnTo>
                        <a:pt x="160" y="4"/>
                      </a:lnTo>
                      <a:lnTo>
                        <a:pt x="154" y="6"/>
                      </a:lnTo>
                      <a:lnTo>
                        <a:pt x="147" y="6"/>
                      </a:lnTo>
                      <a:lnTo>
                        <a:pt x="139" y="7"/>
                      </a:lnTo>
                      <a:lnTo>
                        <a:pt x="130" y="9"/>
                      </a:lnTo>
                      <a:lnTo>
                        <a:pt x="120" y="11"/>
                      </a:lnTo>
                      <a:lnTo>
                        <a:pt x="111" y="13"/>
                      </a:lnTo>
                      <a:lnTo>
                        <a:pt x="101" y="15"/>
                      </a:lnTo>
                      <a:lnTo>
                        <a:pt x="94" y="17"/>
                      </a:lnTo>
                      <a:lnTo>
                        <a:pt x="84" y="21"/>
                      </a:lnTo>
                      <a:lnTo>
                        <a:pt x="78" y="23"/>
                      </a:lnTo>
                      <a:lnTo>
                        <a:pt x="71" y="26"/>
                      </a:lnTo>
                      <a:lnTo>
                        <a:pt x="67" y="30"/>
                      </a:lnTo>
                      <a:lnTo>
                        <a:pt x="65" y="34"/>
                      </a:lnTo>
                      <a:lnTo>
                        <a:pt x="63" y="42"/>
                      </a:lnTo>
                      <a:lnTo>
                        <a:pt x="65" y="49"/>
                      </a:lnTo>
                      <a:lnTo>
                        <a:pt x="67" y="53"/>
                      </a:lnTo>
                      <a:lnTo>
                        <a:pt x="71" y="57"/>
                      </a:lnTo>
                      <a:lnTo>
                        <a:pt x="73" y="61"/>
                      </a:lnTo>
                      <a:lnTo>
                        <a:pt x="78" y="65"/>
                      </a:lnTo>
                      <a:lnTo>
                        <a:pt x="84" y="70"/>
                      </a:lnTo>
                      <a:lnTo>
                        <a:pt x="90" y="76"/>
                      </a:lnTo>
                      <a:lnTo>
                        <a:pt x="95" y="78"/>
                      </a:lnTo>
                      <a:lnTo>
                        <a:pt x="97" y="80"/>
                      </a:lnTo>
                      <a:lnTo>
                        <a:pt x="95" y="80"/>
                      </a:lnTo>
                      <a:lnTo>
                        <a:pt x="92" y="80"/>
                      </a:lnTo>
                      <a:lnTo>
                        <a:pt x="90" y="80"/>
                      </a:lnTo>
                      <a:lnTo>
                        <a:pt x="86" y="80"/>
                      </a:lnTo>
                      <a:lnTo>
                        <a:pt x="82" y="82"/>
                      </a:lnTo>
                      <a:lnTo>
                        <a:pt x="78" y="82"/>
                      </a:lnTo>
                      <a:lnTo>
                        <a:pt x="74" y="82"/>
                      </a:lnTo>
                      <a:lnTo>
                        <a:pt x="69" y="82"/>
                      </a:lnTo>
                      <a:lnTo>
                        <a:pt x="63" y="80"/>
                      </a:lnTo>
                      <a:lnTo>
                        <a:pt x="59" y="80"/>
                      </a:lnTo>
                      <a:lnTo>
                        <a:pt x="52" y="78"/>
                      </a:lnTo>
                      <a:lnTo>
                        <a:pt x="46" y="78"/>
                      </a:lnTo>
                      <a:lnTo>
                        <a:pt x="40" y="76"/>
                      </a:lnTo>
                      <a:lnTo>
                        <a:pt x="33" y="74"/>
                      </a:lnTo>
                      <a:close/>
                    </a:path>
                  </a:pathLst>
                </a:custGeom>
                <a:solidFill>
                  <a:srgbClr val="333333"/>
                </a:solidFill>
                <a:ln w="9525">
                  <a:noFill/>
                  <a:round/>
                  <a:headEnd/>
                  <a:tailEnd/>
                </a:ln>
              </p:spPr>
              <p:txBody>
                <a:bodyPr/>
                <a:lstStyle/>
                <a:p>
                  <a:pPr algn="l" eaLnBrk="1" hangingPunct="1"/>
                  <a:endParaRPr lang="en-US"/>
                </a:p>
              </p:txBody>
            </p:sp>
            <p:sp>
              <p:nvSpPr>
                <p:cNvPr id="1348" name="Freeform 764"/>
                <p:cNvSpPr>
                  <a:spLocks noChangeAspect="1"/>
                </p:cNvSpPr>
                <p:nvPr/>
              </p:nvSpPr>
              <p:spPr bwMode="auto">
                <a:xfrm>
                  <a:off x="3293" y="2007"/>
                  <a:ext cx="152" cy="64"/>
                </a:xfrm>
                <a:custGeom>
                  <a:avLst/>
                  <a:gdLst>
                    <a:gd name="T0" fmla="*/ 266 w 304"/>
                    <a:gd name="T1" fmla="*/ 2 h 128"/>
                    <a:gd name="T2" fmla="*/ 262 w 304"/>
                    <a:gd name="T3" fmla="*/ 12 h 128"/>
                    <a:gd name="T4" fmla="*/ 259 w 304"/>
                    <a:gd name="T5" fmla="*/ 21 h 128"/>
                    <a:gd name="T6" fmla="*/ 251 w 304"/>
                    <a:gd name="T7" fmla="*/ 33 h 128"/>
                    <a:gd name="T8" fmla="*/ 240 w 304"/>
                    <a:gd name="T9" fmla="*/ 42 h 128"/>
                    <a:gd name="T10" fmla="*/ 224 w 304"/>
                    <a:gd name="T11" fmla="*/ 52 h 128"/>
                    <a:gd name="T12" fmla="*/ 205 w 304"/>
                    <a:gd name="T13" fmla="*/ 59 h 128"/>
                    <a:gd name="T14" fmla="*/ 179 w 304"/>
                    <a:gd name="T15" fmla="*/ 63 h 128"/>
                    <a:gd name="T16" fmla="*/ 148 w 304"/>
                    <a:gd name="T17" fmla="*/ 63 h 128"/>
                    <a:gd name="T18" fmla="*/ 120 w 304"/>
                    <a:gd name="T19" fmla="*/ 65 h 128"/>
                    <a:gd name="T20" fmla="*/ 89 w 304"/>
                    <a:gd name="T21" fmla="*/ 65 h 128"/>
                    <a:gd name="T22" fmla="*/ 63 w 304"/>
                    <a:gd name="T23" fmla="*/ 65 h 128"/>
                    <a:gd name="T24" fmla="*/ 38 w 304"/>
                    <a:gd name="T25" fmla="*/ 63 h 128"/>
                    <a:gd name="T26" fmla="*/ 21 w 304"/>
                    <a:gd name="T27" fmla="*/ 63 h 128"/>
                    <a:gd name="T28" fmla="*/ 11 w 304"/>
                    <a:gd name="T29" fmla="*/ 63 h 128"/>
                    <a:gd name="T30" fmla="*/ 11 w 304"/>
                    <a:gd name="T31" fmla="*/ 63 h 128"/>
                    <a:gd name="T32" fmla="*/ 19 w 304"/>
                    <a:gd name="T33" fmla="*/ 65 h 128"/>
                    <a:gd name="T34" fmla="*/ 32 w 304"/>
                    <a:gd name="T35" fmla="*/ 69 h 128"/>
                    <a:gd name="T36" fmla="*/ 51 w 304"/>
                    <a:gd name="T37" fmla="*/ 73 h 128"/>
                    <a:gd name="T38" fmla="*/ 72 w 304"/>
                    <a:gd name="T39" fmla="*/ 78 h 128"/>
                    <a:gd name="T40" fmla="*/ 93 w 304"/>
                    <a:gd name="T41" fmla="*/ 82 h 128"/>
                    <a:gd name="T42" fmla="*/ 116 w 304"/>
                    <a:gd name="T43" fmla="*/ 86 h 128"/>
                    <a:gd name="T44" fmla="*/ 135 w 304"/>
                    <a:gd name="T45" fmla="*/ 90 h 128"/>
                    <a:gd name="T46" fmla="*/ 148 w 304"/>
                    <a:gd name="T47" fmla="*/ 92 h 128"/>
                    <a:gd name="T48" fmla="*/ 146 w 304"/>
                    <a:gd name="T49" fmla="*/ 94 h 128"/>
                    <a:gd name="T50" fmla="*/ 129 w 304"/>
                    <a:gd name="T51" fmla="*/ 97 h 128"/>
                    <a:gd name="T52" fmla="*/ 103 w 304"/>
                    <a:gd name="T53" fmla="*/ 101 h 128"/>
                    <a:gd name="T54" fmla="*/ 70 w 304"/>
                    <a:gd name="T55" fmla="*/ 105 h 128"/>
                    <a:gd name="T56" fmla="*/ 40 w 304"/>
                    <a:gd name="T57" fmla="*/ 109 h 128"/>
                    <a:gd name="T58" fmla="*/ 15 w 304"/>
                    <a:gd name="T59" fmla="*/ 111 h 128"/>
                    <a:gd name="T60" fmla="*/ 2 w 304"/>
                    <a:gd name="T61" fmla="*/ 113 h 128"/>
                    <a:gd name="T62" fmla="*/ 0 w 304"/>
                    <a:gd name="T63" fmla="*/ 113 h 128"/>
                    <a:gd name="T64" fmla="*/ 8 w 304"/>
                    <a:gd name="T65" fmla="*/ 115 h 128"/>
                    <a:gd name="T66" fmla="*/ 23 w 304"/>
                    <a:gd name="T67" fmla="*/ 118 h 128"/>
                    <a:gd name="T68" fmla="*/ 44 w 304"/>
                    <a:gd name="T69" fmla="*/ 122 h 128"/>
                    <a:gd name="T70" fmla="*/ 70 w 304"/>
                    <a:gd name="T71" fmla="*/ 124 h 128"/>
                    <a:gd name="T72" fmla="*/ 99 w 304"/>
                    <a:gd name="T73" fmla="*/ 128 h 128"/>
                    <a:gd name="T74" fmla="*/ 131 w 304"/>
                    <a:gd name="T75" fmla="*/ 128 h 128"/>
                    <a:gd name="T76" fmla="*/ 165 w 304"/>
                    <a:gd name="T77" fmla="*/ 128 h 128"/>
                    <a:gd name="T78" fmla="*/ 200 w 304"/>
                    <a:gd name="T79" fmla="*/ 122 h 128"/>
                    <a:gd name="T80" fmla="*/ 228 w 304"/>
                    <a:gd name="T81" fmla="*/ 115 h 128"/>
                    <a:gd name="T82" fmla="*/ 253 w 304"/>
                    <a:gd name="T83" fmla="*/ 109 h 128"/>
                    <a:gd name="T84" fmla="*/ 272 w 304"/>
                    <a:gd name="T85" fmla="*/ 99 h 128"/>
                    <a:gd name="T86" fmla="*/ 287 w 304"/>
                    <a:gd name="T87" fmla="*/ 90 h 128"/>
                    <a:gd name="T88" fmla="*/ 297 w 304"/>
                    <a:gd name="T89" fmla="*/ 80 h 128"/>
                    <a:gd name="T90" fmla="*/ 302 w 304"/>
                    <a:gd name="T91" fmla="*/ 69 h 128"/>
                    <a:gd name="T92" fmla="*/ 304 w 304"/>
                    <a:gd name="T93" fmla="*/ 56 h 128"/>
                    <a:gd name="T94" fmla="*/ 302 w 304"/>
                    <a:gd name="T95" fmla="*/ 44 h 128"/>
                    <a:gd name="T96" fmla="*/ 297 w 304"/>
                    <a:gd name="T97" fmla="*/ 33 h 128"/>
                    <a:gd name="T98" fmla="*/ 291 w 304"/>
                    <a:gd name="T99" fmla="*/ 25 h 128"/>
                    <a:gd name="T100" fmla="*/ 285 w 304"/>
                    <a:gd name="T101" fmla="*/ 16 h 128"/>
                    <a:gd name="T102" fmla="*/ 278 w 304"/>
                    <a:gd name="T103" fmla="*/ 6 h 128"/>
                    <a:gd name="T104" fmla="*/ 268 w 304"/>
                    <a:gd name="T105" fmla="*/ 0 h 128"/>
                    <a:gd name="T106" fmla="*/ 268 w 304"/>
                    <a:gd name="T107" fmla="*/ 0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4"/>
                    <a:gd name="T163" fmla="*/ 0 h 128"/>
                    <a:gd name="T164" fmla="*/ 304 w 304"/>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4" h="128">
                      <a:moveTo>
                        <a:pt x="268" y="0"/>
                      </a:moveTo>
                      <a:lnTo>
                        <a:pt x="266" y="2"/>
                      </a:lnTo>
                      <a:lnTo>
                        <a:pt x="264" y="8"/>
                      </a:lnTo>
                      <a:lnTo>
                        <a:pt x="262" y="12"/>
                      </a:lnTo>
                      <a:lnTo>
                        <a:pt x="260" y="18"/>
                      </a:lnTo>
                      <a:lnTo>
                        <a:pt x="259" y="21"/>
                      </a:lnTo>
                      <a:lnTo>
                        <a:pt x="257" y="27"/>
                      </a:lnTo>
                      <a:lnTo>
                        <a:pt x="251" y="33"/>
                      </a:lnTo>
                      <a:lnTo>
                        <a:pt x="247" y="38"/>
                      </a:lnTo>
                      <a:lnTo>
                        <a:pt x="240" y="42"/>
                      </a:lnTo>
                      <a:lnTo>
                        <a:pt x="234" y="48"/>
                      </a:lnTo>
                      <a:lnTo>
                        <a:pt x="224" y="52"/>
                      </a:lnTo>
                      <a:lnTo>
                        <a:pt x="215" y="56"/>
                      </a:lnTo>
                      <a:lnTo>
                        <a:pt x="205" y="59"/>
                      </a:lnTo>
                      <a:lnTo>
                        <a:pt x="192" y="61"/>
                      </a:lnTo>
                      <a:lnTo>
                        <a:pt x="179" y="63"/>
                      </a:lnTo>
                      <a:lnTo>
                        <a:pt x="165" y="63"/>
                      </a:lnTo>
                      <a:lnTo>
                        <a:pt x="148" y="63"/>
                      </a:lnTo>
                      <a:lnTo>
                        <a:pt x="135" y="65"/>
                      </a:lnTo>
                      <a:lnTo>
                        <a:pt x="120" y="65"/>
                      </a:lnTo>
                      <a:lnTo>
                        <a:pt x="105" y="65"/>
                      </a:lnTo>
                      <a:lnTo>
                        <a:pt x="89" y="65"/>
                      </a:lnTo>
                      <a:lnTo>
                        <a:pt x="76" y="65"/>
                      </a:lnTo>
                      <a:lnTo>
                        <a:pt x="63" y="65"/>
                      </a:lnTo>
                      <a:lnTo>
                        <a:pt x="49" y="65"/>
                      </a:lnTo>
                      <a:lnTo>
                        <a:pt x="38" y="63"/>
                      </a:lnTo>
                      <a:lnTo>
                        <a:pt x="30" y="63"/>
                      </a:lnTo>
                      <a:lnTo>
                        <a:pt x="21" y="63"/>
                      </a:lnTo>
                      <a:lnTo>
                        <a:pt x="15" y="63"/>
                      </a:lnTo>
                      <a:lnTo>
                        <a:pt x="11" y="63"/>
                      </a:lnTo>
                      <a:lnTo>
                        <a:pt x="15" y="65"/>
                      </a:lnTo>
                      <a:lnTo>
                        <a:pt x="19" y="65"/>
                      </a:lnTo>
                      <a:lnTo>
                        <a:pt x="27" y="67"/>
                      </a:lnTo>
                      <a:lnTo>
                        <a:pt x="32" y="69"/>
                      </a:lnTo>
                      <a:lnTo>
                        <a:pt x="42" y="71"/>
                      </a:lnTo>
                      <a:lnTo>
                        <a:pt x="51" y="73"/>
                      </a:lnTo>
                      <a:lnTo>
                        <a:pt x="63" y="76"/>
                      </a:lnTo>
                      <a:lnTo>
                        <a:pt x="72" y="78"/>
                      </a:lnTo>
                      <a:lnTo>
                        <a:pt x="84" y="80"/>
                      </a:lnTo>
                      <a:lnTo>
                        <a:pt x="93" y="82"/>
                      </a:lnTo>
                      <a:lnTo>
                        <a:pt x="107" y="86"/>
                      </a:lnTo>
                      <a:lnTo>
                        <a:pt x="116" y="86"/>
                      </a:lnTo>
                      <a:lnTo>
                        <a:pt x="126" y="90"/>
                      </a:lnTo>
                      <a:lnTo>
                        <a:pt x="135" y="90"/>
                      </a:lnTo>
                      <a:lnTo>
                        <a:pt x="145" y="92"/>
                      </a:lnTo>
                      <a:lnTo>
                        <a:pt x="148" y="92"/>
                      </a:lnTo>
                      <a:lnTo>
                        <a:pt x="150" y="94"/>
                      </a:lnTo>
                      <a:lnTo>
                        <a:pt x="146" y="94"/>
                      </a:lnTo>
                      <a:lnTo>
                        <a:pt x="139" y="95"/>
                      </a:lnTo>
                      <a:lnTo>
                        <a:pt x="129" y="97"/>
                      </a:lnTo>
                      <a:lnTo>
                        <a:pt x="116" y="99"/>
                      </a:lnTo>
                      <a:lnTo>
                        <a:pt x="103" y="101"/>
                      </a:lnTo>
                      <a:lnTo>
                        <a:pt x="88" y="103"/>
                      </a:lnTo>
                      <a:lnTo>
                        <a:pt x="70" y="105"/>
                      </a:lnTo>
                      <a:lnTo>
                        <a:pt x="55" y="107"/>
                      </a:lnTo>
                      <a:lnTo>
                        <a:pt x="40" y="109"/>
                      </a:lnTo>
                      <a:lnTo>
                        <a:pt x="29" y="111"/>
                      </a:lnTo>
                      <a:lnTo>
                        <a:pt x="15" y="111"/>
                      </a:lnTo>
                      <a:lnTo>
                        <a:pt x="8" y="113"/>
                      </a:lnTo>
                      <a:lnTo>
                        <a:pt x="2" y="113"/>
                      </a:lnTo>
                      <a:lnTo>
                        <a:pt x="0" y="113"/>
                      </a:lnTo>
                      <a:lnTo>
                        <a:pt x="4" y="115"/>
                      </a:lnTo>
                      <a:lnTo>
                        <a:pt x="8" y="115"/>
                      </a:lnTo>
                      <a:lnTo>
                        <a:pt x="15" y="116"/>
                      </a:lnTo>
                      <a:lnTo>
                        <a:pt x="23" y="118"/>
                      </a:lnTo>
                      <a:lnTo>
                        <a:pt x="34" y="120"/>
                      </a:lnTo>
                      <a:lnTo>
                        <a:pt x="44" y="122"/>
                      </a:lnTo>
                      <a:lnTo>
                        <a:pt x="57" y="124"/>
                      </a:lnTo>
                      <a:lnTo>
                        <a:pt x="70" y="124"/>
                      </a:lnTo>
                      <a:lnTo>
                        <a:pt x="84" y="126"/>
                      </a:lnTo>
                      <a:lnTo>
                        <a:pt x="99" y="128"/>
                      </a:lnTo>
                      <a:lnTo>
                        <a:pt x="116" y="128"/>
                      </a:lnTo>
                      <a:lnTo>
                        <a:pt x="131" y="128"/>
                      </a:lnTo>
                      <a:lnTo>
                        <a:pt x="148" y="128"/>
                      </a:lnTo>
                      <a:lnTo>
                        <a:pt x="165" y="128"/>
                      </a:lnTo>
                      <a:lnTo>
                        <a:pt x="184" y="126"/>
                      </a:lnTo>
                      <a:lnTo>
                        <a:pt x="200" y="122"/>
                      </a:lnTo>
                      <a:lnTo>
                        <a:pt x="215" y="118"/>
                      </a:lnTo>
                      <a:lnTo>
                        <a:pt x="228" y="115"/>
                      </a:lnTo>
                      <a:lnTo>
                        <a:pt x="241" y="113"/>
                      </a:lnTo>
                      <a:lnTo>
                        <a:pt x="253" y="109"/>
                      </a:lnTo>
                      <a:lnTo>
                        <a:pt x="264" y="105"/>
                      </a:lnTo>
                      <a:lnTo>
                        <a:pt x="272" y="99"/>
                      </a:lnTo>
                      <a:lnTo>
                        <a:pt x="281" y="95"/>
                      </a:lnTo>
                      <a:lnTo>
                        <a:pt x="287" y="90"/>
                      </a:lnTo>
                      <a:lnTo>
                        <a:pt x="293" y="84"/>
                      </a:lnTo>
                      <a:lnTo>
                        <a:pt x="297" y="80"/>
                      </a:lnTo>
                      <a:lnTo>
                        <a:pt x="302" y="75"/>
                      </a:lnTo>
                      <a:lnTo>
                        <a:pt x="302" y="69"/>
                      </a:lnTo>
                      <a:lnTo>
                        <a:pt x="304" y="63"/>
                      </a:lnTo>
                      <a:lnTo>
                        <a:pt x="304" y="56"/>
                      </a:lnTo>
                      <a:lnTo>
                        <a:pt x="304" y="52"/>
                      </a:lnTo>
                      <a:lnTo>
                        <a:pt x="302" y="44"/>
                      </a:lnTo>
                      <a:lnTo>
                        <a:pt x="300" y="38"/>
                      </a:lnTo>
                      <a:lnTo>
                        <a:pt x="297" y="33"/>
                      </a:lnTo>
                      <a:lnTo>
                        <a:pt x="295" y="29"/>
                      </a:lnTo>
                      <a:lnTo>
                        <a:pt x="291" y="25"/>
                      </a:lnTo>
                      <a:lnTo>
                        <a:pt x="289" y="19"/>
                      </a:lnTo>
                      <a:lnTo>
                        <a:pt x="285" y="16"/>
                      </a:lnTo>
                      <a:lnTo>
                        <a:pt x="283" y="14"/>
                      </a:lnTo>
                      <a:lnTo>
                        <a:pt x="278" y="6"/>
                      </a:lnTo>
                      <a:lnTo>
                        <a:pt x="272" y="2"/>
                      </a:lnTo>
                      <a:lnTo>
                        <a:pt x="268" y="0"/>
                      </a:lnTo>
                      <a:close/>
                    </a:path>
                  </a:pathLst>
                </a:custGeom>
                <a:solidFill>
                  <a:srgbClr val="333333"/>
                </a:solidFill>
                <a:ln w="9525">
                  <a:noFill/>
                  <a:round/>
                  <a:headEnd/>
                  <a:tailEnd/>
                </a:ln>
              </p:spPr>
              <p:txBody>
                <a:bodyPr/>
                <a:lstStyle/>
                <a:p>
                  <a:pPr algn="l" eaLnBrk="1" hangingPunct="1"/>
                  <a:endParaRPr lang="en-US"/>
                </a:p>
              </p:txBody>
            </p:sp>
            <p:sp>
              <p:nvSpPr>
                <p:cNvPr id="1349" name="Freeform 765"/>
                <p:cNvSpPr>
                  <a:spLocks noChangeAspect="1"/>
                </p:cNvSpPr>
                <p:nvPr/>
              </p:nvSpPr>
              <p:spPr bwMode="auto">
                <a:xfrm>
                  <a:off x="3244" y="1982"/>
                  <a:ext cx="198" cy="62"/>
                </a:xfrm>
                <a:custGeom>
                  <a:avLst/>
                  <a:gdLst>
                    <a:gd name="T0" fmla="*/ 236 w 397"/>
                    <a:gd name="T1" fmla="*/ 6 h 126"/>
                    <a:gd name="T2" fmla="*/ 223 w 397"/>
                    <a:gd name="T3" fmla="*/ 6 h 126"/>
                    <a:gd name="T4" fmla="*/ 200 w 397"/>
                    <a:gd name="T5" fmla="*/ 6 h 126"/>
                    <a:gd name="T6" fmla="*/ 171 w 397"/>
                    <a:gd name="T7" fmla="*/ 10 h 126"/>
                    <a:gd name="T8" fmla="*/ 139 w 397"/>
                    <a:gd name="T9" fmla="*/ 13 h 126"/>
                    <a:gd name="T10" fmla="*/ 107 w 397"/>
                    <a:gd name="T11" fmla="*/ 19 h 126"/>
                    <a:gd name="T12" fmla="*/ 78 w 397"/>
                    <a:gd name="T13" fmla="*/ 27 h 126"/>
                    <a:gd name="T14" fmla="*/ 55 w 397"/>
                    <a:gd name="T15" fmla="*/ 38 h 126"/>
                    <a:gd name="T16" fmla="*/ 42 w 397"/>
                    <a:gd name="T17" fmla="*/ 50 h 126"/>
                    <a:gd name="T18" fmla="*/ 42 w 397"/>
                    <a:gd name="T19" fmla="*/ 63 h 126"/>
                    <a:gd name="T20" fmla="*/ 55 w 397"/>
                    <a:gd name="T21" fmla="*/ 74 h 126"/>
                    <a:gd name="T22" fmla="*/ 76 w 397"/>
                    <a:gd name="T23" fmla="*/ 84 h 126"/>
                    <a:gd name="T24" fmla="*/ 107 w 397"/>
                    <a:gd name="T25" fmla="*/ 91 h 126"/>
                    <a:gd name="T26" fmla="*/ 139 w 397"/>
                    <a:gd name="T27" fmla="*/ 99 h 126"/>
                    <a:gd name="T28" fmla="*/ 175 w 397"/>
                    <a:gd name="T29" fmla="*/ 103 h 126"/>
                    <a:gd name="T30" fmla="*/ 211 w 397"/>
                    <a:gd name="T31" fmla="*/ 105 h 126"/>
                    <a:gd name="T32" fmla="*/ 245 w 397"/>
                    <a:gd name="T33" fmla="*/ 103 h 126"/>
                    <a:gd name="T34" fmla="*/ 274 w 397"/>
                    <a:gd name="T35" fmla="*/ 101 h 126"/>
                    <a:gd name="T36" fmla="*/ 299 w 397"/>
                    <a:gd name="T37" fmla="*/ 97 h 126"/>
                    <a:gd name="T38" fmla="*/ 318 w 397"/>
                    <a:gd name="T39" fmla="*/ 91 h 126"/>
                    <a:gd name="T40" fmla="*/ 333 w 397"/>
                    <a:gd name="T41" fmla="*/ 86 h 126"/>
                    <a:gd name="T42" fmla="*/ 346 w 397"/>
                    <a:gd name="T43" fmla="*/ 80 h 126"/>
                    <a:gd name="T44" fmla="*/ 358 w 397"/>
                    <a:gd name="T45" fmla="*/ 70 h 126"/>
                    <a:gd name="T46" fmla="*/ 361 w 397"/>
                    <a:gd name="T47" fmla="*/ 55 h 126"/>
                    <a:gd name="T48" fmla="*/ 352 w 397"/>
                    <a:gd name="T49" fmla="*/ 44 h 126"/>
                    <a:gd name="T50" fmla="*/ 342 w 397"/>
                    <a:gd name="T51" fmla="*/ 36 h 126"/>
                    <a:gd name="T52" fmla="*/ 333 w 397"/>
                    <a:gd name="T53" fmla="*/ 29 h 126"/>
                    <a:gd name="T54" fmla="*/ 323 w 397"/>
                    <a:gd name="T55" fmla="*/ 23 h 126"/>
                    <a:gd name="T56" fmla="*/ 312 w 397"/>
                    <a:gd name="T57" fmla="*/ 19 h 126"/>
                    <a:gd name="T58" fmla="*/ 310 w 397"/>
                    <a:gd name="T59" fmla="*/ 17 h 126"/>
                    <a:gd name="T60" fmla="*/ 318 w 397"/>
                    <a:gd name="T61" fmla="*/ 17 h 126"/>
                    <a:gd name="T62" fmla="*/ 329 w 397"/>
                    <a:gd name="T63" fmla="*/ 19 h 126"/>
                    <a:gd name="T64" fmla="*/ 344 w 397"/>
                    <a:gd name="T65" fmla="*/ 23 h 126"/>
                    <a:gd name="T66" fmla="*/ 361 w 397"/>
                    <a:gd name="T67" fmla="*/ 29 h 126"/>
                    <a:gd name="T68" fmla="*/ 377 w 397"/>
                    <a:gd name="T69" fmla="*/ 36 h 126"/>
                    <a:gd name="T70" fmla="*/ 388 w 397"/>
                    <a:gd name="T71" fmla="*/ 46 h 126"/>
                    <a:gd name="T72" fmla="*/ 396 w 397"/>
                    <a:gd name="T73" fmla="*/ 61 h 126"/>
                    <a:gd name="T74" fmla="*/ 396 w 397"/>
                    <a:gd name="T75" fmla="*/ 78 h 126"/>
                    <a:gd name="T76" fmla="*/ 386 w 397"/>
                    <a:gd name="T77" fmla="*/ 93 h 126"/>
                    <a:gd name="T78" fmla="*/ 369 w 397"/>
                    <a:gd name="T79" fmla="*/ 105 h 126"/>
                    <a:gd name="T80" fmla="*/ 346 w 397"/>
                    <a:gd name="T81" fmla="*/ 114 h 126"/>
                    <a:gd name="T82" fmla="*/ 316 w 397"/>
                    <a:gd name="T83" fmla="*/ 122 h 126"/>
                    <a:gd name="T84" fmla="*/ 280 w 397"/>
                    <a:gd name="T85" fmla="*/ 124 h 126"/>
                    <a:gd name="T86" fmla="*/ 236 w 397"/>
                    <a:gd name="T87" fmla="*/ 126 h 126"/>
                    <a:gd name="T88" fmla="*/ 188 w 397"/>
                    <a:gd name="T89" fmla="*/ 124 h 126"/>
                    <a:gd name="T90" fmla="*/ 135 w 397"/>
                    <a:gd name="T91" fmla="*/ 120 h 126"/>
                    <a:gd name="T92" fmla="*/ 90 w 397"/>
                    <a:gd name="T93" fmla="*/ 112 h 126"/>
                    <a:gd name="T94" fmla="*/ 52 w 397"/>
                    <a:gd name="T95" fmla="*/ 103 h 126"/>
                    <a:gd name="T96" fmla="*/ 25 w 397"/>
                    <a:gd name="T97" fmla="*/ 93 h 126"/>
                    <a:gd name="T98" fmla="*/ 8 w 397"/>
                    <a:gd name="T99" fmla="*/ 82 h 126"/>
                    <a:gd name="T100" fmla="*/ 0 w 397"/>
                    <a:gd name="T101" fmla="*/ 67 h 126"/>
                    <a:gd name="T102" fmla="*/ 2 w 397"/>
                    <a:gd name="T103" fmla="*/ 53 h 126"/>
                    <a:gd name="T104" fmla="*/ 12 w 397"/>
                    <a:gd name="T105" fmla="*/ 36 h 126"/>
                    <a:gd name="T106" fmla="*/ 33 w 397"/>
                    <a:gd name="T107" fmla="*/ 19 h 126"/>
                    <a:gd name="T108" fmla="*/ 59 w 397"/>
                    <a:gd name="T109" fmla="*/ 10 h 126"/>
                    <a:gd name="T110" fmla="*/ 93 w 397"/>
                    <a:gd name="T111" fmla="*/ 2 h 126"/>
                    <a:gd name="T112" fmla="*/ 129 w 397"/>
                    <a:gd name="T113" fmla="*/ 0 h 126"/>
                    <a:gd name="T114" fmla="*/ 166 w 397"/>
                    <a:gd name="T115" fmla="*/ 0 h 126"/>
                    <a:gd name="T116" fmla="*/ 198 w 397"/>
                    <a:gd name="T117" fmla="*/ 2 h 126"/>
                    <a:gd name="T118" fmla="*/ 221 w 397"/>
                    <a:gd name="T119" fmla="*/ 4 h 126"/>
                    <a:gd name="T120" fmla="*/ 236 w 397"/>
                    <a:gd name="T121" fmla="*/ 6 h 126"/>
                    <a:gd name="T122" fmla="*/ 238 w 397"/>
                    <a:gd name="T123" fmla="*/ 6 h 1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7"/>
                    <a:gd name="T187" fmla="*/ 0 h 126"/>
                    <a:gd name="T188" fmla="*/ 397 w 397"/>
                    <a:gd name="T189" fmla="*/ 126 h 1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7" h="126">
                      <a:moveTo>
                        <a:pt x="238" y="6"/>
                      </a:moveTo>
                      <a:lnTo>
                        <a:pt x="236" y="6"/>
                      </a:lnTo>
                      <a:lnTo>
                        <a:pt x="230" y="6"/>
                      </a:lnTo>
                      <a:lnTo>
                        <a:pt x="223" y="6"/>
                      </a:lnTo>
                      <a:lnTo>
                        <a:pt x="213" y="6"/>
                      </a:lnTo>
                      <a:lnTo>
                        <a:pt x="200" y="6"/>
                      </a:lnTo>
                      <a:lnTo>
                        <a:pt x="187" y="8"/>
                      </a:lnTo>
                      <a:lnTo>
                        <a:pt x="171" y="10"/>
                      </a:lnTo>
                      <a:lnTo>
                        <a:pt x="156" y="11"/>
                      </a:lnTo>
                      <a:lnTo>
                        <a:pt x="139" y="13"/>
                      </a:lnTo>
                      <a:lnTo>
                        <a:pt x="122" y="15"/>
                      </a:lnTo>
                      <a:lnTo>
                        <a:pt x="107" y="19"/>
                      </a:lnTo>
                      <a:lnTo>
                        <a:pt x="91" y="23"/>
                      </a:lnTo>
                      <a:lnTo>
                        <a:pt x="78" y="27"/>
                      </a:lnTo>
                      <a:lnTo>
                        <a:pt x="65" y="32"/>
                      </a:lnTo>
                      <a:lnTo>
                        <a:pt x="55" y="38"/>
                      </a:lnTo>
                      <a:lnTo>
                        <a:pt x="48" y="44"/>
                      </a:lnTo>
                      <a:lnTo>
                        <a:pt x="42" y="50"/>
                      </a:lnTo>
                      <a:lnTo>
                        <a:pt x="42" y="55"/>
                      </a:lnTo>
                      <a:lnTo>
                        <a:pt x="42" y="63"/>
                      </a:lnTo>
                      <a:lnTo>
                        <a:pt x="50" y="69"/>
                      </a:lnTo>
                      <a:lnTo>
                        <a:pt x="55" y="74"/>
                      </a:lnTo>
                      <a:lnTo>
                        <a:pt x="65" y="78"/>
                      </a:lnTo>
                      <a:lnTo>
                        <a:pt x="76" y="84"/>
                      </a:lnTo>
                      <a:lnTo>
                        <a:pt x="91" y="89"/>
                      </a:lnTo>
                      <a:lnTo>
                        <a:pt x="107" y="91"/>
                      </a:lnTo>
                      <a:lnTo>
                        <a:pt x="122" y="95"/>
                      </a:lnTo>
                      <a:lnTo>
                        <a:pt x="139" y="99"/>
                      </a:lnTo>
                      <a:lnTo>
                        <a:pt x="158" y="101"/>
                      </a:lnTo>
                      <a:lnTo>
                        <a:pt x="175" y="103"/>
                      </a:lnTo>
                      <a:lnTo>
                        <a:pt x="194" y="105"/>
                      </a:lnTo>
                      <a:lnTo>
                        <a:pt x="211" y="105"/>
                      </a:lnTo>
                      <a:lnTo>
                        <a:pt x="230" y="105"/>
                      </a:lnTo>
                      <a:lnTo>
                        <a:pt x="245" y="103"/>
                      </a:lnTo>
                      <a:lnTo>
                        <a:pt x="261" y="103"/>
                      </a:lnTo>
                      <a:lnTo>
                        <a:pt x="274" y="101"/>
                      </a:lnTo>
                      <a:lnTo>
                        <a:pt x="287" y="99"/>
                      </a:lnTo>
                      <a:lnTo>
                        <a:pt x="299" y="97"/>
                      </a:lnTo>
                      <a:lnTo>
                        <a:pt x="310" y="93"/>
                      </a:lnTo>
                      <a:lnTo>
                        <a:pt x="318" y="91"/>
                      </a:lnTo>
                      <a:lnTo>
                        <a:pt x="327" y="89"/>
                      </a:lnTo>
                      <a:lnTo>
                        <a:pt x="333" y="86"/>
                      </a:lnTo>
                      <a:lnTo>
                        <a:pt x="340" y="84"/>
                      </a:lnTo>
                      <a:lnTo>
                        <a:pt x="346" y="80"/>
                      </a:lnTo>
                      <a:lnTo>
                        <a:pt x="350" y="78"/>
                      </a:lnTo>
                      <a:lnTo>
                        <a:pt x="358" y="70"/>
                      </a:lnTo>
                      <a:lnTo>
                        <a:pt x="361" y="63"/>
                      </a:lnTo>
                      <a:lnTo>
                        <a:pt x="361" y="55"/>
                      </a:lnTo>
                      <a:lnTo>
                        <a:pt x="358" y="48"/>
                      </a:lnTo>
                      <a:lnTo>
                        <a:pt x="352" y="44"/>
                      </a:lnTo>
                      <a:lnTo>
                        <a:pt x="348" y="40"/>
                      </a:lnTo>
                      <a:lnTo>
                        <a:pt x="342" y="36"/>
                      </a:lnTo>
                      <a:lnTo>
                        <a:pt x="339" y="32"/>
                      </a:lnTo>
                      <a:lnTo>
                        <a:pt x="333" y="29"/>
                      </a:lnTo>
                      <a:lnTo>
                        <a:pt x="327" y="27"/>
                      </a:lnTo>
                      <a:lnTo>
                        <a:pt x="323" y="23"/>
                      </a:lnTo>
                      <a:lnTo>
                        <a:pt x="318" y="21"/>
                      </a:lnTo>
                      <a:lnTo>
                        <a:pt x="312" y="19"/>
                      </a:lnTo>
                      <a:lnTo>
                        <a:pt x="310" y="17"/>
                      </a:lnTo>
                      <a:lnTo>
                        <a:pt x="314" y="17"/>
                      </a:lnTo>
                      <a:lnTo>
                        <a:pt x="318" y="17"/>
                      </a:lnTo>
                      <a:lnTo>
                        <a:pt x="323" y="19"/>
                      </a:lnTo>
                      <a:lnTo>
                        <a:pt x="329" y="19"/>
                      </a:lnTo>
                      <a:lnTo>
                        <a:pt x="337" y="21"/>
                      </a:lnTo>
                      <a:lnTo>
                        <a:pt x="344" y="23"/>
                      </a:lnTo>
                      <a:lnTo>
                        <a:pt x="354" y="25"/>
                      </a:lnTo>
                      <a:lnTo>
                        <a:pt x="361" y="29"/>
                      </a:lnTo>
                      <a:lnTo>
                        <a:pt x="369" y="32"/>
                      </a:lnTo>
                      <a:lnTo>
                        <a:pt x="377" y="36"/>
                      </a:lnTo>
                      <a:lnTo>
                        <a:pt x="384" y="40"/>
                      </a:lnTo>
                      <a:lnTo>
                        <a:pt x="388" y="46"/>
                      </a:lnTo>
                      <a:lnTo>
                        <a:pt x="394" y="53"/>
                      </a:lnTo>
                      <a:lnTo>
                        <a:pt x="396" y="61"/>
                      </a:lnTo>
                      <a:lnTo>
                        <a:pt x="397" y="70"/>
                      </a:lnTo>
                      <a:lnTo>
                        <a:pt x="396" y="78"/>
                      </a:lnTo>
                      <a:lnTo>
                        <a:pt x="392" y="86"/>
                      </a:lnTo>
                      <a:lnTo>
                        <a:pt x="386" y="93"/>
                      </a:lnTo>
                      <a:lnTo>
                        <a:pt x="378" y="99"/>
                      </a:lnTo>
                      <a:lnTo>
                        <a:pt x="369" y="105"/>
                      </a:lnTo>
                      <a:lnTo>
                        <a:pt x="359" y="110"/>
                      </a:lnTo>
                      <a:lnTo>
                        <a:pt x="346" y="114"/>
                      </a:lnTo>
                      <a:lnTo>
                        <a:pt x="333" y="120"/>
                      </a:lnTo>
                      <a:lnTo>
                        <a:pt x="316" y="122"/>
                      </a:lnTo>
                      <a:lnTo>
                        <a:pt x="299" y="124"/>
                      </a:lnTo>
                      <a:lnTo>
                        <a:pt x="280" y="124"/>
                      </a:lnTo>
                      <a:lnTo>
                        <a:pt x="259" y="126"/>
                      </a:lnTo>
                      <a:lnTo>
                        <a:pt x="236" y="126"/>
                      </a:lnTo>
                      <a:lnTo>
                        <a:pt x="213" y="126"/>
                      </a:lnTo>
                      <a:lnTo>
                        <a:pt x="188" y="124"/>
                      </a:lnTo>
                      <a:lnTo>
                        <a:pt x="162" y="122"/>
                      </a:lnTo>
                      <a:lnTo>
                        <a:pt x="135" y="120"/>
                      </a:lnTo>
                      <a:lnTo>
                        <a:pt x="110" y="116"/>
                      </a:lnTo>
                      <a:lnTo>
                        <a:pt x="90" y="112"/>
                      </a:lnTo>
                      <a:lnTo>
                        <a:pt x="69" y="108"/>
                      </a:lnTo>
                      <a:lnTo>
                        <a:pt x="52" y="103"/>
                      </a:lnTo>
                      <a:lnTo>
                        <a:pt x="38" y="99"/>
                      </a:lnTo>
                      <a:lnTo>
                        <a:pt x="25" y="93"/>
                      </a:lnTo>
                      <a:lnTo>
                        <a:pt x="15" y="88"/>
                      </a:lnTo>
                      <a:lnTo>
                        <a:pt x="8" y="82"/>
                      </a:lnTo>
                      <a:lnTo>
                        <a:pt x="2" y="74"/>
                      </a:lnTo>
                      <a:lnTo>
                        <a:pt x="0" y="67"/>
                      </a:lnTo>
                      <a:lnTo>
                        <a:pt x="0" y="61"/>
                      </a:lnTo>
                      <a:lnTo>
                        <a:pt x="2" y="53"/>
                      </a:lnTo>
                      <a:lnTo>
                        <a:pt x="6" y="44"/>
                      </a:lnTo>
                      <a:lnTo>
                        <a:pt x="12" y="36"/>
                      </a:lnTo>
                      <a:lnTo>
                        <a:pt x="21" y="29"/>
                      </a:lnTo>
                      <a:lnTo>
                        <a:pt x="33" y="19"/>
                      </a:lnTo>
                      <a:lnTo>
                        <a:pt x="46" y="13"/>
                      </a:lnTo>
                      <a:lnTo>
                        <a:pt x="59" y="10"/>
                      </a:lnTo>
                      <a:lnTo>
                        <a:pt x="76" y="6"/>
                      </a:lnTo>
                      <a:lnTo>
                        <a:pt x="93" y="2"/>
                      </a:lnTo>
                      <a:lnTo>
                        <a:pt x="110" y="0"/>
                      </a:lnTo>
                      <a:lnTo>
                        <a:pt x="129" y="0"/>
                      </a:lnTo>
                      <a:lnTo>
                        <a:pt x="148" y="0"/>
                      </a:lnTo>
                      <a:lnTo>
                        <a:pt x="166" y="0"/>
                      </a:lnTo>
                      <a:lnTo>
                        <a:pt x="183" y="0"/>
                      </a:lnTo>
                      <a:lnTo>
                        <a:pt x="198" y="2"/>
                      </a:lnTo>
                      <a:lnTo>
                        <a:pt x="211" y="2"/>
                      </a:lnTo>
                      <a:lnTo>
                        <a:pt x="221" y="4"/>
                      </a:lnTo>
                      <a:lnTo>
                        <a:pt x="230" y="4"/>
                      </a:lnTo>
                      <a:lnTo>
                        <a:pt x="236" y="6"/>
                      </a:lnTo>
                      <a:lnTo>
                        <a:pt x="238" y="6"/>
                      </a:lnTo>
                      <a:close/>
                    </a:path>
                  </a:pathLst>
                </a:custGeom>
                <a:solidFill>
                  <a:srgbClr val="000000"/>
                </a:solidFill>
                <a:ln w="9525">
                  <a:noFill/>
                  <a:round/>
                  <a:headEnd/>
                  <a:tailEnd/>
                </a:ln>
              </p:spPr>
              <p:txBody>
                <a:bodyPr/>
                <a:lstStyle/>
                <a:p>
                  <a:pPr algn="l" eaLnBrk="1" hangingPunct="1"/>
                  <a:endParaRPr lang="en-US"/>
                </a:p>
              </p:txBody>
            </p:sp>
            <p:sp>
              <p:nvSpPr>
                <p:cNvPr id="1350" name="Freeform 766"/>
                <p:cNvSpPr>
                  <a:spLocks noChangeAspect="1"/>
                </p:cNvSpPr>
                <p:nvPr/>
              </p:nvSpPr>
              <p:spPr bwMode="auto">
                <a:xfrm>
                  <a:off x="3233" y="2006"/>
                  <a:ext cx="83" cy="61"/>
                </a:xfrm>
                <a:custGeom>
                  <a:avLst/>
                  <a:gdLst>
                    <a:gd name="T0" fmla="*/ 38 w 166"/>
                    <a:gd name="T1" fmla="*/ 9 h 121"/>
                    <a:gd name="T2" fmla="*/ 38 w 166"/>
                    <a:gd name="T3" fmla="*/ 9 h 121"/>
                    <a:gd name="T4" fmla="*/ 35 w 166"/>
                    <a:gd name="T5" fmla="*/ 11 h 121"/>
                    <a:gd name="T6" fmla="*/ 33 w 166"/>
                    <a:gd name="T7" fmla="*/ 15 h 121"/>
                    <a:gd name="T8" fmla="*/ 29 w 166"/>
                    <a:gd name="T9" fmla="*/ 20 h 121"/>
                    <a:gd name="T10" fmla="*/ 27 w 166"/>
                    <a:gd name="T11" fmla="*/ 22 h 121"/>
                    <a:gd name="T12" fmla="*/ 27 w 166"/>
                    <a:gd name="T13" fmla="*/ 28 h 121"/>
                    <a:gd name="T14" fmla="*/ 25 w 166"/>
                    <a:gd name="T15" fmla="*/ 32 h 121"/>
                    <a:gd name="T16" fmla="*/ 25 w 166"/>
                    <a:gd name="T17" fmla="*/ 38 h 121"/>
                    <a:gd name="T18" fmla="*/ 25 w 166"/>
                    <a:gd name="T19" fmla="*/ 43 h 121"/>
                    <a:gd name="T20" fmla="*/ 27 w 166"/>
                    <a:gd name="T21" fmla="*/ 49 h 121"/>
                    <a:gd name="T22" fmla="*/ 29 w 166"/>
                    <a:gd name="T23" fmla="*/ 57 h 121"/>
                    <a:gd name="T24" fmla="*/ 31 w 166"/>
                    <a:gd name="T25" fmla="*/ 66 h 121"/>
                    <a:gd name="T26" fmla="*/ 35 w 166"/>
                    <a:gd name="T27" fmla="*/ 74 h 121"/>
                    <a:gd name="T28" fmla="*/ 40 w 166"/>
                    <a:gd name="T29" fmla="*/ 79 h 121"/>
                    <a:gd name="T30" fmla="*/ 48 w 166"/>
                    <a:gd name="T31" fmla="*/ 85 h 121"/>
                    <a:gd name="T32" fmla="*/ 57 w 166"/>
                    <a:gd name="T33" fmla="*/ 91 h 121"/>
                    <a:gd name="T34" fmla="*/ 67 w 166"/>
                    <a:gd name="T35" fmla="*/ 95 h 121"/>
                    <a:gd name="T36" fmla="*/ 78 w 166"/>
                    <a:gd name="T37" fmla="*/ 98 h 121"/>
                    <a:gd name="T38" fmla="*/ 90 w 166"/>
                    <a:gd name="T39" fmla="*/ 100 h 121"/>
                    <a:gd name="T40" fmla="*/ 103 w 166"/>
                    <a:gd name="T41" fmla="*/ 104 h 121"/>
                    <a:gd name="T42" fmla="*/ 114 w 166"/>
                    <a:gd name="T43" fmla="*/ 104 h 121"/>
                    <a:gd name="T44" fmla="*/ 126 w 166"/>
                    <a:gd name="T45" fmla="*/ 106 h 121"/>
                    <a:gd name="T46" fmla="*/ 135 w 166"/>
                    <a:gd name="T47" fmla="*/ 106 h 121"/>
                    <a:gd name="T48" fmla="*/ 145 w 166"/>
                    <a:gd name="T49" fmla="*/ 106 h 121"/>
                    <a:gd name="T50" fmla="*/ 152 w 166"/>
                    <a:gd name="T51" fmla="*/ 106 h 121"/>
                    <a:gd name="T52" fmla="*/ 160 w 166"/>
                    <a:gd name="T53" fmla="*/ 106 h 121"/>
                    <a:gd name="T54" fmla="*/ 164 w 166"/>
                    <a:gd name="T55" fmla="*/ 106 h 121"/>
                    <a:gd name="T56" fmla="*/ 166 w 166"/>
                    <a:gd name="T57" fmla="*/ 108 h 121"/>
                    <a:gd name="T58" fmla="*/ 164 w 166"/>
                    <a:gd name="T59" fmla="*/ 108 h 121"/>
                    <a:gd name="T60" fmla="*/ 160 w 166"/>
                    <a:gd name="T61" fmla="*/ 110 h 121"/>
                    <a:gd name="T62" fmla="*/ 154 w 166"/>
                    <a:gd name="T63" fmla="*/ 110 h 121"/>
                    <a:gd name="T64" fmla="*/ 147 w 166"/>
                    <a:gd name="T65" fmla="*/ 114 h 121"/>
                    <a:gd name="T66" fmla="*/ 137 w 166"/>
                    <a:gd name="T67" fmla="*/ 114 h 121"/>
                    <a:gd name="T68" fmla="*/ 128 w 166"/>
                    <a:gd name="T69" fmla="*/ 116 h 121"/>
                    <a:gd name="T70" fmla="*/ 116 w 166"/>
                    <a:gd name="T71" fmla="*/ 117 h 121"/>
                    <a:gd name="T72" fmla="*/ 105 w 166"/>
                    <a:gd name="T73" fmla="*/ 119 h 121"/>
                    <a:gd name="T74" fmla="*/ 92 w 166"/>
                    <a:gd name="T75" fmla="*/ 119 h 121"/>
                    <a:gd name="T76" fmla="*/ 78 w 166"/>
                    <a:gd name="T77" fmla="*/ 121 h 121"/>
                    <a:gd name="T78" fmla="*/ 67 w 166"/>
                    <a:gd name="T79" fmla="*/ 119 h 121"/>
                    <a:gd name="T80" fmla="*/ 55 w 166"/>
                    <a:gd name="T81" fmla="*/ 117 h 121"/>
                    <a:gd name="T82" fmla="*/ 42 w 166"/>
                    <a:gd name="T83" fmla="*/ 114 h 121"/>
                    <a:gd name="T84" fmla="*/ 33 w 166"/>
                    <a:gd name="T85" fmla="*/ 108 h 121"/>
                    <a:gd name="T86" fmla="*/ 23 w 166"/>
                    <a:gd name="T87" fmla="*/ 100 h 121"/>
                    <a:gd name="T88" fmla="*/ 17 w 166"/>
                    <a:gd name="T89" fmla="*/ 91 h 121"/>
                    <a:gd name="T90" fmla="*/ 10 w 166"/>
                    <a:gd name="T91" fmla="*/ 81 h 121"/>
                    <a:gd name="T92" fmla="*/ 4 w 166"/>
                    <a:gd name="T93" fmla="*/ 70 h 121"/>
                    <a:gd name="T94" fmla="*/ 2 w 166"/>
                    <a:gd name="T95" fmla="*/ 60 h 121"/>
                    <a:gd name="T96" fmla="*/ 2 w 166"/>
                    <a:gd name="T97" fmla="*/ 53 h 121"/>
                    <a:gd name="T98" fmla="*/ 0 w 166"/>
                    <a:gd name="T99" fmla="*/ 43 h 121"/>
                    <a:gd name="T100" fmla="*/ 2 w 166"/>
                    <a:gd name="T101" fmla="*/ 38 h 121"/>
                    <a:gd name="T102" fmla="*/ 4 w 166"/>
                    <a:gd name="T103" fmla="*/ 30 h 121"/>
                    <a:gd name="T104" fmla="*/ 6 w 166"/>
                    <a:gd name="T105" fmla="*/ 24 h 121"/>
                    <a:gd name="T106" fmla="*/ 8 w 166"/>
                    <a:gd name="T107" fmla="*/ 17 h 121"/>
                    <a:gd name="T108" fmla="*/ 12 w 166"/>
                    <a:gd name="T109" fmla="*/ 13 h 121"/>
                    <a:gd name="T110" fmla="*/ 16 w 166"/>
                    <a:gd name="T111" fmla="*/ 9 h 121"/>
                    <a:gd name="T112" fmla="*/ 19 w 166"/>
                    <a:gd name="T113" fmla="*/ 5 h 121"/>
                    <a:gd name="T114" fmla="*/ 23 w 166"/>
                    <a:gd name="T115" fmla="*/ 1 h 121"/>
                    <a:gd name="T116" fmla="*/ 25 w 166"/>
                    <a:gd name="T117" fmla="*/ 0 h 121"/>
                    <a:gd name="T118" fmla="*/ 38 w 166"/>
                    <a:gd name="T119" fmla="*/ 9 h 121"/>
                    <a:gd name="T120" fmla="*/ 38 w 166"/>
                    <a:gd name="T121" fmla="*/ 9 h 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21"/>
                    <a:gd name="T185" fmla="*/ 166 w 166"/>
                    <a:gd name="T186" fmla="*/ 121 h 1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21">
                      <a:moveTo>
                        <a:pt x="38" y="9"/>
                      </a:moveTo>
                      <a:lnTo>
                        <a:pt x="38" y="9"/>
                      </a:lnTo>
                      <a:lnTo>
                        <a:pt x="35" y="11"/>
                      </a:lnTo>
                      <a:lnTo>
                        <a:pt x="33" y="15"/>
                      </a:lnTo>
                      <a:lnTo>
                        <a:pt x="29" y="20"/>
                      </a:lnTo>
                      <a:lnTo>
                        <a:pt x="27" y="22"/>
                      </a:lnTo>
                      <a:lnTo>
                        <a:pt x="27" y="28"/>
                      </a:lnTo>
                      <a:lnTo>
                        <a:pt x="25" y="32"/>
                      </a:lnTo>
                      <a:lnTo>
                        <a:pt x="25" y="38"/>
                      </a:lnTo>
                      <a:lnTo>
                        <a:pt x="25" y="43"/>
                      </a:lnTo>
                      <a:lnTo>
                        <a:pt x="27" y="49"/>
                      </a:lnTo>
                      <a:lnTo>
                        <a:pt x="29" y="57"/>
                      </a:lnTo>
                      <a:lnTo>
                        <a:pt x="31" y="66"/>
                      </a:lnTo>
                      <a:lnTo>
                        <a:pt x="35" y="74"/>
                      </a:lnTo>
                      <a:lnTo>
                        <a:pt x="40" y="79"/>
                      </a:lnTo>
                      <a:lnTo>
                        <a:pt x="48" y="85"/>
                      </a:lnTo>
                      <a:lnTo>
                        <a:pt x="57" y="91"/>
                      </a:lnTo>
                      <a:lnTo>
                        <a:pt x="67" y="95"/>
                      </a:lnTo>
                      <a:lnTo>
                        <a:pt x="78" y="98"/>
                      </a:lnTo>
                      <a:lnTo>
                        <a:pt x="90" y="100"/>
                      </a:lnTo>
                      <a:lnTo>
                        <a:pt x="103" y="104"/>
                      </a:lnTo>
                      <a:lnTo>
                        <a:pt x="114" y="104"/>
                      </a:lnTo>
                      <a:lnTo>
                        <a:pt x="126" y="106"/>
                      </a:lnTo>
                      <a:lnTo>
                        <a:pt x="135" y="106"/>
                      </a:lnTo>
                      <a:lnTo>
                        <a:pt x="145" y="106"/>
                      </a:lnTo>
                      <a:lnTo>
                        <a:pt x="152" y="106"/>
                      </a:lnTo>
                      <a:lnTo>
                        <a:pt x="160" y="106"/>
                      </a:lnTo>
                      <a:lnTo>
                        <a:pt x="164" y="106"/>
                      </a:lnTo>
                      <a:lnTo>
                        <a:pt x="166" y="108"/>
                      </a:lnTo>
                      <a:lnTo>
                        <a:pt x="164" y="108"/>
                      </a:lnTo>
                      <a:lnTo>
                        <a:pt x="160" y="110"/>
                      </a:lnTo>
                      <a:lnTo>
                        <a:pt x="154" y="110"/>
                      </a:lnTo>
                      <a:lnTo>
                        <a:pt x="147" y="114"/>
                      </a:lnTo>
                      <a:lnTo>
                        <a:pt x="137" y="114"/>
                      </a:lnTo>
                      <a:lnTo>
                        <a:pt x="128" y="116"/>
                      </a:lnTo>
                      <a:lnTo>
                        <a:pt x="116" y="117"/>
                      </a:lnTo>
                      <a:lnTo>
                        <a:pt x="105" y="119"/>
                      </a:lnTo>
                      <a:lnTo>
                        <a:pt x="92" y="119"/>
                      </a:lnTo>
                      <a:lnTo>
                        <a:pt x="78" y="121"/>
                      </a:lnTo>
                      <a:lnTo>
                        <a:pt x="67" y="119"/>
                      </a:lnTo>
                      <a:lnTo>
                        <a:pt x="55" y="117"/>
                      </a:lnTo>
                      <a:lnTo>
                        <a:pt x="42" y="114"/>
                      </a:lnTo>
                      <a:lnTo>
                        <a:pt x="33" y="108"/>
                      </a:lnTo>
                      <a:lnTo>
                        <a:pt x="23" y="100"/>
                      </a:lnTo>
                      <a:lnTo>
                        <a:pt x="17" y="91"/>
                      </a:lnTo>
                      <a:lnTo>
                        <a:pt x="10" y="81"/>
                      </a:lnTo>
                      <a:lnTo>
                        <a:pt x="4" y="70"/>
                      </a:lnTo>
                      <a:lnTo>
                        <a:pt x="2" y="60"/>
                      </a:lnTo>
                      <a:lnTo>
                        <a:pt x="2" y="53"/>
                      </a:lnTo>
                      <a:lnTo>
                        <a:pt x="0" y="43"/>
                      </a:lnTo>
                      <a:lnTo>
                        <a:pt x="2" y="38"/>
                      </a:lnTo>
                      <a:lnTo>
                        <a:pt x="4" y="30"/>
                      </a:lnTo>
                      <a:lnTo>
                        <a:pt x="6" y="24"/>
                      </a:lnTo>
                      <a:lnTo>
                        <a:pt x="8" y="17"/>
                      </a:lnTo>
                      <a:lnTo>
                        <a:pt x="12" y="13"/>
                      </a:lnTo>
                      <a:lnTo>
                        <a:pt x="16" y="9"/>
                      </a:lnTo>
                      <a:lnTo>
                        <a:pt x="19" y="5"/>
                      </a:lnTo>
                      <a:lnTo>
                        <a:pt x="23" y="1"/>
                      </a:lnTo>
                      <a:lnTo>
                        <a:pt x="25" y="0"/>
                      </a:lnTo>
                      <a:lnTo>
                        <a:pt x="38" y="9"/>
                      </a:lnTo>
                      <a:close/>
                    </a:path>
                  </a:pathLst>
                </a:custGeom>
                <a:solidFill>
                  <a:srgbClr val="000000"/>
                </a:solidFill>
                <a:ln w="9525">
                  <a:noFill/>
                  <a:round/>
                  <a:headEnd/>
                  <a:tailEnd/>
                </a:ln>
              </p:spPr>
              <p:txBody>
                <a:bodyPr/>
                <a:lstStyle/>
                <a:p>
                  <a:pPr algn="l" eaLnBrk="1" hangingPunct="1"/>
                  <a:endParaRPr lang="en-US"/>
                </a:p>
              </p:txBody>
            </p:sp>
            <p:sp>
              <p:nvSpPr>
                <p:cNvPr id="1351" name="Freeform 767"/>
                <p:cNvSpPr>
                  <a:spLocks noChangeAspect="1"/>
                </p:cNvSpPr>
                <p:nvPr/>
              </p:nvSpPr>
              <p:spPr bwMode="auto">
                <a:xfrm>
                  <a:off x="3407" y="2011"/>
                  <a:ext cx="44" cy="51"/>
                </a:xfrm>
                <a:custGeom>
                  <a:avLst/>
                  <a:gdLst>
                    <a:gd name="T0" fmla="*/ 57 w 88"/>
                    <a:gd name="T1" fmla="*/ 23 h 103"/>
                    <a:gd name="T2" fmla="*/ 57 w 88"/>
                    <a:gd name="T3" fmla="*/ 25 h 103"/>
                    <a:gd name="T4" fmla="*/ 59 w 88"/>
                    <a:gd name="T5" fmla="*/ 27 h 103"/>
                    <a:gd name="T6" fmla="*/ 59 w 88"/>
                    <a:gd name="T7" fmla="*/ 30 h 103"/>
                    <a:gd name="T8" fmla="*/ 59 w 88"/>
                    <a:gd name="T9" fmla="*/ 34 h 103"/>
                    <a:gd name="T10" fmla="*/ 61 w 88"/>
                    <a:gd name="T11" fmla="*/ 40 h 103"/>
                    <a:gd name="T12" fmla="*/ 61 w 88"/>
                    <a:gd name="T13" fmla="*/ 44 h 103"/>
                    <a:gd name="T14" fmla="*/ 61 w 88"/>
                    <a:gd name="T15" fmla="*/ 48 h 103"/>
                    <a:gd name="T16" fmla="*/ 61 w 88"/>
                    <a:gd name="T17" fmla="*/ 51 h 103"/>
                    <a:gd name="T18" fmla="*/ 61 w 88"/>
                    <a:gd name="T19" fmla="*/ 55 h 103"/>
                    <a:gd name="T20" fmla="*/ 61 w 88"/>
                    <a:gd name="T21" fmla="*/ 59 h 103"/>
                    <a:gd name="T22" fmla="*/ 59 w 88"/>
                    <a:gd name="T23" fmla="*/ 63 h 103"/>
                    <a:gd name="T24" fmla="*/ 55 w 88"/>
                    <a:gd name="T25" fmla="*/ 67 h 103"/>
                    <a:gd name="T26" fmla="*/ 51 w 88"/>
                    <a:gd name="T27" fmla="*/ 70 h 103"/>
                    <a:gd name="T28" fmla="*/ 46 w 88"/>
                    <a:gd name="T29" fmla="*/ 74 h 103"/>
                    <a:gd name="T30" fmla="*/ 42 w 88"/>
                    <a:gd name="T31" fmla="*/ 78 h 103"/>
                    <a:gd name="T32" fmla="*/ 36 w 88"/>
                    <a:gd name="T33" fmla="*/ 82 h 103"/>
                    <a:gd name="T34" fmla="*/ 31 w 88"/>
                    <a:gd name="T35" fmla="*/ 86 h 103"/>
                    <a:gd name="T36" fmla="*/ 23 w 88"/>
                    <a:gd name="T37" fmla="*/ 89 h 103"/>
                    <a:gd name="T38" fmla="*/ 19 w 88"/>
                    <a:gd name="T39" fmla="*/ 91 h 103"/>
                    <a:gd name="T40" fmla="*/ 13 w 88"/>
                    <a:gd name="T41" fmla="*/ 93 h 103"/>
                    <a:gd name="T42" fmla="*/ 10 w 88"/>
                    <a:gd name="T43" fmla="*/ 97 h 103"/>
                    <a:gd name="T44" fmla="*/ 6 w 88"/>
                    <a:gd name="T45" fmla="*/ 99 h 103"/>
                    <a:gd name="T46" fmla="*/ 2 w 88"/>
                    <a:gd name="T47" fmla="*/ 101 h 103"/>
                    <a:gd name="T48" fmla="*/ 0 w 88"/>
                    <a:gd name="T49" fmla="*/ 101 h 103"/>
                    <a:gd name="T50" fmla="*/ 0 w 88"/>
                    <a:gd name="T51" fmla="*/ 101 h 103"/>
                    <a:gd name="T52" fmla="*/ 2 w 88"/>
                    <a:gd name="T53" fmla="*/ 101 h 103"/>
                    <a:gd name="T54" fmla="*/ 6 w 88"/>
                    <a:gd name="T55" fmla="*/ 103 h 103"/>
                    <a:gd name="T56" fmla="*/ 10 w 88"/>
                    <a:gd name="T57" fmla="*/ 103 h 103"/>
                    <a:gd name="T58" fmla="*/ 13 w 88"/>
                    <a:gd name="T59" fmla="*/ 103 h 103"/>
                    <a:gd name="T60" fmla="*/ 21 w 88"/>
                    <a:gd name="T61" fmla="*/ 103 h 103"/>
                    <a:gd name="T62" fmla="*/ 27 w 88"/>
                    <a:gd name="T63" fmla="*/ 103 h 103"/>
                    <a:gd name="T64" fmla="*/ 32 w 88"/>
                    <a:gd name="T65" fmla="*/ 103 h 103"/>
                    <a:gd name="T66" fmla="*/ 40 w 88"/>
                    <a:gd name="T67" fmla="*/ 101 h 103"/>
                    <a:gd name="T68" fmla="*/ 46 w 88"/>
                    <a:gd name="T69" fmla="*/ 101 h 103"/>
                    <a:gd name="T70" fmla="*/ 53 w 88"/>
                    <a:gd name="T71" fmla="*/ 97 h 103"/>
                    <a:gd name="T72" fmla="*/ 61 w 88"/>
                    <a:gd name="T73" fmla="*/ 93 h 103"/>
                    <a:gd name="T74" fmla="*/ 67 w 88"/>
                    <a:gd name="T75" fmla="*/ 89 h 103"/>
                    <a:gd name="T76" fmla="*/ 72 w 88"/>
                    <a:gd name="T77" fmla="*/ 84 h 103"/>
                    <a:gd name="T78" fmla="*/ 78 w 88"/>
                    <a:gd name="T79" fmla="*/ 76 h 103"/>
                    <a:gd name="T80" fmla="*/ 84 w 88"/>
                    <a:gd name="T81" fmla="*/ 70 h 103"/>
                    <a:gd name="T82" fmla="*/ 86 w 88"/>
                    <a:gd name="T83" fmla="*/ 59 h 103"/>
                    <a:gd name="T84" fmla="*/ 88 w 88"/>
                    <a:gd name="T85" fmla="*/ 51 h 103"/>
                    <a:gd name="T86" fmla="*/ 88 w 88"/>
                    <a:gd name="T87" fmla="*/ 44 h 103"/>
                    <a:gd name="T88" fmla="*/ 88 w 88"/>
                    <a:gd name="T89" fmla="*/ 36 h 103"/>
                    <a:gd name="T90" fmla="*/ 86 w 88"/>
                    <a:gd name="T91" fmla="*/ 30 h 103"/>
                    <a:gd name="T92" fmla="*/ 84 w 88"/>
                    <a:gd name="T93" fmla="*/ 25 h 103"/>
                    <a:gd name="T94" fmla="*/ 82 w 88"/>
                    <a:gd name="T95" fmla="*/ 19 h 103"/>
                    <a:gd name="T96" fmla="*/ 80 w 88"/>
                    <a:gd name="T97" fmla="*/ 15 h 103"/>
                    <a:gd name="T98" fmla="*/ 76 w 88"/>
                    <a:gd name="T99" fmla="*/ 11 h 103"/>
                    <a:gd name="T100" fmla="*/ 74 w 88"/>
                    <a:gd name="T101" fmla="*/ 8 h 103"/>
                    <a:gd name="T102" fmla="*/ 70 w 88"/>
                    <a:gd name="T103" fmla="*/ 6 h 103"/>
                    <a:gd name="T104" fmla="*/ 69 w 88"/>
                    <a:gd name="T105" fmla="*/ 4 h 103"/>
                    <a:gd name="T106" fmla="*/ 63 w 88"/>
                    <a:gd name="T107" fmla="*/ 0 h 103"/>
                    <a:gd name="T108" fmla="*/ 61 w 88"/>
                    <a:gd name="T109" fmla="*/ 0 h 103"/>
                    <a:gd name="T110" fmla="*/ 57 w 88"/>
                    <a:gd name="T111" fmla="*/ 23 h 103"/>
                    <a:gd name="T112" fmla="*/ 57 w 88"/>
                    <a:gd name="T113" fmla="*/ 23 h 1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103"/>
                    <a:gd name="T173" fmla="*/ 88 w 88"/>
                    <a:gd name="T174" fmla="*/ 103 h 1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103">
                      <a:moveTo>
                        <a:pt x="57" y="23"/>
                      </a:moveTo>
                      <a:lnTo>
                        <a:pt x="57" y="25"/>
                      </a:lnTo>
                      <a:lnTo>
                        <a:pt x="59" y="27"/>
                      </a:lnTo>
                      <a:lnTo>
                        <a:pt x="59" y="30"/>
                      </a:lnTo>
                      <a:lnTo>
                        <a:pt x="59" y="34"/>
                      </a:lnTo>
                      <a:lnTo>
                        <a:pt x="61" y="40"/>
                      </a:lnTo>
                      <a:lnTo>
                        <a:pt x="61" y="44"/>
                      </a:lnTo>
                      <a:lnTo>
                        <a:pt x="61" y="48"/>
                      </a:lnTo>
                      <a:lnTo>
                        <a:pt x="61" y="51"/>
                      </a:lnTo>
                      <a:lnTo>
                        <a:pt x="61" y="55"/>
                      </a:lnTo>
                      <a:lnTo>
                        <a:pt x="61" y="59"/>
                      </a:lnTo>
                      <a:lnTo>
                        <a:pt x="59" y="63"/>
                      </a:lnTo>
                      <a:lnTo>
                        <a:pt x="55" y="67"/>
                      </a:lnTo>
                      <a:lnTo>
                        <a:pt x="51" y="70"/>
                      </a:lnTo>
                      <a:lnTo>
                        <a:pt x="46" y="74"/>
                      </a:lnTo>
                      <a:lnTo>
                        <a:pt x="42" y="78"/>
                      </a:lnTo>
                      <a:lnTo>
                        <a:pt x="36" y="82"/>
                      </a:lnTo>
                      <a:lnTo>
                        <a:pt x="31" y="86"/>
                      </a:lnTo>
                      <a:lnTo>
                        <a:pt x="23" y="89"/>
                      </a:lnTo>
                      <a:lnTo>
                        <a:pt x="19" y="91"/>
                      </a:lnTo>
                      <a:lnTo>
                        <a:pt x="13" y="93"/>
                      </a:lnTo>
                      <a:lnTo>
                        <a:pt x="10" y="97"/>
                      </a:lnTo>
                      <a:lnTo>
                        <a:pt x="6" y="99"/>
                      </a:lnTo>
                      <a:lnTo>
                        <a:pt x="2" y="101"/>
                      </a:lnTo>
                      <a:lnTo>
                        <a:pt x="0" y="101"/>
                      </a:lnTo>
                      <a:lnTo>
                        <a:pt x="2" y="101"/>
                      </a:lnTo>
                      <a:lnTo>
                        <a:pt x="6" y="103"/>
                      </a:lnTo>
                      <a:lnTo>
                        <a:pt x="10" y="103"/>
                      </a:lnTo>
                      <a:lnTo>
                        <a:pt x="13" y="103"/>
                      </a:lnTo>
                      <a:lnTo>
                        <a:pt x="21" y="103"/>
                      </a:lnTo>
                      <a:lnTo>
                        <a:pt x="27" y="103"/>
                      </a:lnTo>
                      <a:lnTo>
                        <a:pt x="32" y="103"/>
                      </a:lnTo>
                      <a:lnTo>
                        <a:pt x="40" y="101"/>
                      </a:lnTo>
                      <a:lnTo>
                        <a:pt x="46" y="101"/>
                      </a:lnTo>
                      <a:lnTo>
                        <a:pt x="53" y="97"/>
                      </a:lnTo>
                      <a:lnTo>
                        <a:pt x="61" y="93"/>
                      </a:lnTo>
                      <a:lnTo>
                        <a:pt x="67" y="89"/>
                      </a:lnTo>
                      <a:lnTo>
                        <a:pt x="72" y="84"/>
                      </a:lnTo>
                      <a:lnTo>
                        <a:pt x="78" y="76"/>
                      </a:lnTo>
                      <a:lnTo>
                        <a:pt x="84" y="70"/>
                      </a:lnTo>
                      <a:lnTo>
                        <a:pt x="86" y="59"/>
                      </a:lnTo>
                      <a:lnTo>
                        <a:pt x="88" y="51"/>
                      </a:lnTo>
                      <a:lnTo>
                        <a:pt x="88" y="44"/>
                      </a:lnTo>
                      <a:lnTo>
                        <a:pt x="88" y="36"/>
                      </a:lnTo>
                      <a:lnTo>
                        <a:pt x="86" y="30"/>
                      </a:lnTo>
                      <a:lnTo>
                        <a:pt x="84" y="25"/>
                      </a:lnTo>
                      <a:lnTo>
                        <a:pt x="82" y="19"/>
                      </a:lnTo>
                      <a:lnTo>
                        <a:pt x="80" y="15"/>
                      </a:lnTo>
                      <a:lnTo>
                        <a:pt x="76" y="11"/>
                      </a:lnTo>
                      <a:lnTo>
                        <a:pt x="74" y="8"/>
                      </a:lnTo>
                      <a:lnTo>
                        <a:pt x="70" y="6"/>
                      </a:lnTo>
                      <a:lnTo>
                        <a:pt x="69" y="4"/>
                      </a:lnTo>
                      <a:lnTo>
                        <a:pt x="63" y="0"/>
                      </a:lnTo>
                      <a:lnTo>
                        <a:pt x="61" y="0"/>
                      </a:lnTo>
                      <a:lnTo>
                        <a:pt x="57" y="23"/>
                      </a:lnTo>
                      <a:close/>
                    </a:path>
                  </a:pathLst>
                </a:custGeom>
                <a:solidFill>
                  <a:srgbClr val="000000"/>
                </a:solidFill>
                <a:ln w="9525">
                  <a:noFill/>
                  <a:round/>
                  <a:headEnd/>
                  <a:tailEnd/>
                </a:ln>
              </p:spPr>
              <p:txBody>
                <a:bodyPr/>
                <a:lstStyle/>
                <a:p>
                  <a:pPr algn="l" eaLnBrk="1" hangingPunct="1"/>
                  <a:endParaRPr lang="en-US"/>
                </a:p>
              </p:txBody>
            </p:sp>
            <p:sp>
              <p:nvSpPr>
                <p:cNvPr id="1352" name="Freeform 768"/>
                <p:cNvSpPr>
                  <a:spLocks noChangeAspect="1"/>
                </p:cNvSpPr>
                <p:nvPr/>
              </p:nvSpPr>
              <p:spPr bwMode="auto">
                <a:xfrm>
                  <a:off x="3210" y="2072"/>
                  <a:ext cx="63" cy="205"/>
                </a:xfrm>
                <a:custGeom>
                  <a:avLst/>
                  <a:gdLst>
                    <a:gd name="T0" fmla="*/ 123 w 125"/>
                    <a:gd name="T1" fmla="*/ 9 h 410"/>
                    <a:gd name="T2" fmla="*/ 118 w 125"/>
                    <a:gd name="T3" fmla="*/ 9 h 410"/>
                    <a:gd name="T4" fmla="*/ 108 w 125"/>
                    <a:gd name="T5" fmla="*/ 11 h 410"/>
                    <a:gd name="T6" fmla="*/ 97 w 125"/>
                    <a:gd name="T7" fmla="*/ 15 h 410"/>
                    <a:gd name="T8" fmla="*/ 81 w 125"/>
                    <a:gd name="T9" fmla="*/ 23 h 410"/>
                    <a:gd name="T10" fmla="*/ 66 w 125"/>
                    <a:gd name="T11" fmla="*/ 34 h 410"/>
                    <a:gd name="T12" fmla="*/ 53 w 125"/>
                    <a:gd name="T13" fmla="*/ 51 h 410"/>
                    <a:gd name="T14" fmla="*/ 40 w 125"/>
                    <a:gd name="T15" fmla="*/ 72 h 410"/>
                    <a:gd name="T16" fmla="*/ 30 w 125"/>
                    <a:gd name="T17" fmla="*/ 102 h 410"/>
                    <a:gd name="T18" fmla="*/ 26 w 125"/>
                    <a:gd name="T19" fmla="*/ 144 h 410"/>
                    <a:gd name="T20" fmla="*/ 24 w 125"/>
                    <a:gd name="T21" fmla="*/ 194 h 410"/>
                    <a:gd name="T22" fmla="*/ 24 w 125"/>
                    <a:gd name="T23" fmla="*/ 247 h 410"/>
                    <a:gd name="T24" fmla="*/ 26 w 125"/>
                    <a:gd name="T25" fmla="*/ 300 h 410"/>
                    <a:gd name="T26" fmla="*/ 30 w 125"/>
                    <a:gd name="T27" fmla="*/ 346 h 410"/>
                    <a:gd name="T28" fmla="*/ 32 w 125"/>
                    <a:gd name="T29" fmla="*/ 382 h 410"/>
                    <a:gd name="T30" fmla="*/ 34 w 125"/>
                    <a:gd name="T31" fmla="*/ 401 h 410"/>
                    <a:gd name="T32" fmla="*/ 32 w 125"/>
                    <a:gd name="T33" fmla="*/ 409 h 410"/>
                    <a:gd name="T34" fmla="*/ 23 w 125"/>
                    <a:gd name="T35" fmla="*/ 410 h 410"/>
                    <a:gd name="T36" fmla="*/ 17 w 125"/>
                    <a:gd name="T37" fmla="*/ 409 h 410"/>
                    <a:gd name="T38" fmla="*/ 11 w 125"/>
                    <a:gd name="T39" fmla="*/ 405 h 410"/>
                    <a:gd name="T40" fmla="*/ 7 w 125"/>
                    <a:gd name="T41" fmla="*/ 391 h 410"/>
                    <a:gd name="T42" fmla="*/ 4 w 125"/>
                    <a:gd name="T43" fmla="*/ 365 h 410"/>
                    <a:gd name="T44" fmla="*/ 0 w 125"/>
                    <a:gd name="T45" fmla="*/ 323 h 410"/>
                    <a:gd name="T46" fmla="*/ 0 w 125"/>
                    <a:gd name="T47" fmla="*/ 274 h 410"/>
                    <a:gd name="T48" fmla="*/ 0 w 125"/>
                    <a:gd name="T49" fmla="*/ 218 h 410"/>
                    <a:gd name="T50" fmla="*/ 2 w 125"/>
                    <a:gd name="T51" fmla="*/ 161 h 410"/>
                    <a:gd name="T52" fmla="*/ 7 w 125"/>
                    <a:gd name="T53" fmla="*/ 110 h 410"/>
                    <a:gd name="T54" fmla="*/ 15 w 125"/>
                    <a:gd name="T55" fmla="*/ 66 h 410"/>
                    <a:gd name="T56" fmla="*/ 24 w 125"/>
                    <a:gd name="T57" fmla="*/ 36 h 410"/>
                    <a:gd name="T58" fmla="*/ 38 w 125"/>
                    <a:gd name="T59" fmla="*/ 17 h 410"/>
                    <a:gd name="T60" fmla="*/ 55 w 125"/>
                    <a:gd name="T61" fmla="*/ 4 h 410"/>
                    <a:gd name="T62" fmla="*/ 72 w 125"/>
                    <a:gd name="T63" fmla="*/ 0 h 410"/>
                    <a:gd name="T64" fmla="*/ 89 w 125"/>
                    <a:gd name="T65" fmla="*/ 0 h 410"/>
                    <a:gd name="T66" fmla="*/ 106 w 125"/>
                    <a:gd name="T67" fmla="*/ 2 h 410"/>
                    <a:gd name="T68" fmla="*/ 118 w 125"/>
                    <a:gd name="T69" fmla="*/ 5 h 410"/>
                    <a:gd name="T70" fmla="*/ 123 w 125"/>
                    <a:gd name="T71" fmla="*/ 7 h 410"/>
                    <a:gd name="T72" fmla="*/ 125 w 125"/>
                    <a:gd name="T73" fmla="*/ 9 h 4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
                    <a:gd name="T112" fmla="*/ 0 h 410"/>
                    <a:gd name="T113" fmla="*/ 125 w 125"/>
                    <a:gd name="T114" fmla="*/ 410 h 4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 h="410">
                      <a:moveTo>
                        <a:pt x="125" y="9"/>
                      </a:moveTo>
                      <a:lnTo>
                        <a:pt x="123" y="9"/>
                      </a:lnTo>
                      <a:lnTo>
                        <a:pt x="121" y="9"/>
                      </a:lnTo>
                      <a:lnTo>
                        <a:pt x="118" y="9"/>
                      </a:lnTo>
                      <a:lnTo>
                        <a:pt x="116" y="9"/>
                      </a:lnTo>
                      <a:lnTo>
                        <a:pt x="108" y="11"/>
                      </a:lnTo>
                      <a:lnTo>
                        <a:pt x="102" y="13"/>
                      </a:lnTo>
                      <a:lnTo>
                        <a:pt x="97" y="15"/>
                      </a:lnTo>
                      <a:lnTo>
                        <a:pt x="89" y="19"/>
                      </a:lnTo>
                      <a:lnTo>
                        <a:pt x="81" y="23"/>
                      </a:lnTo>
                      <a:lnTo>
                        <a:pt x="74" y="28"/>
                      </a:lnTo>
                      <a:lnTo>
                        <a:pt x="66" y="34"/>
                      </a:lnTo>
                      <a:lnTo>
                        <a:pt x="61" y="42"/>
                      </a:lnTo>
                      <a:lnTo>
                        <a:pt x="53" y="51"/>
                      </a:lnTo>
                      <a:lnTo>
                        <a:pt x="47" y="61"/>
                      </a:lnTo>
                      <a:lnTo>
                        <a:pt x="40" y="72"/>
                      </a:lnTo>
                      <a:lnTo>
                        <a:pt x="36" y="87"/>
                      </a:lnTo>
                      <a:lnTo>
                        <a:pt x="30" y="102"/>
                      </a:lnTo>
                      <a:lnTo>
                        <a:pt x="28" y="121"/>
                      </a:lnTo>
                      <a:lnTo>
                        <a:pt x="26" y="144"/>
                      </a:lnTo>
                      <a:lnTo>
                        <a:pt x="24" y="169"/>
                      </a:lnTo>
                      <a:lnTo>
                        <a:pt x="24" y="194"/>
                      </a:lnTo>
                      <a:lnTo>
                        <a:pt x="24" y="220"/>
                      </a:lnTo>
                      <a:lnTo>
                        <a:pt x="24" y="247"/>
                      </a:lnTo>
                      <a:lnTo>
                        <a:pt x="26" y="274"/>
                      </a:lnTo>
                      <a:lnTo>
                        <a:pt x="26" y="300"/>
                      </a:lnTo>
                      <a:lnTo>
                        <a:pt x="28" y="323"/>
                      </a:lnTo>
                      <a:lnTo>
                        <a:pt x="30" y="346"/>
                      </a:lnTo>
                      <a:lnTo>
                        <a:pt x="30" y="367"/>
                      </a:lnTo>
                      <a:lnTo>
                        <a:pt x="32" y="382"/>
                      </a:lnTo>
                      <a:lnTo>
                        <a:pt x="34" y="395"/>
                      </a:lnTo>
                      <a:lnTo>
                        <a:pt x="34" y="401"/>
                      </a:lnTo>
                      <a:lnTo>
                        <a:pt x="34" y="405"/>
                      </a:lnTo>
                      <a:lnTo>
                        <a:pt x="32" y="409"/>
                      </a:lnTo>
                      <a:lnTo>
                        <a:pt x="26" y="410"/>
                      </a:lnTo>
                      <a:lnTo>
                        <a:pt x="23" y="410"/>
                      </a:lnTo>
                      <a:lnTo>
                        <a:pt x="19" y="410"/>
                      </a:lnTo>
                      <a:lnTo>
                        <a:pt x="17" y="409"/>
                      </a:lnTo>
                      <a:lnTo>
                        <a:pt x="15" y="407"/>
                      </a:lnTo>
                      <a:lnTo>
                        <a:pt x="11" y="405"/>
                      </a:lnTo>
                      <a:lnTo>
                        <a:pt x="11" y="401"/>
                      </a:lnTo>
                      <a:lnTo>
                        <a:pt x="7" y="391"/>
                      </a:lnTo>
                      <a:lnTo>
                        <a:pt x="5" y="380"/>
                      </a:lnTo>
                      <a:lnTo>
                        <a:pt x="4" y="365"/>
                      </a:lnTo>
                      <a:lnTo>
                        <a:pt x="2" y="346"/>
                      </a:lnTo>
                      <a:lnTo>
                        <a:pt x="0" y="323"/>
                      </a:lnTo>
                      <a:lnTo>
                        <a:pt x="0" y="300"/>
                      </a:lnTo>
                      <a:lnTo>
                        <a:pt x="0" y="274"/>
                      </a:lnTo>
                      <a:lnTo>
                        <a:pt x="0" y="247"/>
                      </a:lnTo>
                      <a:lnTo>
                        <a:pt x="0" y="218"/>
                      </a:lnTo>
                      <a:lnTo>
                        <a:pt x="0" y="190"/>
                      </a:lnTo>
                      <a:lnTo>
                        <a:pt x="2" y="161"/>
                      </a:lnTo>
                      <a:lnTo>
                        <a:pt x="5" y="135"/>
                      </a:lnTo>
                      <a:lnTo>
                        <a:pt x="7" y="110"/>
                      </a:lnTo>
                      <a:lnTo>
                        <a:pt x="11" y="87"/>
                      </a:lnTo>
                      <a:lnTo>
                        <a:pt x="15" y="66"/>
                      </a:lnTo>
                      <a:lnTo>
                        <a:pt x="21" y="51"/>
                      </a:lnTo>
                      <a:lnTo>
                        <a:pt x="24" y="36"/>
                      </a:lnTo>
                      <a:lnTo>
                        <a:pt x="30" y="26"/>
                      </a:lnTo>
                      <a:lnTo>
                        <a:pt x="38" y="17"/>
                      </a:lnTo>
                      <a:lnTo>
                        <a:pt x="47" y="9"/>
                      </a:lnTo>
                      <a:lnTo>
                        <a:pt x="55" y="4"/>
                      </a:lnTo>
                      <a:lnTo>
                        <a:pt x="64" y="2"/>
                      </a:lnTo>
                      <a:lnTo>
                        <a:pt x="72" y="0"/>
                      </a:lnTo>
                      <a:lnTo>
                        <a:pt x="81" y="0"/>
                      </a:lnTo>
                      <a:lnTo>
                        <a:pt x="89" y="0"/>
                      </a:lnTo>
                      <a:lnTo>
                        <a:pt x="99" y="0"/>
                      </a:lnTo>
                      <a:lnTo>
                        <a:pt x="106" y="2"/>
                      </a:lnTo>
                      <a:lnTo>
                        <a:pt x="112" y="4"/>
                      </a:lnTo>
                      <a:lnTo>
                        <a:pt x="118" y="5"/>
                      </a:lnTo>
                      <a:lnTo>
                        <a:pt x="121" y="7"/>
                      </a:lnTo>
                      <a:lnTo>
                        <a:pt x="123" y="7"/>
                      </a:lnTo>
                      <a:lnTo>
                        <a:pt x="125" y="9"/>
                      </a:lnTo>
                      <a:close/>
                    </a:path>
                  </a:pathLst>
                </a:custGeom>
                <a:solidFill>
                  <a:srgbClr val="000000"/>
                </a:solidFill>
                <a:ln w="9525">
                  <a:noFill/>
                  <a:round/>
                  <a:headEnd/>
                  <a:tailEnd/>
                </a:ln>
              </p:spPr>
              <p:txBody>
                <a:bodyPr/>
                <a:lstStyle/>
                <a:p>
                  <a:pPr algn="l" eaLnBrk="1" hangingPunct="1"/>
                  <a:endParaRPr lang="en-US"/>
                </a:p>
              </p:txBody>
            </p:sp>
            <p:sp>
              <p:nvSpPr>
                <p:cNvPr id="1353" name="Freeform 769"/>
                <p:cNvSpPr>
                  <a:spLocks noChangeAspect="1"/>
                </p:cNvSpPr>
                <p:nvPr/>
              </p:nvSpPr>
              <p:spPr bwMode="auto">
                <a:xfrm>
                  <a:off x="3380" y="2067"/>
                  <a:ext cx="94" cy="217"/>
                </a:xfrm>
                <a:custGeom>
                  <a:avLst/>
                  <a:gdLst>
                    <a:gd name="T0" fmla="*/ 17 w 186"/>
                    <a:gd name="T1" fmla="*/ 10 h 434"/>
                    <a:gd name="T2" fmla="*/ 25 w 186"/>
                    <a:gd name="T3" fmla="*/ 12 h 434"/>
                    <a:gd name="T4" fmla="*/ 32 w 186"/>
                    <a:gd name="T5" fmla="*/ 12 h 434"/>
                    <a:gd name="T6" fmla="*/ 42 w 186"/>
                    <a:gd name="T7" fmla="*/ 14 h 434"/>
                    <a:gd name="T8" fmla="*/ 51 w 186"/>
                    <a:gd name="T9" fmla="*/ 15 h 434"/>
                    <a:gd name="T10" fmla="*/ 61 w 186"/>
                    <a:gd name="T11" fmla="*/ 19 h 434"/>
                    <a:gd name="T12" fmla="*/ 72 w 186"/>
                    <a:gd name="T13" fmla="*/ 23 h 434"/>
                    <a:gd name="T14" fmla="*/ 84 w 186"/>
                    <a:gd name="T15" fmla="*/ 29 h 434"/>
                    <a:gd name="T16" fmla="*/ 93 w 186"/>
                    <a:gd name="T17" fmla="*/ 34 h 434"/>
                    <a:gd name="T18" fmla="*/ 104 w 186"/>
                    <a:gd name="T19" fmla="*/ 44 h 434"/>
                    <a:gd name="T20" fmla="*/ 114 w 186"/>
                    <a:gd name="T21" fmla="*/ 53 h 434"/>
                    <a:gd name="T22" fmla="*/ 123 w 186"/>
                    <a:gd name="T23" fmla="*/ 65 h 434"/>
                    <a:gd name="T24" fmla="*/ 133 w 186"/>
                    <a:gd name="T25" fmla="*/ 78 h 434"/>
                    <a:gd name="T26" fmla="*/ 139 w 186"/>
                    <a:gd name="T27" fmla="*/ 99 h 434"/>
                    <a:gd name="T28" fmla="*/ 144 w 186"/>
                    <a:gd name="T29" fmla="*/ 122 h 434"/>
                    <a:gd name="T30" fmla="*/ 148 w 186"/>
                    <a:gd name="T31" fmla="*/ 149 h 434"/>
                    <a:gd name="T32" fmla="*/ 150 w 186"/>
                    <a:gd name="T33" fmla="*/ 177 h 434"/>
                    <a:gd name="T34" fmla="*/ 152 w 186"/>
                    <a:gd name="T35" fmla="*/ 207 h 434"/>
                    <a:gd name="T36" fmla="*/ 152 w 186"/>
                    <a:gd name="T37" fmla="*/ 240 h 434"/>
                    <a:gd name="T38" fmla="*/ 152 w 186"/>
                    <a:gd name="T39" fmla="*/ 272 h 434"/>
                    <a:gd name="T40" fmla="*/ 150 w 186"/>
                    <a:gd name="T41" fmla="*/ 303 h 434"/>
                    <a:gd name="T42" fmla="*/ 148 w 186"/>
                    <a:gd name="T43" fmla="*/ 333 h 434"/>
                    <a:gd name="T44" fmla="*/ 146 w 186"/>
                    <a:gd name="T45" fmla="*/ 360 h 434"/>
                    <a:gd name="T46" fmla="*/ 146 w 186"/>
                    <a:gd name="T47" fmla="*/ 384 h 434"/>
                    <a:gd name="T48" fmla="*/ 142 w 186"/>
                    <a:gd name="T49" fmla="*/ 403 h 434"/>
                    <a:gd name="T50" fmla="*/ 142 w 186"/>
                    <a:gd name="T51" fmla="*/ 419 h 434"/>
                    <a:gd name="T52" fmla="*/ 142 w 186"/>
                    <a:gd name="T53" fmla="*/ 430 h 434"/>
                    <a:gd name="T54" fmla="*/ 142 w 186"/>
                    <a:gd name="T55" fmla="*/ 434 h 434"/>
                    <a:gd name="T56" fmla="*/ 173 w 186"/>
                    <a:gd name="T57" fmla="*/ 428 h 434"/>
                    <a:gd name="T58" fmla="*/ 173 w 186"/>
                    <a:gd name="T59" fmla="*/ 424 h 434"/>
                    <a:gd name="T60" fmla="*/ 173 w 186"/>
                    <a:gd name="T61" fmla="*/ 417 h 434"/>
                    <a:gd name="T62" fmla="*/ 175 w 186"/>
                    <a:gd name="T63" fmla="*/ 405 h 434"/>
                    <a:gd name="T64" fmla="*/ 177 w 186"/>
                    <a:gd name="T65" fmla="*/ 388 h 434"/>
                    <a:gd name="T66" fmla="*/ 179 w 186"/>
                    <a:gd name="T67" fmla="*/ 367 h 434"/>
                    <a:gd name="T68" fmla="*/ 180 w 186"/>
                    <a:gd name="T69" fmla="*/ 346 h 434"/>
                    <a:gd name="T70" fmla="*/ 182 w 186"/>
                    <a:gd name="T71" fmla="*/ 320 h 434"/>
                    <a:gd name="T72" fmla="*/ 186 w 186"/>
                    <a:gd name="T73" fmla="*/ 293 h 434"/>
                    <a:gd name="T74" fmla="*/ 186 w 186"/>
                    <a:gd name="T75" fmla="*/ 265 h 434"/>
                    <a:gd name="T76" fmla="*/ 186 w 186"/>
                    <a:gd name="T77" fmla="*/ 236 h 434"/>
                    <a:gd name="T78" fmla="*/ 186 w 186"/>
                    <a:gd name="T79" fmla="*/ 206 h 434"/>
                    <a:gd name="T80" fmla="*/ 186 w 186"/>
                    <a:gd name="T81" fmla="*/ 177 h 434"/>
                    <a:gd name="T82" fmla="*/ 184 w 186"/>
                    <a:gd name="T83" fmla="*/ 149 h 434"/>
                    <a:gd name="T84" fmla="*/ 182 w 186"/>
                    <a:gd name="T85" fmla="*/ 122 h 434"/>
                    <a:gd name="T86" fmla="*/ 177 w 186"/>
                    <a:gd name="T87" fmla="*/ 95 h 434"/>
                    <a:gd name="T88" fmla="*/ 173 w 186"/>
                    <a:gd name="T89" fmla="*/ 74 h 434"/>
                    <a:gd name="T90" fmla="*/ 163 w 186"/>
                    <a:gd name="T91" fmla="*/ 53 h 434"/>
                    <a:gd name="T92" fmla="*/ 154 w 186"/>
                    <a:gd name="T93" fmla="*/ 38 h 434"/>
                    <a:gd name="T94" fmla="*/ 142 w 186"/>
                    <a:gd name="T95" fmla="*/ 25 h 434"/>
                    <a:gd name="T96" fmla="*/ 129 w 186"/>
                    <a:gd name="T97" fmla="*/ 17 h 434"/>
                    <a:gd name="T98" fmla="*/ 114 w 186"/>
                    <a:gd name="T99" fmla="*/ 8 h 434"/>
                    <a:gd name="T100" fmla="*/ 101 w 186"/>
                    <a:gd name="T101" fmla="*/ 4 h 434"/>
                    <a:gd name="T102" fmla="*/ 85 w 186"/>
                    <a:gd name="T103" fmla="*/ 2 h 434"/>
                    <a:gd name="T104" fmla="*/ 72 w 186"/>
                    <a:gd name="T105" fmla="*/ 0 h 434"/>
                    <a:gd name="T106" fmla="*/ 57 w 186"/>
                    <a:gd name="T107" fmla="*/ 0 h 434"/>
                    <a:gd name="T108" fmla="*/ 44 w 186"/>
                    <a:gd name="T109" fmla="*/ 2 h 434"/>
                    <a:gd name="T110" fmla="*/ 30 w 186"/>
                    <a:gd name="T111" fmla="*/ 4 h 434"/>
                    <a:gd name="T112" fmla="*/ 21 w 186"/>
                    <a:gd name="T113" fmla="*/ 6 h 434"/>
                    <a:gd name="T114" fmla="*/ 11 w 186"/>
                    <a:gd name="T115" fmla="*/ 8 h 434"/>
                    <a:gd name="T116" fmla="*/ 0 w 186"/>
                    <a:gd name="T117" fmla="*/ 10 h 434"/>
                    <a:gd name="T118" fmla="*/ 17 w 186"/>
                    <a:gd name="T119" fmla="*/ 10 h 434"/>
                    <a:gd name="T120" fmla="*/ 17 w 186"/>
                    <a:gd name="T121" fmla="*/ 10 h 4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434"/>
                    <a:gd name="T185" fmla="*/ 186 w 186"/>
                    <a:gd name="T186" fmla="*/ 434 h 4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434">
                      <a:moveTo>
                        <a:pt x="17" y="10"/>
                      </a:moveTo>
                      <a:lnTo>
                        <a:pt x="25" y="12"/>
                      </a:lnTo>
                      <a:lnTo>
                        <a:pt x="32" y="12"/>
                      </a:lnTo>
                      <a:lnTo>
                        <a:pt x="42" y="14"/>
                      </a:lnTo>
                      <a:lnTo>
                        <a:pt x="51" y="15"/>
                      </a:lnTo>
                      <a:lnTo>
                        <a:pt x="61" y="19"/>
                      </a:lnTo>
                      <a:lnTo>
                        <a:pt x="72" y="23"/>
                      </a:lnTo>
                      <a:lnTo>
                        <a:pt x="84" y="29"/>
                      </a:lnTo>
                      <a:lnTo>
                        <a:pt x="93" y="34"/>
                      </a:lnTo>
                      <a:lnTo>
                        <a:pt x="104" y="44"/>
                      </a:lnTo>
                      <a:lnTo>
                        <a:pt x="114" y="53"/>
                      </a:lnTo>
                      <a:lnTo>
                        <a:pt x="123" y="65"/>
                      </a:lnTo>
                      <a:lnTo>
                        <a:pt x="133" y="78"/>
                      </a:lnTo>
                      <a:lnTo>
                        <a:pt x="139" y="99"/>
                      </a:lnTo>
                      <a:lnTo>
                        <a:pt x="144" y="122"/>
                      </a:lnTo>
                      <a:lnTo>
                        <a:pt x="148" y="149"/>
                      </a:lnTo>
                      <a:lnTo>
                        <a:pt x="150" y="177"/>
                      </a:lnTo>
                      <a:lnTo>
                        <a:pt x="152" y="207"/>
                      </a:lnTo>
                      <a:lnTo>
                        <a:pt x="152" y="240"/>
                      </a:lnTo>
                      <a:lnTo>
                        <a:pt x="152" y="272"/>
                      </a:lnTo>
                      <a:lnTo>
                        <a:pt x="150" y="303"/>
                      </a:lnTo>
                      <a:lnTo>
                        <a:pt x="148" y="333"/>
                      </a:lnTo>
                      <a:lnTo>
                        <a:pt x="146" y="360"/>
                      </a:lnTo>
                      <a:lnTo>
                        <a:pt x="146" y="384"/>
                      </a:lnTo>
                      <a:lnTo>
                        <a:pt x="142" y="403"/>
                      </a:lnTo>
                      <a:lnTo>
                        <a:pt x="142" y="419"/>
                      </a:lnTo>
                      <a:lnTo>
                        <a:pt x="142" y="430"/>
                      </a:lnTo>
                      <a:lnTo>
                        <a:pt x="142" y="434"/>
                      </a:lnTo>
                      <a:lnTo>
                        <a:pt x="173" y="428"/>
                      </a:lnTo>
                      <a:lnTo>
                        <a:pt x="173" y="424"/>
                      </a:lnTo>
                      <a:lnTo>
                        <a:pt x="173" y="417"/>
                      </a:lnTo>
                      <a:lnTo>
                        <a:pt x="175" y="405"/>
                      </a:lnTo>
                      <a:lnTo>
                        <a:pt x="177" y="388"/>
                      </a:lnTo>
                      <a:lnTo>
                        <a:pt x="179" y="367"/>
                      </a:lnTo>
                      <a:lnTo>
                        <a:pt x="180" y="346"/>
                      </a:lnTo>
                      <a:lnTo>
                        <a:pt x="182" y="320"/>
                      </a:lnTo>
                      <a:lnTo>
                        <a:pt x="186" y="293"/>
                      </a:lnTo>
                      <a:lnTo>
                        <a:pt x="186" y="265"/>
                      </a:lnTo>
                      <a:lnTo>
                        <a:pt x="186" y="236"/>
                      </a:lnTo>
                      <a:lnTo>
                        <a:pt x="186" y="206"/>
                      </a:lnTo>
                      <a:lnTo>
                        <a:pt x="186" y="177"/>
                      </a:lnTo>
                      <a:lnTo>
                        <a:pt x="184" y="149"/>
                      </a:lnTo>
                      <a:lnTo>
                        <a:pt x="182" y="122"/>
                      </a:lnTo>
                      <a:lnTo>
                        <a:pt x="177" y="95"/>
                      </a:lnTo>
                      <a:lnTo>
                        <a:pt x="173" y="74"/>
                      </a:lnTo>
                      <a:lnTo>
                        <a:pt x="163" y="53"/>
                      </a:lnTo>
                      <a:lnTo>
                        <a:pt x="154" y="38"/>
                      </a:lnTo>
                      <a:lnTo>
                        <a:pt x="142" y="25"/>
                      </a:lnTo>
                      <a:lnTo>
                        <a:pt x="129" y="17"/>
                      </a:lnTo>
                      <a:lnTo>
                        <a:pt x="114" y="8"/>
                      </a:lnTo>
                      <a:lnTo>
                        <a:pt x="101" y="4"/>
                      </a:lnTo>
                      <a:lnTo>
                        <a:pt x="85" y="2"/>
                      </a:lnTo>
                      <a:lnTo>
                        <a:pt x="72" y="0"/>
                      </a:lnTo>
                      <a:lnTo>
                        <a:pt x="57" y="0"/>
                      </a:lnTo>
                      <a:lnTo>
                        <a:pt x="44" y="2"/>
                      </a:lnTo>
                      <a:lnTo>
                        <a:pt x="30" y="4"/>
                      </a:lnTo>
                      <a:lnTo>
                        <a:pt x="21" y="6"/>
                      </a:lnTo>
                      <a:lnTo>
                        <a:pt x="11" y="8"/>
                      </a:lnTo>
                      <a:lnTo>
                        <a:pt x="0" y="10"/>
                      </a:lnTo>
                      <a:lnTo>
                        <a:pt x="17" y="10"/>
                      </a:lnTo>
                      <a:close/>
                    </a:path>
                  </a:pathLst>
                </a:custGeom>
                <a:solidFill>
                  <a:srgbClr val="000000"/>
                </a:solidFill>
                <a:ln w="9525">
                  <a:noFill/>
                  <a:round/>
                  <a:headEnd/>
                  <a:tailEnd/>
                </a:ln>
              </p:spPr>
              <p:txBody>
                <a:bodyPr/>
                <a:lstStyle/>
                <a:p>
                  <a:pPr algn="l" eaLnBrk="1" hangingPunct="1"/>
                  <a:endParaRPr lang="en-US"/>
                </a:p>
              </p:txBody>
            </p:sp>
            <p:sp>
              <p:nvSpPr>
                <p:cNvPr id="1354" name="Freeform 770"/>
                <p:cNvSpPr>
                  <a:spLocks noChangeAspect="1"/>
                </p:cNvSpPr>
                <p:nvPr/>
              </p:nvSpPr>
              <p:spPr bwMode="auto">
                <a:xfrm>
                  <a:off x="3229" y="2268"/>
                  <a:ext cx="220" cy="57"/>
                </a:xfrm>
                <a:custGeom>
                  <a:avLst/>
                  <a:gdLst>
                    <a:gd name="T0" fmla="*/ 7 w 439"/>
                    <a:gd name="T1" fmla="*/ 44 h 115"/>
                    <a:gd name="T2" fmla="*/ 15 w 439"/>
                    <a:gd name="T3" fmla="*/ 52 h 115"/>
                    <a:gd name="T4" fmla="*/ 26 w 439"/>
                    <a:gd name="T5" fmla="*/ 61 h 115"/>
                    <a:gd name="T6" fmla="*/ 45 w 439"/>
                    <a:gd name="T7" fmla="*/ 75 h 115"/>
                    <a:gd name="T8" fmla="*/ 72 w 439"/>
                    <a:gd name="T9" fmla="*/ 86 h 115"/>
                    <a:gd name="T10" fmla="*/ 108 w 439"/>
                    <a:gd name="T11" fmla="*/ 97 h 115"/>
                    <a:gd name="T12" fmla="*/ 152 w 439"/>
                    <a:gd name="T13" fmla="*/ 107 h 115"/>
                    <a:gd name="T14" fmla="*/ 207 w 439"/>
                    <a:gd name="T15" fmla="*/ 115 h 115"/>
                    <a:gd name="T16" fmla="*/ 262 w 439"/>
                    <a:gd name="T17" fmla="*/ 115 h 115"/>
                    <a:gd name="T18" fmla="*/ 311 w 439"/>
                    <a:gd name="T19" fmla="*/ 107 h 115"/>
                    <a:gd name="T20" fmla="*/ 349 w 439"/>
                    <a:gd name="T21" fmla="*/ 97 h 115"/>
                    <a:gd name="T22" fmla="*/ 382 w 439"/>
                    <a:gd name="T23" fmla="*/ 86 h 115"/>
                    <a:gd name="T24" fmla="*/ 406 w 439"/>
                    <a:gd name="T25" fmla="*/ 73 h 115"/>
                    <a:gd name="T26" fmla="*/ 424 w 439"/>
                    <a:gd name="T27" fmla="*/ 61 h 115"/>
                    <a:gd name="T28" fmla="*/ 435 w 439"/>
                    <a:gd name="T29" fmla="*/ 54 h 115"/>
                    <a:gd name="T30" fmla="*/ 439 w 439"/>
                    <a:gd name="T31" fmla="*/ 52 h 115"/>
                    <a:gd name="T32" fmla="*/ 431 w 439"/>
                    <a:gd name="T33" fmla="*/ 52 h 115"/>
                    <a:gd name="T34" fmla="*/ 416 w 439"/>
                    <a:gd name="T35" fmla="*/ 57 h 115"/>
                    <a:gd name="T36" fmla="*/ 389 w 439"/>
                    <a:gd name="T37" fmla="*/ 63 h 115"/>
                    <a:gd name="T38" fmla="*/ 359 w 439"/>
                    <a:gd name="T39" fmla="*/ 73 h 115"/>
                    <a:gd name="T40" fmla="*/ 319 w 439"/>
                    <a:gd name="T41" fmla="*/ 78 h 115"/>
                    <a:gd name="T42" fmla="*/ 277 w 439"/>
                    <a:gd name="T43" fmla="*/ 82 h 115"/>
                    <a:gd name="T44" fmla="*/ 234 w 439"/>
                    <a:gd name="T45" fmla="*/ 84 h 115"/>
                    <a:gd name="T46" fmla="*/ 188 w 439"/>
                    <a:gd name="T47" fmla="*/ 82 h 115"/>
                    <a:gd name="T48" fmla="*/ 144 w 439"/>
                    <a:gd name="T49" fmla="*/ 73 h 115"/>
                    <a:gd name="T50" fmla="*/ 112 w 439"/>
                    <a:gd name="T51" fmla="*/ 61 h 115"/>
                    <a:gd name="T52" fmla="*/ 83 w 439"/>
                    <a:gd name="T53" fmla="*/ 48 h 115"/>
                    <a:gd name="T54" fmla="*/ 62 w 439"/>
                    <a:gd name="T55" fmla="*/ 35 h 115"/>
                    <a:gd name="T56" fmla="*/ 45 w 439"/>
                    <a:gd name="T57" fmla="*/ 21 h 115"/>
                    <a:gd name="T58" fmla="*/ 32 w 439"/>
                    <a:gd name="T59" fmla="*/ 10 h 115"/>
                    <a:gd name="T60" fmla="*/ 23 w 439"/>
                    <a:gd name="T61" fmla="*/ 4 h 115"/>
                    <a:gd name="T62" fmla="*/ 15 w 439"/>
                    <a:gd name="T63" fmla="*/ 0 h 115"/>
                    <a:gd name="T64" fmla="*/ 4 w 439"/>
                    <a:gd name="T65" fmla="*/ 4 h 115"/>
                    <a:gd name="T66" fmla="*/ 0 w 439"/>
                    <a:gd name="T67" fmla="*/ 14 h 115"/>
                    <a:gd name="T68" fmla="*/ 0 w 439"/>
                    <a:gd name="T69" fmla="*/ 27 h 115"/>
                    <a:gd name="T70" fmla="*/ 5 w 439"/>
                    <a:gd name="T71" fmla="*/ 42 h 1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115"/>
                    <a:gd name="T110" fmla="*/ 439 w 439"/>
                    <a:gd name="T111" fmla="*/ 115 h 1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115">
                      <a:moveTo>
                        <a:pt x="5" y="42"/>
                      </a:moveTo>
                      <a:lnTo>
                        <a:pt x="7" y="44"/>
                      </a:lnTo>
                      <a:lnTo>
                        <a:pt x="9" y="46"/>
                      </a:lnTo>
                      <a:lnTo>
                        <a:pt x="15" y="52"/>
                      </a:lnTo>
                      <a:lnTo>
                        <a:pt x="19" y="56"/>
                      </a:lnTo>
                      <a:lnTo>
                        <a:pt x="26" y="61"/>
                      </a:lnTo>
                      <a:lnTo>
                        <a:pt x="36" y="67"/>
                      </a:lnTo>
                      <a:lnTo>
                        <a:pt x="45" y="75"/>
                      </a:lnTo>
                      <a:lnTo>
                        <a:pt x="59" y="80"/>
                      </a:lnTo>
                      <a:lnTo>
                        <a:pt x="72" y="86"/>
                      </a:lnTo>
                      <a:lnTo>
                        <a:pt x="89" y="92"/>
                      </a:lnTo>
                      <a:lnTo>
                        <a:pt x="108" y="97"/>
                      </a:lnTo>
                      <a:lnTo>
                        <a:pt x="127" y="103"/>
                      </a:lnTo>
                      <a:lnTo>
                        <a:pt x="152" y="107"/>
                      </a:lnTo>
                      <a:lnTo>
                        <a:pt x="176" y="111"/>
                      </a:lnTo>
                      <a:lnTo>
                        <a:pt x="207" y="115"/>
                      </a:lnTo>
                      <a:lnTo>
                        <a:pt x="235" y="115"/>
                      </a:lnTo>
                      <a:lnTo>
                        <a:pt x="262" y="115"/>
                      </a:lnTo>
                      <a:lnTo>
                        <a:pt x="287" y="111"/>
                      </a:lnTo>
                      <a:lnTo>
                        <a:pt x="311" y="107"/>
                      </a:lnTo>
                      <a:lnTo>
                        <a:pt x="330" y="103"/>
                      </a:lnTo>
                      <a:lnTo>
                        <a:pt x="349" y="97"/>
                      </a:lnTo>
                      <a:lnTo>
                        <a:pt x="367" y="92"/>
                      </a:lnTo>
                      <a:lnTo>
                        <a:pt x="382" y="86"/>
                      </a:lnTo>
                      <a:lnTo>
                        <a:pt x="395" y="80"/>
                      </a:lnTo>
                      <a:lnTo>
                        <a:pt x="406" y="73"/>
                      </a:lnTo>
                      <a:lnTo>
                        <a:pt x="416" y="67"/>
                      </a:lnTo>
                      <a:lnTo>
                        <a:pt x="424" y="61"/>
                      </a:lnTo>
                      <a:lnTo>
                        <a:pt x="429" y="57"/>
                      </a:lnTo>
                      <a:lnTo>
                        <a:pt x="435" y="54"/>
                      </a:lnTo>
                      <a:lnTo>
                        <a:pt x="437" y="52"/>
                      </a:lnTo>
                      <a:lnTo>
                        <a:pt x="439" y="52"/>
                      </a:lnTo>
                      <a:lnTo>
                        <a:pt x="435" y="52"/>
                      </a:lnTo>
                      <a:lnTo>
                        <a:pt x="431" y="52"/>
                      </a:lnTo>
                      <a:lnTo>
                        <a:pt x="425" y="54"/>
                      </a:lnTo>
                      <a:lnTo>
                        <a:pt x="416" y="57"/>
                      </a:lnTo>
                      <a:lnTo>
                        <a:pt x="405" y="61"/>
                      </a:lnTo>
                      <a:lnTo>
                        <a:pt x="389" y="63"/>
                      </a:lnTo>
                      <a:lnTo>
                        <a:pt x="374" y="67"/>
                      </a:lnTo>
                      <a:lnTo>
                        <a:pt x="359" y="73"/>
                      </a:lnTo>
                      <a:lnTo>
                        <a:pt x="338" y="75"/>
                      </a:lnTo>
                      <a:lnTo>
                        <a:pt x="319" y="78"/>
                      </a:lnTo>
                      <a:lnTo>
                        <a:pt x="298" y="80"/>
                      </a:lnTo>
                      <a:lnTo>
                        <a:pt x="277" y="82"/>
                      </a:lnTo>
                      <a:lnTo>
                        <a:pt x="254" y="84"/>
                      </a:lnTo>
                      <a:lnTo>
                        <a:pt x="234" y="84"/>
                      </a:lnTo>
                      <a:lnTo>
                        <a:pt x="211" y="82"/>
                      </a:lnTo>
                      <a:lnTo>
                        <a:pt x="188" y="82"/>
                      </a:lnTo>
                      <a:lnTo>
                        <a:pt x="165" y="76"/>
                      </a:lnTo>
                      <a:lnTo>
                        <a:pt x="144" y="73"/>
                      </a:lnTo>
                      <a:lnTo>
                        <a:pt x="127" y="67"/>
                      </a:lnTo>
                      <a:lnTo>
                        <a:pt x="112" y="61"/>
                      </a:lnTo>
                      <a:lnTo>
                        <a:pt x="95" y="54"/>
                      </a:lnTo>
                      <a:lnTo>
                        <a:pt x="83" y="48"/>
                      </a:lnTo>
                      <a:lnTo>
                        <a:pt x="72" y="42"/>
                      </a:lnTo>
                      <a:lnTo>
                        <a:pt x="62" y="35"/>
                      </a:lnTo>
                      <a:lnTo>
                        <a:pt x="53" y="27"/>
                      </a:lnTo>
                      <a:lnTo>
                        <a:pt x="45" y="21"/>
                      </a:lnTo>
                      <a:lnTo>
                        <a:pt x="38" y="16"/>
                      </a:lnTo>
                      <a:lnTo>
                        <a:pt x="32" y="10"/>
                      </a:lnTo>
                      <a:lnTo>
                        <a:pt x="26" y="6"/>
                      </a:lnTo>
                      <a:lnTo>
                        <a:pt x="23" y="4"/>
                      </a:lnTo>
                      <a:lnTo>
                        <a:pt x="19" y="0"/>
                      </a:lnTo>
                      <a:lnTo>
                        <a:pt x="15" y="0"/>
                      </a:lnTo>
                      <a:lnTo>
                        <a:pt x="9" y="0"/>
                      </a:lnTo>
                      <a:lnTo>
                        <a:pt x="4" y="4"/>
                      </a:lnTo>
                      <a:lnTo>
                        <a:pt x="2" y="8"/>
                      </a:lnTo>
                      <a:lnTo>
                        <a:pt x="0" y="14"/>
                      </a:lnTo>
                      <a:lnTo>
                        <a:pt x="0" y="19"/>
                      </a:lnTo>
                      <a:lnTo>
                        <a:pt x="0" y="27"/>
                      </a:lnTo>
                      <a:lnTo>
                        <a:pt x="2" y="35"/>
                      </a:lnTo>
                      <a:lnTo>
                        <a:pt x="5" y="42"/>
                      </a:lnTo>
                      <a:close/>
                    </a:path>
                  </a:pathLst>
                </a:custGeom>
                <a:solidFill>
                  <a:srgbClr val="000000"/>
                </a:solidFill>
                <a:ln w="9525">
                  <a:noFill/>
                  <a:round/>
                  <a:headEnd/>
                  <a:tailEnd/>
                </a:ln>
              </p:spPr>
              <p:txBody>
                <a:bodyPr/>
                <a:lstStyle/>
                <a:p>
                  <a:pPr algn="l" eaLnBrk="1" hangingPunct="1"/>
                  <a:endParaRPr lang="en-US"/>
                </a:p>
              </p:txBody>
            </p:sp>
            <p:sp>
              <p:nvSpPr>
                <p:cNvPr id="1355" name="Freeform 771"/>
                <p:cNvSpPr>
                  <a:spLocks noChangeAspect="1"/>
                </p:cNvSpPr>
                <p:nvPr/>
              </p:nvSpPr>
              <p:spPr bwMode="auto">
                <a:xfrm>
                  <a:off x="3252" y="2134"/>
                  <a:ext cx="18" cy="106"/>
                </a:xfrm>
                <a:custGeom>
                  <a:avLst/>
                  <a:gdLst>
                    <a:gd name="T0" fmla="*/ 35 w 36"/>
                    <a:gd name="T1" fmla="*/ 8 h 213"/>
                    <a:gd name="T2" fmla="*/ 35 w 36"/>
                    <a:gd name="T3" fmla="*/ 10 h 213"/>
                    <a:gd name="T4" fmla="*/ 33 w 36"/>
                    <a:gd name="T5" fmla="*/ 16 h 213"/>
                    <a:gd name="T6" fmla="*/ 33 w 36"/>
                    <a:gd name="T7" fmla="*/ 21 h 213"/>
                    <a:gd name="T8" fmla="*/ 33 w 36"/>
                    <a:gd name="T9" fmla="*/ 27 h 213"/>
                    <a:gd name="T10" fmla="*/ 31 w 36"/>
                    <a:gd name="T11" fmla="*/ 33 h 213"/>
                    <a:gd name="T12" fmla="*/ 31 w 36"/>
                    <a:gd name="T13" fmla="*/ 40 h 213"/>
                    <a:gd name="T14" fmla="*/ 29 w 36"/>
                    <a:gd name="T15" fmla="*/ 46 h 213"/>
                    <a:gd name="T16" fmla="*/ 29 w 36"/>
                    <a:gd name="T17" fmla="*/ 54 h 213"/>
                    <a:gd name="T18" fmla="*/ 29 w 36"/>
                    <a:gd name="T19" fmla="*/ 63 h 213"/>
                    <a:gd name="T20" fmla="*/ 29 w 36"/>
                    <a:gd name="T21" fmla="*/ 73 h 213"/>
                    <a:gd name="T22" fmla="*/ 29 w 36"/>
                    <a:gd name="T23" fmla="*/ 80 h 213"/>
                    <a:gd name="T24" fmla="*/ 29 w 36"/>
                    <a:gd name="T25" fmla="*/ 90 h 213"/>
                    <a:gd name="T26" fmla="*/ 29 w 36"/>
                    <a:gd name="T27" fmla="*/ 99 h 213"/>
                    <a:gd name="T28" fmla="*/ 29 w 36"/>
                    <a:gd name="T29" fmla="*/ 109 h 213"/>
                    <a:gd name="T30" fmla="*/ 29 w 36"/>
                    <a:gd name="T31" fmla="*/ 116 h 213"/>
                    <a:gd name="T32" fmla="*/ 29 w 36"/>
                    <a:gd name="T33" fmla="*/ 126 h 213"/>
                    <a:gd name="T34" fmla="*/ 31 w 36"/>
                    <a:gd name="T35" fmla="*/ 135 h 213"/>
                    <a:gd name="T36" fmla="*/ 31 w 36"/>
                    <a:gd name="T37" fmla="*/ 145 h 213"/>
                    <a:gd name="T38" fmla="*/ 31 w 36"/>
                    <a:gd name="T39" fmla="*/ 154 h 213"/>
                    <a:gd name="T40" fmla="*/ 33 w 36"/>
                    <a:gd name="T41" fmla="*/ 162 h 213"/>
                    <a:gd name="T42" fmla="*/ 33 w 36"/>
                    <a:gd name="T43" fmla="*/ 171 h 213"/>
                    <a:gd name="T44" fmla="*/ 33 w 36"/>
                    <a:gd name="T45" fmla="*/ 179 h 213"/>
                    <a:gd name="T46" fmla="*/ 33 w 36"/>
                    <a:gd name="T47" fmla="*/ 187 h 213"/>
                    <a:gd name="T48" fmla="*/ 35 w 36"/>
                    <a:gd name="T49" fmla="*/ 192 h 213"/>
                    <a:gd name="T50" fmla="*/ 35 w 36"/>
                    <a:gd name="T51" fmla="*/ 198 h 213"/>
                    <a:gd name="T52" fmla="*/ 35 w 36"/>
                    <a:gd name="T53" fmla="*/ 204 h 213"/>
                    <a:gd name="T54" fmla="*/ 35 w 36"/>
                    <a:gd name="T55" fmla="*/ 208 h 213"/>
                    <a:gd name="T56" fmla="*/ 35 w 36"/>
                    <a:gd name="T57" fmla="*/ 211 h 213"/>
                    <a:gd name="T58" fmla="*/ 35 w 36"/>
                    <a:gd name="T59" fmla="*/ 213 h 213"/>
                    <a:gd name="T60" fmla="*/ 36 w 36"/>
                    <a:gd name="T61" fmla="*/ 213 h 213"/>
                    <a:gd name="T62" fmla="*/ 35 w 36"/>
                    <a:gd name="T63" fmla="*/ 211 h 213"/>
                    <a:gd name="T64" fmla="*/ 33 w 36"/>
                    <a:gd name="T65" fmla="*/ 206 h 213"/>
                    <a:gd name="T66" fmla="*/ 29 w 36"/>
                    <a:gd name="T67" fmla="*/ 202 h 213"/>
                    <a:gd name="T68" fmla="*/ 27 w 36"/>
                    <a:gd name="T69" fmla="*/ 198 h 213"/>
                    <a:gd name="T70" fmla="*/ 25 w 36"/>
                    <a:gd name="T71" fmla="*/ 192 h 213"/>
                    <a:gd name="T72" fmla="*/ 23 w 36"/>
                    <a:gd name="T73" fmla="*/ 187 h 213"/>
                    <a:gd name="T74" fmla="*/ 19 w 36"/>
                    <a:gd name="T75" fmla="*/ 179 h 213"/>
                    <a:gd name="T76" fmla="*/ 16 w 36"/>
                    <a:gd name="T77" fmla="*/ 171 h 213"/>
                    <a:gd name="T78" fmla="*/ 14 w 36"/>
                    <a:gd name="T79" fmla="*/ 162 h 213"/>
                    <a:gd name="T80" fmla="*/ 10 w 36"/>
                    <a:gd name="T81" fmla="*/ 152 h 213"/>
                    <a:gd name="T82" fmla="*/ 8 w 36"/>
                    <a:gd name="T83" fmla="*/ 141 h 213"/>
                    <a:gd name="T84" fmla="*/ 6 w 36"/>
                    <a:gd name="T85" fmla="*/ 130 h 213"/>
                    <a:gd name="T86" fmla="*/ 4 w 36"/>
                    <a:gd name="T87" fmla="*/ 118 h 213"/>
                    <a:gd name="T88" fmla="*/ 2 w 36"/>
                    <a:gd name="T89" fmla="*/ 105 h 213"/>
                    <a:gd name="T90" fmla="*/ 0 w 36"/>
                    <a:gd name="T91" fmla="*/ 92 h 213"/>
                    <a:gd name="T92" fmla="*/ 0 w 36"/>
                    <a:gd name="T93" fmla="*/ 78 h 213"/>
                    <a:gd name="T94" fmla="*/ 0 w 36"/>
                    <a:gd name="T95" fmla="*/ 67 h 213"/>
                    <a:gd name="T96" fmla="*/ 0 w 36"/>
                    <a:gd name="T97" fmla="*/ 57 h 213"/>
                    <a:gd name="T98" fmla="*/ 0 w 36"/>
                    <a:gd name="T99" fmla="*/ 46 h 213"/>
                    <a:gd name="T100" fmla="*/ 0 w 36"/>
                    <a:gd name="T101" fmla="*/ 38 h 213"/>
                    <a:gd name="T102" fmla="*/ 2 w 36"/>
                    <a:gd name="T103" fmla="*/ 31 h 213"/>
                    <a:gd name="T104" fmla="*/ 4 w 36"/>
                    <a:gd name="T105" fmla="*/ 25 h 213"/>
                    <a:gd name="T106" fmla="*/ 4 w 36"/>
                    <a:gd name="T107" fmla="*/ 17 h 213"/>
                    <a:gd name="T108" fmla="*/ 6 w 36"/>
                    <a:gd name="T109" fmla="*/ 12 h 213"/>
                    <a:gd name="T110" fmla="*/ 8 w 36"/>
                    <a:gd name="T111" fmla="*/ 8 h 213"/>
                    <a:gd name="T112" fmla="*/ 10 w 36"/>
                    <a:gd name="T113" fmla="*/ 6 h 213"/>
                    <a:gd name="T114" fmla="*/ 10 w 36"/>
                    <a:gd name="T115" fmla="*/ 0 h 213"/>
                    <a:gd name="T116" fmla="*/ 12 w 36"/>
                    <a:gd name="T117" fmla="*/ 0 h 213"/>
                    <a:gd name="T118" fmla="*/ 35 w 36"/>
                    <a:gd name="T119" fmla="*/ 8 h 213"/>
                    <a:gd name="T120" fmla="*/ 35 w 36"/>
                    <a:gd name="T121" fmla="*/ 8 h 2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213"/>
                    <a:gd name="T185" fmla="*/ 36 w 36"/>
                    <a:gd name="T186" fmla="*/ 213 h 2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213">
                      <a:moveTo>
                        <a:pt x="35" y="8"/>
                      </a:moveTo>
                      <a:lnTo>
                        <a:pt x="35" y="10"/>
                      </a:lnTo>
                      <a:lnTo>
                        <a:pt x="33" y="16"/>
                      </a:lnTo>
                      <a:lnTo>
                        <a:pt x="33" y="21"/>
                      </a:lnTo>
                      <a:lnTo>
                        <a:pt x="33" y="27"/>
                      </a:lnTo>
                      <a:lnTo>
                        <a:pt x="31" y="33"/>
                      </a:lnTo>
                      <a:lnTo>
                        <a:pt x="31" y="40"/>
                      </a:lnTo>
                      <a:lnTo>
                        <a:pt x="29" y="46"/>
                      </a:lnTo>
                      <a:lnTo>
                        <a:pt x="29" y="54"/>
                      </a:lnTo>
                      <a:lnTo>
                        <a:pt x="29" y="63"/>
                      </a:lnTo>
                      <a:lnTo>
                        <a:pt x="29" y="73"/>
                      </a:lnTo>
                      <a:lnTo>
                        <a:pt x="29" y="80"/>
                      </a:lnTo>
                      <a:lnTo>
                        <a:pt x="29" y="90"/>
                      </a:lnTo>
                      <a:lnTo>
                        <a:pt x="29" y="99"/>
                      </a:lnTo>
                      <a:lnTo>
                        <a:pt x="29" y="109"/>
                      </a:lnTo>
                      <a:lnTo>
                        <a:pt x="29" y="116"/>
                      </a:lnTo>
                      <a:lnTo>
                        <a:pt x="29" y="126"/>
                      </a:lnTo>
                      <a:lnTo>
                        <a:pt x="31" y="135"/>
                      </a:lnTo>
                      <a:lnTo>
                        <a:pt x="31" y="145"/>
                      </a:lnTo>
                      <a:lnTo>
                        <a:pt x="31" y="154"/>
                      </a:lnTo>
                      <a:lnTo>
                        <a:pt x="33" y="162"/>
                      </a:lnTo>
                      <a:lnTo>
                        <a:pt x="33" y="171"/>
                      </a:lnTo>
                      <a:lnTo>
                        <a:pt x="33" y="179"/>
                      </a:lnTo>
                      <a:lnTo>
                        <a:pt x="33" y="187"/>
                      </a:lnTo>
                      <a:lnTo>
                        <a:pt x="35" y="192"/>
                      </a:lnTo>
                      <a:lnTo>
                        <a:pt x="35" y="198"/>
                      </a:lnTo>
                      <a:lnTo>
                        <a:pt x="35" y="204"/>
                      </a:lnTo>
                      <a:lnTo>
                        <a:pt x="35" y="208"/>
                      </a:lnTo>
                      <a:lnTo>
                        <a:pt x="35" y="211"/>
                      </a:lnTo>
                      <a:lnTo>
                        <a:pt x="35" y="213"/>
                      </a:lnTo>
                      <a:lnTo>
                        <a:pt x="36" y="213"/>
                      </a:lnTo>
                      <a:lnTo>
                        <a:pt x="35" y="211"/>
                      </a:lnTo>
                      <a:lnTo>
                        <a:pt x="33" y="206"/>
                      </a:lnTo>
                      <a:lnTo>
                        <a:pt x="29" y="202"/>
                      </a:lnTo>
                      <a:lnTo>
                        <a:pt x="27" y="198"/>
                      </a:lnTo>
                      <a:lnTo>
                        <a:pt x="25" y="192"/>
                      </a:lnTo>
                      <a:lnTo>
                        <a:pt x="23" y="187"/>
                      </a:lnTo>
                      <a:lnTo>
                        <a:pt x="19" y="179"/>
                      </a:lnTo>
                      <a:lnTo>
                        <a:pt x="16" y="171"/>
                      </a:lnTo>
                      <a:lnTo>
                        <a:pt x="14" y="162"/>
                      </a:lnTo>
                      <a:lnTo>
                        <a:pt x="10" y="152"/>
                      </a:lnTo>
                      <a:lnTo>
                        <a:pt x="8" y="141"/>
                      </a:lnTo>
                      <a:lnTo>
                        <a:pt x="6" y="130"/>
                      </a:lnTo>
                      <a:lnTo>
                        <a:pt x="4" y="118"/>
                      </a:lnTo>
                      <a:lnTo>
                        <a:pt x="2" y="105"/>
                      </a:lnTo>
                      <a:lnTo>
                        <a:pt x="0" y="92"/>
                      </a:lnTo>
                      <a:lnTo>
                        <a:pt x="0" y="78"/>
                      </a:lnTo>
                      <a:lnTo>
                        <a:pt x="0" y="67"/>
                      </a:lnTo>
                      <a:lnTo>
                        <a:pt x="0" y="57"/>
                      </a:lnTo>
                      <a:lnTo>
                        <a:pt x="0" y="46"/>
                      </a:lnTo>
                      <a:lnTo>
                        <a:pt x="0" y="38"/>
                      </a:lnTo>
                      <a:lnTo>
                        <a:pt x="2" y="31"/>
                      </a:lnTo>
                      <a:lnTo>
                        <a:pt x="4" y="25"/>
                      </a:lnTo>
                      <a:lnTo>
                        <a:pt x="4" y="17"/>
                      </a:lnTo>
                      <a:lnTo>
                        <a:pt x="6" y="12"/>
                      </a:lnTo>
                      <a:lnTo>
                        <a:pt x="8" y="8"/>
                      </a:lnTo>
                      <a:lnTo>
                        <a:pt x="10" y="6"/>
                      </a:lnTo>
                      <a:lnTo>
                        <a:pt x="10" y="0"/>
                      </a:lnTo>
                      <a:lnTo>
                        <a:pt x="12" y="0"/>
                      </a:lnTo>
                      <a:lnTo>
                        <a:pt x="35" y="8"/>
                      </a:lnTo>
                      <a:close/>
                    </a:path>
                  </a:pathLst>
                </a:custGeom>
                <a:solidFill>
                  <a:srgbClr val="000000"/>
                </a:solidFill>
                <a:ln w="9525">
                  <a:noFill/>
                  <a:round/>
                  <a:headEnd/>
                  <a:tailEnd/>
                </a:ln>
              </p:spPr>
              <p:txBody>
                <a:bodyPr/>
                <a:lstStyle/>
                <a:p>
                  <a:pPr algn="l" eaLnBrk="1" hangingPunct="1"/>
                  <a:endParaRPr lang="en-US"/>
                </a:p>
              </p:txBody>
            </p:sp>
            <p:sp>
              <p:nvSpPr>
                <p:cNvPr id="1356" name="Freeform 772"/>
                <p:cNvSpPr>
                  <a:spLocks noChangeAspect="1"/>
                </p:cNvSpPr>
                <p:nvPr/>
              </p:nvSpPr>
              <p:spPr bwMode="auto">
                <a:xfrm>
                  <a:off x="3269" y="2127"/>
                  <a:ext cx="141" cy="33"/>
                </a:xfrm>
                <a:custGeom>
                  <a:avLst/>
                  <a:gdLst>
                    <a:gd name="T0" fmla="*/ 7 w 281"/>
                    <a:gd name="T1" fmla="*/ 0 h 67"/>
                    <a:gd name="T2" fmla="*/ 15 w 281"/>
                    <a:gd name="T3" fmla="*/ 4 h 67"/>
                    <a:gd name="T4" fmla="*/ 28 w 281"/>
                    <a:gd name="T5" fmla="*/ 8 h 67"/>
                    <a:gd name="T6" fmla="*/ 45 w 281"/>
                    <a:gd name="T7" fmla="*/ 13 h 67"/>
                    <a:gd name="T8" fmla="*/ 64 w 281"/>
                    <a:gd name="T9" fmla="*/ 19 h 67"/>
                    <a:gd name="T10" fmla="*/ 87 w 281"/>
                    <a:gd name="T11" fmla="*/ 25 h 67"/>
                    <a:gd name="T12" fmla="*/ 112 w 281"/>
                    <a:gd name="T13" fmla="*/ 29 h 67"/>
                    <a:gd name="T14" fmla="*/ 138 w 281"/>
                    <a:gd name="T15" fmla="*/ 32 h 67"/>
                    <a:gd name="T16" fmla="*/ 163 w 281"/>
                    <a:gd name="T17" fmla="*/ 32 h 67"/>
                    <a:gd name="T18" fmla="*/ 190 w 281"/>
                    <a:gd name="T19" fmla="*/ 29 h 67"/>
                    <a:gd name="T20" fmla="*/ 214 w 281"/>
                    <a:gd name="T21" fmla="*/ 25 h 67"/>
                    <a:gd name="T22" fmla="*/ 235 w 281"/>
                    <a:gd name="T23" fmla="*/ 21 h 67"/>
                    <a:gd name="T24" fmla="*/ 254 w 281"/>
                    <a:gd name="T25" fmla="*/ 15 h 67"/>
                    <a:gd name="T26" fmla="*/ 268 w 281"/>
                    <a:gd name="T27" fmla="*/ 10 h 67"/>
                    <a:gd name="T28" fmla="*/ 277 w 281"/>
                    <a:gd name="T29" fmla="*/ 6 h 67"/>
                    <a:gd name="T30" fmla="*/ 281 w 281"/>
                    <a:gd name="T31" fmla="*/ 6 h 67"/>
                    <a:gd name="T32" fmla="*/ 279 w 281"/>
                    <a:gd name="T33" fmla="*/ 8 h 67"/>
                    <a:gd name="T34" fmla="*/ 273 w 281"/>
                    <a:gd name="T35" fmla="*/ 15 h 67"/>
                    <a:gd name="T36" fmla="*/ 262 w 281"/>
                    <a:gd name="T37" fmla="*/ 25 h 67"/>
                    <a:gd name="T38" fmla="*/ 249 w 281"/>
                    <a:gd name="T39" fmla="*/ 36 h 67"/>
                    <a:gd name="T40" fmla="*/ 230 w 281"/>
                    <a:gd name="T41" fmla="*/ 48 h 67"/>
                    <a:gd name="T42" fmla="*/ 205 w 281"/>
                    <a:gd name="T43" fmla="*/ 57 h 67"/>
                    <a:gd name="T44" fmla="*/ 174 w 281"/>
                    <a:gd name="T45" fmla="*/ 65 h 67"/>
                    <a:gd name="T46" fmla="*/ 140 w 281"/>
                    <a:gd name="T47" fmla="*/ 67 h 67"/>
                    <a:gd name="T48" fmla="*/ 104 w 281"/>
                    <a:gd name="T49" fmla="*/ 65 h 67"/>
                    <a:gd name="T50" fmla="*/ 74 w 281"/>
                    <a:gd name="T51" fmla="*/ 59 h 67"/>
                    <a:gd name="T52" fmla="*/ 51 w 281"/>
                    <a:gd name="T53" fmla="*/ 53 h 67"/>
                    <a:gd name="T54" fmla="*/ 32 w 281"/>
                    <a:gd name="T55" fmla="*/ 46 h 67"/>
                    <a:gd name="T56" fmla="*/ 17 w 281"/>
                    <a:gd name="T57" fmla="*/ 36 h 67"/>
                    <a:gd name="T58" fmla="*/ 7 w 281"/>
                    <a:gd name="T59" fmla="*/ 30 h 67"/>
                    <a:gd name="T60" fmla="*/ 0 w 281"/>
                    <a:gd name="T61" fmla="*/ 25 h 67"/>
                    <a:gd name="T62" fmla="*/ 5 w 281"/>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1"/>
                    <a:gd name="T97" fmla="*/ 0 h 67"/>
                    <a:gd name="T98" fmla="*/ 281 w 281"/>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1" h="67">
                      <a:moveTo>
                        <a:pt x="5" y="0"/>
                      </a:moveTo>
                      <a:lnTo>
                        <a:pt x="7" y="0"/>
                      </a:lnTo>
                      <a:lnTo>
                        <a:pt x="9" y="2"/>
                      </a:lnTo>
                      <a:lnTo>
                        <a:pt x="15" y="4"/>
                      </a:lnTo>
                      <a:lnTo>
                        <a:pt x="20" y="6"/>
                      </a:lnTo>
                      <a:lnTo>
                        <a:pt x="28" y="8"/>
                      </a:lnTo>
                      <a:lnTo>
                        <a:pt x="36" y="11"/>
                      </a:lnTo>
                      <a:lnTo>
                        <a:pt x="45" y="13"/>
                      </a:lnTo>
                      <a:lnTo>
                        <a:pt x="53" y="15"/>
                      </a:lnTo>
                      <a:lnTo>
                        <a:pt x="64" y="19"/>
                      </a:lnTo>
                      <a:lnTo>
                        <a:pt x="76" y="21"/>
                      </a:lnTo>
                      <a:lnTo>
                        <a:pt x="87" y="25"/>
                      </a:lnTo>
                      <a:lnTo>
                        <a:pt x="98" y="27"/>
                      </a:lnTo>
                      <a:lnTo>
                        <a:pt x="112" y="29"/>
                      </a:lnTo>
                      <a:lnTo>
                        <a:pt x="125" y="30"/>
                      </a:lnTo>
                      <a:lnTo>
                        <a:pt x="138" y="32"/>
                      </a:lnTo>
                      <a:lnTo>
                        <a:pt x="150" y="32"/>
                      </a:lnTo>
                      <a:lnTo>
                        <a:pt x="163" y="32"/>
                      </a:lnTo>
                      <a:lnTo>
                        <a:pt x="176" y="30"/>
                      </a:lnTo>
                      <a:lnTo>
                        <a:pt x="190" y="29"/>
                      </a:lnTo>
                      <a:lnTo>
                        <a:pt x="201" y="27"/>
                      </a:lnTo>
                      <a:lnTo>
                        <a:pt x="214" y="25"/>
                      </a:lnTo>
                      <a:lnTo>
                        <a:pt x="224" y="23"/>
                      </a:lnTo>
                      <a:lnTo>
                        <a:pt x="235" y="21"/>
                      </a:lnTo>
                      <a:lnTo>
                        <a:pt x="245" y="17"/>
                      </a:lnTo>
                      <a:lnTo>
                        <a:pt x="254" y="15"/>
                      </a:lnTo>
                      <a:lnTo>
                        <a:pt x="262" y="11"/>
                      </a:lnTo>
                      <a:lnTo>
                        <a:pt x="268" y="10"/>
                      </a:lnTo>
                      <a:lnTo>
                        <a:pt x="273" y="8"/>
                      </a:lnTo>
                      <a:lnTo>
                        <a:pt x="277" y="6"/>
                      </a:lnTo>
                      <a:lnTo>
                        <a:pt x="281" y="6"/>
                      </a:lnTo>
                      <a:lnTo>
                        <a:pt x="279" y="8"/>
                      </a:lnTo>
                      <a:lnTo>
                        <a:pt x="277" y="10"/>
                      </a:lnTo>
                      <a:lnTo>
                        <a:pt x="273" y="15"/>
                      </a:lnTo>
                      <a:lnTo>
                        <a:pt x="268" y="19"/>
                      </a:lnTo>
                      <a:lnTo>
                        <a:pt x="262" y="25"/>
                      </a:lnTo>
                      <a:lnTo>
                        <a:pt x="256" y="29"/>
                      </a:lnTo>
                      <a:lnTo>
                        <a:pt x="249" y="36"/>
                      </a:lnTo>
                      <a:lnTo>
                        <a:pt x="239" y="42"/>
                      </a:lnTo>
                      <a:lnTo>
                        <a:pt x="230" y="48"/>
                      </a:lnTo>
                      <a:lnTo>
                        <a:pt x="218" y="51"/>
                      </a:lnTo>
                      <a:lnTo>
                        <a:pt x="205" y="57"/>
                      </a:lnTo>
                      <a:lnTo>
                        <a:pt x="190" y="61"/>
                      </a:lnTo>
                      <a:lnTo>
                        <a:pt x="174" y="65"/>
                      </a:lnTo>
                      <a:lnTo>
                        <a:pt x="157" y="67"/>
                      </a:lnTo>
                      <a:lnTo>
                        <a:pt x="140" y="67"/>
                      </a:lnTo>
                      <a:lnTo>
                        <a:pt x="121" y="67"/>
                      </a:lnTo>
                      <a:lnTo>
                        <a:pt x="104" y="65"/>
                      </a:lnTo>
                      <a:lnTo>
                        <a:pt x="87" y="63"/>
                      </a:lnTo>
                      <a:lnTo>
                        <a:pt x="74" y="59"/>
                      </a:lnTo>
                      <a:lnTo>
                        <a:pt x="60" y="57"/>
                      </a:lnTo>
                      <a:lnTo>
                        <a:pt x="51" y="53"/>
                      </a:lnTo>
                      <a:lnTo>
                        <a:pt x="39" y="49"/>
                      </a:lnTo>
                      <a:lnTo>
                        <a:pt x="32" y="46"/>
                      </a:lnTo>
                      <a:lnTo>
                        <a:pt x="22" y="42"/>
                      </a:lnTo>
                      <a:lnTo>
                        <a:pt x="17" y="36"/>
                      </a:lnTo>
                      <a:lnTo>
                        <a:pt x="11" y="32"/>
                      </a:lnTo>
                      <a:lnTo>
                        <a:pt x="7" y="30"/>
                      </a:lnTo>
                      <a:lnTo>
                        <a:pt x="1" y="25"/>
                      </a:lnTo>
                      <a:lnTo>
                        <a:pt x="0" y="25"/>
                      </a:lnTo>
                      <a:lnTo>
                        <a:pt x="5" y="0"/>
                      </a:lnTo>
                      <a:close/>
                    </a:path>
                  </a:pathLst>
                </a:custGeom>
                <a:solidFill>
                  <a:srgbClr val="000000"/>
                </a:solidFill>
                <a:ln w="9525">
                  <a:noFill/>
                  <a:round/>
                  <a:headEnd/>
                  <a:tailEnd/>
                </a:ln>
              </p:spPr>
              <p:txBody>
                <a:bodyPr/>
                <a:lstStyle/>
                <a:p>
                  <a:pPr algn="l" eaLnBrk="1" hangingPunct="1"/>
                  <a:endParaRPr lang="en-US"/>
                </a:p>
              </p:txBody>
            </p:sp>
            <p:sp>
              <p:nvSpPr>
                <p:cNvPr id="1357" name="Freeform 773"/>
                <p:cNvSpPr>
                  <a:spLocks noChangeAspect="1"/>
                </p:cNvSpPr>
                <p:nvPr/>
              </p:nvSpPr>
              <p:spPr bwMode="auto">
                <a:xfrm>
                  <a:off x="3393" y="2134"/>
                  <a:ext cx="22" cy="116"/>
                </a:xfrm>
                <a:custGeom>
                  <a:avLst/>
                  <a:gdLst>
                    <a:gd name="T0" fmla="*/ 43 w 43"/>
                    <a:gd name="T1" fmla="*/ 0 h 232"/>
                    <a:gd name="T2" fmla="*/ 41 w 43"/>
                    <a:gd name="T3" fmla="*/ 6 h 232"/>
                    <a:gd name="T4" fmla="*/ 41 w 43"/>
                    <a:gd name="T5" fmla="*/ 12 h 232"/>
                    <a:gd name="T6" fmla="*/ 40 w 43"/>
                    <a:gd name="T7" fmla="*/ 19 h 232"/>
                    <a:gd name="T8" fmla="*/ 40 w 43"/>
                    <a:gd name="T9" fmla="*/ 27 h 232"/>
                    <a:gd name="T10" fmla="*/ 38 w 43"/>
                    <a:gd name="T11" fmla="*/ 35 h 232"/>
                    <a:gd name="T12" fmla="*/ 38 w 43"/>
                    <a:gd name="T13" fmla="*/ 44 h 232"/>
                    <a:gd name="T14" fmla="*/ 36 w 43"/>
                    <a:gd name="T15" fmla="*/ 54 h 232"/>
                    <a:gd name="T16" fmla="*/ 36 w 43"/>
                    <a:gd name="T17" fmla="*/ 65 h 232"/>
                    <a:gd name="T18" fmla="*/ 34 w 43"/>
                    <a:gd name="T19" fmla="*/ 74 h 232"/>
                    <a:gd name="T20" fmla="*/ 34 w 43"/>
                    <a:gd name="T21" fmla="*/ 86 h 232"/>
                    <a:gd name="T22" fmla="*/ 32 w 43"/>
                    <a:gd name="T23" fmla="*/ 97 h 232"/>
                    <a:gd name="T24" fmla="*/ 32 w 43"/>
                    <a:gd name="T25" fmla="*/ 109 h 232"/>
                    <a:gd name="T26" fmla="*/ 32 w 43"/>
                    <a:gd name="T27" fmla="*/ 120 h 232"/>
                    <a:gd name="T28" fmla="*/ 34 w 43"/>
                    <a:gd name="T29" fmla="*/ 132 h 232"/>
                    <a:gd name="T30" fmla="*/ 34 w 43"/>
                    <a:gd name="T31" fmla="*/ 141 h 232"/>
                    <a:gd name="T32" fmla="*/ 34 w 43"/>
                    <a:gd name="T33" fmla="*/ 151 h 232"/>
                    <a:gd name="T34" fmla="*/ 34 w 43"/>
                    <a:gd name="T35" fmla="*/ 160 h 232"/>
                    <a:gd name="T36" fmla="*/ 34 w 43"/>
                    <a:gd name="T37" fmla="*/ 170 h 232"/>
                    <a:gd name="T38" fmla="*/ 34 w 43"/>
                    <a:gd name="T39" fmla="*/ 177 h 232"/>
                    <a:gd name="T40" fmla="*/ 36 w 43"/>
                    <a:gd name="T41" fmla="*/ 187 h 232"/>
                    <a:gd name="T42" fmla="*/ 36 w 43"/>
                    <a:gd name="T43" fmla="*/ 194 h 232"/>
                    <a:gd name="T44" fmla="*/ 36 w 43"/>
                    <a:gd name="T45" fmla="*/ 202 h 232"/>
                    <a:gd name="T46" fmla="*/ 36 w 43"/>
                    <a:gd name="T47" fmla="*/ 208 h 232"/>
                    <a:gd name="T48" fmla="*/ 38 w 43"/>
                    <a:gd name="T49" fmla="*/ 213 h 232"/>
                    <a:gd name="T50" fmla="*/ 38 w 43"/>
                    <a:gd name="T51" fmla="*/ 217 h 232"/>
                    <a:gd name="T52" fmla="*/ 40 w 43"/>
                    <a:gd name="T53" fmla="*/ 232 h 232"/>
                    <a:gd name="T54" fmla="*/ 36 w 43"/>
                    <a:gd name="T55" fmla="*/ 225 h 232"/>
                    <a:gd name="T56" fmla="*/ 32 w 43"/>
                    <a:gd name="T57" fmla="*/ 221 h 232"/>
                    <a:gd name="T58" fmla="*/ 30 w 43"/>
                    <a:gd name="T59" fmla="*/ 217 h 232"/>
                    <a:gd name="T60" fmla="*/ 26 w 43"/>
                    <a:gd name="T61" fmla="*/ 211 h 232"/>
                    <a:gd name="T62" fmla="*/ 24 w 43"/>
                    <a:gd name="T63" fmla="*/ 206 h 232"/>
                    <a:gd name="T64" fmla="*/ 21 w 43"/>
                    <a:gd name="T65" fmla="*/ 200 h 232"/>
                    <a:gd name="T66" fmla="*/ 17 w 43"/>
                    <a:gd name="T67" fmla="*/ 192 h 232"/>
                    <a:gd name="T68" fmla="*/ 13 w 43"/>
                    <a:gd name="T69" fmla="*/ 183 h 232"/>
                    <a:gd name="T70" fmla="*/ 9 w 43"/>
                    <a:gd name="T71" fmla="*/ 175 h 232"/>
                    <a:gd name="T72" fmla="*/ 7 w 43"/>
                    <a:gd name="T73" fmla="*/ 164 h 232"/>
                    <a:gd name="T74" fmla="*/ 3 w 43"/>
                    <a:gd name="T75" fmla="*/ 154 h 232"/>
                    <a:gd name="T76" fmla="*/ 2 w 43"/>
                    <a:gd name="T77" fmla="*/ 143 h 232"/>
                    <a:gd name="T78" fmla="*/ 2 w 43"/>
                    <a:gd name="T79" fmla="*/ 132 h 232"/>
                    <a:gd name="T80" fmla="*/ 0 w 43"/>
                    <a:gd name="T81" fmla="*/ 118 h 232"/>
                    <a:gd name="T82" fmla="*/ 0 w 43"/>
                    <a:gd name="T83" fmla="*/ 107 h 232"/>
                    <a:gd name="T84" fmla="*/ 0 w 43"/>
                    <a:gd name="T85" fmla="*/ 93 h 232"/>
                    <a:gd name="T86" fmla="*/ 0 w 43"/>
                    <a:gd name="T87" fmla="*/ 84 h 232"/>
                    <a:gd name="T88" fmla="*/ 2 w 43"/>
                    <a:gd name="T89" fmla="*/ 73 h 232"/>
                    <a:gd name="T90" fmla="*/ 3 w 43"/>
                    <a:gd name="T91" fmla="*/ 63 h 232"/>
                    <a:gd name="T92" fmla="*/ 5 w 43"/>
                    <a:gd name="T93" fmla="*/ 54 h 232"/>
                    <a:gd name="T94" fmla="*/ 7 w 43"/>
                    <a:gd name="T95" fmla="*/ 44 h 232"/>
                    <a:gd name="T96" fmla="*/ 9 w 43"/>
                    <a:gd name="T97" fmla="*/ 36 h 232"/>
                    <a:gd name="T98" fmla="*/ 11 w 43"/>
                    <a:gd name="T99" fmla="*/ 29 h 232"/>
                    <a:gd name="T100" fmla="*/ 15 w 43"/>
                    <a:gd name="T101" fmla="*/ 23 h 232"/>
                    <a:gd name="T102" fmla="*/ 17 w 43"/>
                    <a:gd name="T103" fmla="*/ 19 h 232"/>
                    <a:gd name="T104" fmla="*/ 19 w 43"/>
                    <a:gd name="T105" fmla="*/ 14 h 232"/>
                    <a:gd name="T106" fmla="*/ 21 w 43"/>
                    <a:gd name="T107" fmla="*/ 12 h 232"/>
                    <a:gd name="T108" fmla="*/ 21 w 43"/>
                    <a:gd name="T109" fmla="*/ 10 h 232"/>
                    <a:gd name="T110" fmla="*/ 21 w 43"/>
                    <a:gd name="T111" fmla="*/ 10 h 232"/>
                    <a:gd name="T112" fmla="*/ 43 w 43"/>
                    <a:gd name="T113" fmla="*/ 0 h 232"/>
                    <a:gd name="T114" fmla="*/ 43 w 43"/>
                    <a:gd name="T115" fmla="*/ 0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
                    <a:gd name="T175" fmla="*/ 0 h 232"/>
                    <a:gd name="T176" fmla="*/ 43 w 43"/>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 h="232">
                      <a:moveTo>
                        <a:pt x="43" y="0"/>
                      </a:moveTo>
                      <a:lnTo>
                        <a:pt x="41" y="6"/>
                      </a:lnTo>
                      <a:lnTo>
                        <a:pt x="41" y="12"/>
                      </a:lnTo>
                      <a:lnTo>
                        <a:pt x="40" y="19"/>
                      </a:lnTo>
                      <a:lnTo>
                        <a:pt x="40" y="27"/>
                      </a:lnTo>
                      <a:lnTo>
                        <a:pt x="38" y="35"/>
                      </a:lnTo>
                      <a:lnTo>
                        <a:pt x="38" y="44"/>
                      </a:lnTo>
                      <a:lnTo>
                        <a:pt x="36" y="54"/>
                      </a:lnTo>
                      <a:lnTo>
                        <a:pt x="36" y="65"/>
                      </a:lnTo>
                      <a:lnTo>
                        <a:pt x="34" y="74"/>
                      </a:lnTo>
                      <a:lnTo>
                        <a:pt x="34" y="86"/>
                      </a:lnTo>
                      <a:lnTo>
                        <a:pt x="32" y="97"/>
                      </a:lnTo>
                      <a:lnTo>
                        <a:pt x="32" y="109"/>
                      </a:lnTo>
                      <a:lnTo>
                        <a:pt x="32" y="120"/>
                      </a:lnTo>
                      <a:lnTo>
                        <a:pt x="34" y="132"/>
                      </a:lnTo>
                      <a:lnTo>
                        <a:pt x="34" y="141"/>
                      </a:lnTo>
                      <a:lnTo>
                        <a:pt x="34" y="151"/>
                      </a:lnTo>
                      <a:lnTo>
                        <a:pt x="34" y="160"/>
                      </a:lnTo>
                      <a:lnTo>
                        <a:pt x="34" y="170"/>
                      </a:lnTo>
                      <a:lnTo>
                        <a:pt x="34" y="177"/>
                      </a:lnTo>
                      <a:lnTo>
                        <a:pt x="36" y="187"/>
                      </a:lnTo>
                      <a:lnTo>
                        <a:pt x="36" y="194"/>
                      </a:lnTo>
                      <a:lnTo>
                        <a:pt x="36" y="202"/>
                      </a:lnTo>
                      <a:lnTo>
                        <a:pt x="36" y="208"/>
                      </a:lnTo>
                      <a:lnTo>
                        <a:pt x="38" y="213"/>
                      </a:lnTo>
                      <a:lnTo>
                        <a:pt x="38" y="217"/>
                      </a:lnTo>
                      <a:lnTo>
                        <a:pt x="40" y="232"/>
                      </a:lnTo>
                      <a:lnTo>
                        <a:pt x="36" y="225"/>
                      </a:lnTo>
                      <a:lnTo>
                        <a:pt x="32" y="221"/>
                      </a:lnTo>
                      <a:lnTo>
                        <a:pt x="30" y="217"/>
                      </a:lnTo>
                      <a:lnTo>
                        <a:pt x="26" y="211"/>
                      </a:lnTo>
                      <a:lnTo>
                        <a:pt x="24" y="206"/>
                      </a:lnTo>
                      <a:lnTo>
                        <a:pt x="21" y="200"/>
                      </a:lnTo>
                      <a:lnTo>
                        <a:pt x="17" y="192"/>
                      </a:lnTo>
                      <a:lnTo>
                        <a:pt x="13" y="183"/>
                      </a:lnTo>
                      <a:lnTo>
                        <a:pt x="9" y="175"/>
                      </a:lnTo>
                      <a:lnTo>
                        <a:pt x="7" y="164"/>
                      </a:lnTo>
                      <a:lnTo>
                        <a:pt x="3" y="154"/>
                      </a:lnTo>
                      <a:lnTo>
                        <a:pt x="2" y="143"/>
                      </a:lnTo>
                      <a:lnTo>
                        <a:pt x="2" y="132"/>
                      </a:lnTo>
                      <a:lnTo>
                        <a:pt x="0" y="118"/>
                      </a:lnTo>
                      <a:lnTo>
                        <a:pt x="0" y="107"/>
                      </a:lnTo>
                      <a:lnTo>
                        <a:pt x="0" y="93"/>
                      </a:lnTo>
                      <a:lnTo>
                        <a:pt x="0" y="84"/>
                      </a:lnTo>
                      <a:lnTo>
                        <a:pt x="2" y="73"/>
                      </a:lnTo>
                      <a:lnTo>
                        <a:pt x="3" y="63"/>
                      </a:lnTo>
                      <a:lnTo>
                        <a:pt x="5" y="54"/>
                      </a:lnTo>
                      <a:lnTo>
                        <a:pt x="7" y="44"/>
                      </a:lnTo>
                      <a:lnTo>
                        <a:pt x="9" y="36"/>
                      </a:lnTo>
                      <a:lnTo>
                        <a:pt x="11" y="29"/>
                      </a:lnTo>
                      <a:lnTo>
                        <a:pt x="15" y="23"/>
                      </a:lnTo>
                      <a:lnTo>
                        <a:pt x="17" y="19"/>
                      </a:lnTo>
                      <a:lnTo>
                        <a:pt x="19" y="14"/>
                      </a:lnTo>
                      <a:lnTo>
                        <a:pt x="21" y="12"/>
                      </a:lnTo>
                      <a:lnTo>
                        <a:pt x="21" y="10"/>
                      </a:lnTo>
                      <a:lnTo>
                        <a:pt x="43" y="0"/>
                      </a:lnTo>
                      <a:close/>
                    </a:path>
                  </a:pathLst>
                </a:custGeom>
                <a:solidFill>
                  <a:srgbClr val="000000"/>
                </a:solidFill>
                <a:ln w="9525">
                  <a:noFill/>
                  <a:round/>
                  <a:headEnd/>
                  <a:tailEnd/>
                </a:ln>
              </p:spPr>
              <p:txBody>
                <a:bodyPr/>
                <a:lstStyle/>
                <a:p>
                  <a:pPr algn="l" eaLnBrk="1" hangingPunct="1"/>
                  <a:endParaRPr lang="en-US"/>
                </a:p>
              </p:txBody>
            </p:sp>
            <p:sp>
              <p:nvSpPr>
                <p:cNvPr id="1358" name="Freeform 774"/>
                <p:cNvSpPr>
                  <a:spLocks noChangeAspect="1"/>
                </p:cNvSpPr>
                <p:nvPr/>
              </p:nvSpPr>
              <p:spPr bwMode="auto">
                <a:xfrm>
                  <a:off x="3270" y="2234"/>
                  <a:ext cx="140" cy="30"/>
                </a:xfrm>
                <a:custGeom>
                  <a:avLst/>
                  <a:gdLst>
                    <a:gd name="T0" fmla="*/ 2 w 280"/>
                    <a:gd name="T1" fmla="*/ 15 h 59"/>
                    <a:gd name="T2" fmla="*/ 8 w 280"/>
                    <a:gd name="T3" fmla="*/ 21 h 59"/>
                    <a:gd name="T4" fmla="*/ 18 w 280"/>
                    <a:gd name="T5" fmla="*/ 25 h 59"/>
                    <a:gd name="T6" fmla="*/ 33 w 280"/>
                    <a:gd name="T7" fmla="*/ 32 h 59"/>
                    <a:gd name="T8" fmla="*/ 50 w 280"/>
                    <a:gd name="T9" fmla="*/ 38 h 59"/>
                    <a:gd name="T10" fmla="*/ 73 w 280"/>
                    <a:gd name="T11" fmla="*/ 46 h 59"/>
                    <a:gd name="T12" fmla="*/ 97 w 280"/>
                    <a:gd name="T13" fmla="*/ 51 h 59"/>
                    <a:gd name="T14" fmla="*/ 126 w 280"/>
                    <a:gd name="T15" fmla="*/ 57 h 59"/>
                    <a:gd name="T16" fmla="*/ 154 w 280"/>
                    <a:gd name="T17" fmla="*/ 59 h 59"/>
                    <a:gd name="T18" fmla="*/ 183 w 280"/>
                    <a:gd name="T19" fmla="*/ 57 h 59"/>
                    <a:gd name="T20" fmla="*/ 208 w 280"/>
                    <a:gd name="T21" fmla="*/ 53 h 59"/>
                    <a:gd name="T22" fmla="*/ 232 w 280"/>
                    <a:gd name="T23" fmla="*/ 47 h 59"/>
                    <a:gd name="T24" fmla="*/ 251 w 280"/>
                    <a:gd name="T25" fmla="*/ 40 h 59"/>
                    <a:gd name="T26" fmla="*/ 267 w 280"/>
                    <a:gd name="T27" fmla="*/ 34 h 59"/>
                    <a:gd name="T28" fmla="*/ 276 w 280"/>
                    <a:gd name="T29" fmla="*/ 30 h 59"/>
                    <a:gd name="T30" fmla="*/ 280 w 280"/>
                    <a:gd name="T31" fmla="*/ 28 h 59"/>
                    <a:gd name="T32" fmla="*/ 272 w 280"/>
                    <a:gd name="T33" fmla="*/ 0 h 59"/>
                    <a:gd name="T34" fmla="*/ 267 w 280"/>
                    <a:gd name="T35" fmla="*/ 2 h 59"/>
                    <a:gd name="T36" fmla="*/ 253 w 280"/>
                    <a:gd name="T37" fmla="*/ 4 h 59"/>
                    <a:gd name="T38" fmla="*/ 236 w 280"/>
                    <a:gd name="T39" fmla="*/ 9 h 59"/>
                    <a:gd name="T40" fmla="*/ 217 w 280"/>
                    <a:gd name="T41" fmla="*/ 13 h 59"/>
                    <a:gd name="T42" fmla="*/ 194 w 280"/>
                    <a:gd name="T43" fmla="*/ 17 h 59"/>
                    <a:gd name="T44" fmla="*/ 172 w 280"/>
                    <a:gd name="T45" fmla="*/ 21 h 59"/>
                    <a:gd name="T46" fmla="*/ 149 w 280"/>
                    <a:gd name="T47" fmla="*/ 23 h 59"/>
                    <a:gd name="T48" fmla="*/ 124 w 280"/>
                    <a:gd name="T49" fmla="*/ 23 h 59"/>
                    <a:gd name="T50" fmla="*/ 101 w 280"/>
                    <a:gd name="T51" fmla="*/ 23 h 59"/>
                    <a:gd name="T52" fmla="*/ 76 w 280"/>
                    <a:gd name="T53" fmla="*/ 21 h 59"/>
                    <a:gd name="T54" fmla="*/ 56 w 280"/>
                    <a:gd name="T55" fmla="*/ 21 h 59"/>
                    <a:gd name="T56" fmla="*/ 35 w 280"/>
                    <a:gd name="T57" fmla="*/ 19 h 59"/>
                    <a:gd name="T58" fmla="*/ 18 w 280"/>
                    <a:gd name="T59" fmla="*/ 17 h 59"/>
                    <a:gd name="T60" fmla="*/ 6 w 280"/>
                    <a:gd name="T61" fmla="*/ 15 h 59"/>
                    <a:gd name="T62" fmla="*/ 0 w 280"/>
                    <a:gd name="T63" fmla="*/ 15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0"/>
                    <a:gd name="T97" fmla="*/ 0 h 59"/>
                    <a:gd name="T98" fmla="*/ 280 w 280"/>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0" h="59">
                      <a:moveTo>
                        <a:pt x="0" y="15"/>
                      </a:moveTo>
                      <a:lnTo>
                        <a:pt x="2" y="15"/>
                      </a:lnTo>
                      <a:lnTo>
                        <a:pt x="4" y="17"/>
                      </a:lnTo>
                      <a:lnTo>
                        <a:pt x="8" y="21"/>
                      </a:lnTo>
                      <a:lnTo>
                        <a:pt x="12" y="23"/>
                      </a:lnTo>
                      <a:lnTo>
                        <a:pt x="18" y="25"/>
                      </a:lnTo>
                      <a:lnTo>
                        <a:pt x="23" y="28"/>
                      </a:lnTo>
                      <a:lnTo>
                        <a:pt x="33" y="32"/>
                      </a:lnTo>
                      <a:lnTo>
                        <a:pt x="40" y="34"/>
                      </a:lnTo>
                      <a:lnTo>
                        <a:pt x="50" y="38"/>
                      </a:lnTo>
                      <a:lnTo>
                        <a:pt x="61" y="42"/>
                      </a:lnTo>
                      <a:lnTo>
                        <a:pt x="73" y="46"/>
                      </a:lnTo>
                      <a:lnTo>
                        <a:pt x="84" y="47"/>
                      </a:lnTo>
                      <a:lnTo>
                        <a:pt x="97" y="51"/>
                      </a:lnTo>
                      <a:lnTo>
                        <a:pt x="111" y="55"/>
                      </a:lnTo>
                      <a:lnTo>
                        <a:pt x="126" y="57"/>
                      </a:lnTo>
                      <a:lnTo>
                        <a:pt x="139" y="59"/>
                      </a:lnTo>
                      <a:lnTo>
                        <a:pt x="154" y="59"/>
                      </a:lnTo>
                      <a:lnTo>
                        <a:pt x="168" y="59"/>
                      </a:lnTo>
                      <a:lnTo>
                        <a:pt x="183" y="57"/>
                      </a:lnTo>
                      <a:lnTo>
                        <a:pt x="194" y="55"/>
                      </a:lnTo>
                      <a:lnTo>
                        <a:pt x="208" y="53"/>
                      </a:lnTo>
                      <a:lnTo>
                        <a:pt x="221" y="49"/>
                      </a:lnTo>
                      <a:lnTo>
                        <a:pt x="232" y="47"/>
                      </a:lnTo>
                      <a:lnTo>
                        <a:pt x="242" y="44"/>
                      </a:lnTo>
                      <a:lnTo>
                        <a:pt x="251" y="40"/>
                      </a:lnTo>
                      <a:lnTo>
                        <a:pt x="261" y="36"/>
                      </a:lnTo>
                      <a:lnTo>
                        <a:pt x="267" y="34"/>
                      </a:lnTo>
                      <a:lnTo>
                        <a:pt x="272" y="30"/>
                      </a:lnTo>
                      <a:lnTo>
                        <a:pt x="276" y="30"/>
                      </a:lnTo>
                      <a:lnTo>
                        <a:pt x="280" y="28"/>
                      </a:lnTo>
                      <a:lnTo>
                        <a:pt x="274" y="0"/>
                      </a:lnTo>
                      <a:lnTo>
                        <a:pt x="272" y="0"/>
                      </a:lnTo>
                      <a:lnTo>
                        <a:pt x="270" y="0"/>
                      </a:lnTo>
                      <a:lnTo>
                        <a:pt x="267" y="2"/>
                      </a:lnTo>
                      <a:lnTo>
                        <a:pt x="261" y="4"/>
                      </a:lnTo>
                      <a:lnTo>
                        <a:pt x="253" y="4"/>
                      </a:lnTo>
                      <a:lnTo>
                        <a:pt x="246" y="7"/>
                      </a:lnTo>
                      <a:lnTo>
                        <a:pt x="236" y="9"/>
                      </a:lnTo>
                      <a:lnTo>
                        <a:pt x="229" y="11"/>
                      </a:lnTo>
                      <a:lnTo>
                        <a:pt x="217" y="13"/>
                      </a:lnTo>
                      <a:lnTo>
                        <a:pt x="206" y="15"/>
                      </a:lnTo>
                      <a:lnTo>
                        <a:pt x="194" y="17"/>
                      </a:lnTo>
                      <a:lnTo>
                        <a:pt x="183" y="19"/>
                      </a:lnTo>
                      <a:lnTo>
                        <a:pt x="172" y="21"/>
                      </a:lnTo>
                      <a:lnTo>
                        <a:pt x="160" y="23"/>
                      </a:lnTo>
                      <a:lnTo>
                        <a:pt x="149" y="23"/>
                      </a:lnTo>
                      <a:lnTo>
                        <a:pt x="137" y="25"/>
                      </a:lnTo>
                      <a:lnTo>
                        <a:pt x="124" y="23"/>
                      </a:lnTo>
                      <a:lnTo>
                        <a:pt x="113" y="23"/>
                      </a:lnTo>
                      <a:lnTo>
                        <a:pt x="101" y="23"/>
                      </a:lnTo>
                      <a:lnTo>
                        <a:pt x="90" y="23"/>
                      </a:lnTo>
                      <a:lnTo>
                        <a:pt x="76" y="21"/>
                      </a:lnTo>
                      <a:lnTo>
                        <a:pt x="67" y="21"/>
                      </a:lnTo>
                      <a:lnTo>
                        <a:pt x="56" y="21"/>
                      </a:lnTo>
                      <a:lnTo>
                        <a:pt x="46" y="21"/>
                      </a:lnTo>
                      <a:lnTo>
                        <a:pt x="35" y="19"/>
                      </a:lnTo>
                      <a:lnTo>
                        <a:pt x="27" y="17"/>
                      </a:lnTo>
                      <a:lnTo>
                        <a:pt x="18" y="17"/>
                      </a:lnTo>
                      <a:lnTo>
                        <a:pt x="12" y="17"/>
                      </a:lnTo>
                      <a:lnTo>
                        <a:pt x="6" y="15"/>
                      </a:lnTo>
                      <a:lnTo>
                        <a:pt x="2" y="15"/>
                      </a:lnTo>
                      <a:lnTo>
                        <a:pt x="0" y="15"/>
                      </a:lnTo>
                      <a:close/>
                    </a:path>
                  </a:pathLst>
                </a:custGeom>
                <a:solidFill>
                  <a:srgbClr val="000000"/>
                </a:solidFill>
                <a:ln w="9525">
                  <a:noFill/>
                  <a:round/>
                  <a:headEnd/>
                  <a:tailEnd/>
                </a:ln>
              </p:spPr>
              <p:txBody>
                <a:bodyPr/>
                <a:lstStyle/>
                <a:p>
                  <a:pPr algn="l" eaLnBrk="1" hangingPunct="1"/>
                  <a:endParaRPr lang="en-US"/>
                </a:p>
              </p:txBody>
            </p:sp>
            <p:sp>
              <p:nvSpPr>
                <p:cNvPr id="1359" name="Freeform 775"/>
                <p:cNvSpPr>
                  <a:spLocks noChangeAspect="1"/>
                </p:cNvSpPr>
                <p:nvPr/>
              </p:nvSpPr>
              <p:spPr bwMode="auto">
                <a:xfrm>
                  <a:off x="3302" y="2174"/>
                  <a:ext cx="78" cy="47"/>
                </a:xfrm>
                <a:custGeom>
                  <a:avLst/>
                  <a:gdLst>
                    <a:gd name="T0" fmla="*/ 2 w 156"/>
                    <a:gd name="T1" fmla="*/ 52 h 95"/>
                    <a:gd name="T2" fmla="*/ 8 w 156"/>
                    <a:gd name="T3" fmla="*/ 63 h 95"/>
                    <a:gd name="T4" fmla="*/ 17 w 156"/>
                    <a:gd name="T5" fmla="*/ 72 h 95"/>
                    <a:gd name="T6" fmla="*/ 27 w 156"/>
                    <a:gd name="T7" fmla="*/ 82 h 95"/>
                    <a:gd name="T8" fmla="*/ 38 w 156"/>
                    <a:gd name="T9" fmla="*/ 90 h 95"/>
                    <a:gd name="T10" fmla="*/ 50 w 156"/>
                    <a:gd name="T11" fmla="*/ 95 h 95"/>
                    <a:gd name="T12" fmla="*/ 63 w 156"/>
                    <a:gd name="T13" fmla="*/ 95 h 95"/>
                    <a:gd name="T14" fmla="*/ 72 w 156"/>
                    <a:gd name="T15" fmla="*/ 90 h 95"/>
                    <a:gd name="T16" fmla="*/ 78 w 156"/>
                    <a:gd name="T17" fmla="*/ 82 h 95"/>
                    <a:gd name="T18" fmla="*/ 76 w 156"/>
                    <a:gd name="T19" fmla="*/ 74 h 95"/>
                    <a:gd name="T20" fmla="*/ 72 w 156"/>
                    <a:gd name="T21" fmla="*/ 67 h 95"/>
                    <a:gd name="T22" fmla="*/ 69 w 156"/>
                    <a:gd name="T23" fmla="*/ 59 h 95"/>
                    <a:gd name="T24" fmla="*/ 63 w 156"/>
                    <a:gd name="T25" fmla="*/ 50 h 95"/>
                    <a:gd name="T26" fmla="*/ 61 w 156"/>
                    <a:gd name="T27" fmla="*/ 42 h 95"/>
                    <a:gd name="T28" fmla="*/ 63 w 156"/>
                    <a:gd name="T29" fmla="*/ 38 h 95"/>
                    <a:gd name="T30" fmla="*/ 71 w 156"/>
                    <a:gd name="T31" fmla="*/ 34 h 95"/>
                    <a:gd name="T32" fmla="*/ 80 w 156"/>
                    <a:gd name="T33" fmla="*/ 36 h 95"/>
                    <a:gd name="T34" fmla="*/ 90 w 156"/>
                    <a:gd name="T35" fmla="*/ 40 h 95"/>
                    <a:gd name="T36" fmla="*/ 99 w 156"/>
                    <a:gd name="T37" fmla="*/ 48 h 95"/>
                    <a:gd name="T38" fmla="*/ 110 w 156"/>
                    <a:gd name="T39" fmla="*/ 55 h 95"/>
                    <a:gd name="T40" fmla="*/ 120 w 156"/>
                    <a:gd name="T41" fmla="*/ 61 h 95"/>
                    <a:gd name="T42" fmla="*/ 131 w 156"/>
                    <a:gd name="T43" fmla="*/ 65 h 95"/>
                    <a:gd name="T44" fmla="*/ 141 w 156"/>
                    <a:gd name="T45" fmla="*/ 63 h 95"/>
                    <a:gd name="T46" fmla="*/ 150 w 156"/>
                    <a:gd name="T47" fmla="*/ 57 h 95"/>
                    <a:gd name="T48" fmla="*/ 154 w 156"/>
                    <a:gd name="T49" fmla="*/ 48 h 95"/>
                    <a:gd name="T50" fmla="*/ 154 w 156"/>
                    <a:gd name="T51" fmla="*/ 36 h 95"/>
                    <a:gd name="T52" fmla="*/ 150 w 156"/>
                    <a:gd name="T53" fmla="*/ 27 h 95"/>
                    <a:gd name="T54" fmla="*/ 145 w 156"/>
                    <a:gd name="T55" fmla="*/ 17 h 95"/>
                    <a:gd name="T56" fmla="*/ 139 w 156"/>
                    <a:gd name="T57" fmla="*/ 8 h 95"/>
                    <a:gd name="T58" fmla="*/ 131 w 156"/>
                    <a:gd name="T59" fmla="*/ 2 h 95"/>
                    <a:gd name="T60" fmla="*/ 129 w 156"/>
                    <a:gd name="T61" fmla="*/ 2 h 95"/>
                    <a:gd name="T62" fmla="*/ 128 w 156"/>
                    <a:gd name="T63" fmla="*/ 12 h 95"/>
                    <a:gd name="T64" fmla="*/ 124 w 156"/>
                    <a:gd name="T65" fmla="*/ 25 h 95"/>
                    <a:gd name="T66" fmla="*/ 116 w 156"/>
                    <a:gd name="T67" fmla="*/ 34 h 95"/>
                    <a:gd name="T68" fmla="*/ 103 w 156"/>
                    <a:gd name="T69" fmla="*/ 33 h 95"/>
                    <a:gd name="T70" fmla="*/ 88 w 156"/>
                    <a:gd name="T71" fmla="*/ 23 h 95"/>
                    <a:gd name="T72" fmla="*/ 72 w 156"/>
                    <a:gd name="T73" fmla="*/ 12 h 95"/>
                    <a:gd name="T74" fmla="*/ 57 w 156"/>
                    <a:gd name="T75" fmla="*/ 8 h 95"/>
                    <a:gd name="T76" fmla="*/ 48 w 156"/>
                    <a:gd name="T77" fmla="*/ 15 h 95"/>
                    <a:gd name="T78" fmla="*/ 48 w 156"/>
                    <a:gd name="T79" fmla="*/ 27 h 95"/>
                    <a:gd name="T80" fmla="*/ 50 w 156"/>
                    <a:gd name="T81" fmla="*/ 36 h 95"/>
                    <a:gd name="T82" fmla="*/ 52 w 156"/>
                    <a:gd name="T83" fmla="*/ 48 h 95"/>
                    <a:gd name="T84" fmla="*/ 53 w 156"/>
                    <a:gd name="T85" fmla="*/ 55 h 95"/>
                    <a:gd name="T86" fmla="*/ 52 w 156"/>
                    <a:gd name="T87" fmla="*/ 65 h 95"/>
                    <a:gd name="T88" fmla="*/ 42 w 156"/>
                    <a:gd name="T89" fmla="*/ 67 h 95"/>
                    <a:gd name="T90" fmla="*/ 34 w 156"/>
                    <a:gd name="T91" fmla="*/ 67 h 95"/>
                    <a:gd name="T92" fmla="*/ 27 w 156"/>
                    <a:gd name="T93" fmla="*/ 63 h 95"/>
                    <a:gd name="T94" fmla="*/ 19 w 156"/>
                    <a:gd name="T95" fmla="*/ 61 h 95"/>
                    <a:gd name="T96" fmla="*/ 10 w 156"/>
                    <a:gd name="T97" fmla="*/ 55 h 95"/>
                    <a:gd name="T98" fmla="*/ 0 w 156"/>
                    <a:gd name="T99" fmla="*/ 52 h 95"/>
                    <a:gd name="T100" fmla="*/ 0 w 156"/>
                    <a:gd name="T101" fmla="*/ 52 h 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6"/>
                    <a:gd name="T154" fmla="*/ 0 h 95"/>
                    <a:gd name="T155" fmla="*/ 156 w 156"/>
                    <a:gd name="T156" fmla="*/ 95 h 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6" h="95">
                      <a:moveTo>
                        <a:pt x="0" y="52"/>
                      </a:moveTo>
                      <a:lnTo>
                        <a:pt x="2" y="52"/>
                      </a:lnTo>
                      <a:lnTo>
                        <a:pt x="6" y="59"/>
                      </a:lnTo>
                      <a:lnTo>
                        <a:pt x="8" y="63"/>
                      </a:lnTo>
                      <a:lnTo>
                        <a:pt x="13" y="67"/>
                      </a:lnTo>
                      <a:lnTo>
                        <a:pt x="17" y="72"/>
                      </a:lnTo>
                      <a:lnTo>
                        <a:pt x="23" y="78"/>
                      </a:lnTo>
                      <a:lnTo>
                        <a:pt x="27" y="82"/>
                      </a:lnTo>
                      <a:lnTo>
                        <a:pt x="32" y="86"/>
                      </a:lnTo>
                      <a:lnTo>
                        <a:pt x="38" y="90"/>
                      </a:lnTo>
                      <a:lnTo>
                        <a:pt x="44" y="93"/>
                      </a:lnTo>
                      <a:lnTo>
                        <a:pt x="50" y="95"/>
                      </a:lnTo>
                      <a:lnTo>
                        <a:pt x="57" y="95"/>
                      </a:lnTo>
                      <a:lnTo>
                        <a:pt x="63" y="95"/>
                      </a:lnTo>
                      <a:lnTo>
                        <a:pt x="69" y="93"/>
                      </a:lnTo>
                      <a:lnTo>
                        <a:pt x="72" y="90"/>
                      </a:lnTo>
                      <a:lnTo>
                        <a:pt x="76" y="88"/>
                      </a:lnTo>
                      <a:lnTo>
                        <a:pt x="78" y="82"/>
                      </a:lnTo>
                      <a:lnTo>
                        <a:pt x="78" y="80"/>
                      </a:lnTo>
                      <a:lnTo>
                        <a:pt x="76" y="74"/>
                      </a:lnTo>
                      <a:lnTo>
                        <a:pt x="76" y="71"/>
                      </a:lnTo>
                      <a:lnTo>
                        <a:pt x="72" y="67"/>
                      </a:lnTo>
                      <a:lnTo>
                        <a:pt x="71" y="63"/>
                      </a:lnTo>
                      <a:lnTo>
                        <a:pt x="69" y="59"/>
                      </a:lnTo>
                      <a:lnTo>
                        <a:pt x="65" y="55"/>
                      </a:lnTo>
                      <a:lnTo>
                        <a:pt x="63" y="50"/>
                      </a:lnTo>
                      <a:lnTo>
                        <a:pt x="63" y="48"/>
                      </a:lnTo>
                      <a:lnTo>
                        <a:pt x="61" y="42"/>
                      </a:lnTo>
                      <a:lnTo>
                        <a:pt x="61" y="40"/>
                      </a:lnTo>
                      <a:lnTo>
                        <a:pt x="63" y="38"/>
                      </a:lnTo>
                      <a:lnTo>
                        <a:pt x="67" y="36"/>
                      </a:lnTo>
                      <a:lnTo>
                        <a:pt x="71" y="34"/>
                      </a:lnTo>
                      <a:lnTo>
                        <a:pt x="74" y="34"/>
                      </a:lnTo>
                      <a:lnTo>
                        <a:pt x="80" y="36"/>
                      </a:lnTo>
                      <a:lnTo>
                        <a:pt x="84" y="38"/>
                      </a:lnTo>
                      <a:lnTo>
                        <a:pt x="90" y="40"/>
                      </a:lnTo>
                      <a:lnTo>
                        <a:pt x="93" y="44"/>
                      </a:lnTo>
                      <a:lnTo>
                        <a:pt x="99" y="48"/>
                      </a:lnTo>
                      <a:lnTo>
                        <a:pt x="105" y="52"/>
                      </a:lnTo>
                      <a:lnTo>
                        <a:pt x="110" y="55"/>
                      </a:lnTo>
                      <a:lnTo>
                        <a:pt x="116" y="59"/>
                      </a:lnTo>
                      <a:lnTo>
                        <a:pt x="120" y="61"/>
                      </a:lnTo>
                      <a:lnTo>
                        <a:pt x="126" y="65"/>
                      </a:lnTo>
                      <a:lnTo>
                        <a:pt x="131" y="65"/>
                      </a:lnTo>
                      <a:lnTo>
                        <a:pt x="137" y="65"/>
                      </a:lnTo>
                      <a:lnTo>
                        <a:pt x="141" y="63"/>
                      </a:lnTo>
                      <a:lnTo>
                        <a:pt x="148" y="61"/>
                      </a:lnTo>
                      <a:lnTo>
                        <a:pt x="150" y="57"/>
                      </a:lnTo>
                      <a:lnTo>
                        <a:pt x="154" y="52"/>
                      </a:lnTo>
                      <a:lnTo>
                        <a:pt x="154" y="48"/>
                      </a:lnTo>
                      <a:lnTo>
                        <a:pt x="156" y="42"/>
                      </a:lnTo>
                      <a:lnTo>
                        <a:pt x="154" y="36"/>
                      </a:lnTo>
                      <a:lnTo>
                        <a:pt x="152" y="33"/>
                      </a:lnTo>
                      <a:lnTo>
                        <a:pt x="150" y="27"/>
                      </a:lnTo>
                      <a:lnTo>
                        <a:pt x="148" y="23"/>
                      </a:lnTo>
                      <a:lnTo>
                        <a:pt x="145" y="17"/>
                      </a:lnTo>
                      <a:lnTo>
                        <a:pt x="141" y="13"/>
                      </a:lnTo>
                      <a:lnTo>
                        <a:pt x="139" y="8"/>
                      </a:lnTo>
                      <a:lnTo>
                        <a:pt x="135" y="6"/>
                      </a:lnTo>
                      <a:lnTo>
                        <a:pt x="131" y="2"/>
                      </a:lnTo>
                      <a:lnTo>
                        <a:pt x="129" y="0"/>
                      </a:lnTo>
                      <a:lnTo>
                        <a:pt x="129" y="2"/>
                      </a:lnTo>
                      <a:lnTo>
                        <a:pt x="129" y="6"/>
                      </a:lnTo>
                      <a:lnTo>
                        <a:pt x="128" y="12"/>
                      </a:lnTo>
                      <a:lnTo>
                        <a:pt x="126" y="19"/>
                      </a:lnTo>
                      <a:lnTo>
                        <a:pt x="124" y="25"/>
                      </a:lnTo>
                      <a:lnTo>
                        <a:pt x="120" y="31"/>
                      </a:lnTo>
                      <a:lnTo>
                        <a:pt x="116" y="34"/>
                      </a:lnTo>
                      <a:lnTo>
                        <a:pt x="110" y="36"/>
                      </a:lnTo>
                      <a:lnTo>
                        <a:pt x="103" y="33"/>
                      </a:lnTo>
                      <a:lnTo>
                        <a:pt x="95" y="29"/>
                      </a:lnTo>
                      <a:lnTo>
                        <a:pt x="88" y="23"/>
                      </a:lnTo>
                      <a:lnTo>
                        <a:pt x="80" y="17"/>
                      </a:lnTo>
                      <a:lnTo>
                        <a:pt x="72" y="12"/>
                      </a:lnTo>
                      <a:lnTo>
                        <a:pt x="65" y="10"/>
                      </a:lnTo>
                      <a:lnTo>
                        <a:pt x="57" y="8"/>
                      </a:lnTo>
                      <a:lnTo>
                        <a:pt x="52" y="10"/>
                      </a:lnTo>
                      <a:lnTo>
                        <a:pt x="48" y="15"/>
                      </a:lnTo>
                      <a:lnTo>
                        <a:pt x="48" y="23"/>
                      </a:lnTo>
                      <a:lnTo>
                        <a:pt x="48" y="27"/>
                      </a:lnTo>
                      <a:lnTo>
                        <a:pt x="48" y="33"/>
                      </a:lnTo>
                      <a:lnTo>
                        <a:pt x="50" y="36"/>
                      </a:lnTo>
                      <a:lnTo>
                        <a:pt x="52" y="42"/>
                      </a:lnTo>
                      <a:lnTo>
                        <a:pt x="52" y="48"/>
                      </a:lnTo>
                      <a:lnTo>
                        <a:pt x="53" y="52"/>
                      </a:lnTo>
                      <a:lnTo>
                        <a:pt x="53" y="55"/>
                      </a:lnTo>
                      <a:lnTo>
                        <a:pt x="53" y="61"/>
                      </a:lnTo>
                      <a:lnTo>
                        <a:pt x="52" y="65"/>
                      </a:lnTo>
                      <a:lnTo>
                        <a:pt x="48" y="69"/>
                      </a:lnTo>
                      <a:lnTo>
                        <a:pt x="42" y="67"/>
                      </a:lnTo>
                      <a:lnTo>
                        <a:pt x="38" y="67"/>
                      </a:lnTo>
                      <a:lnTo>
                        <a:pt x="34" y="67"/>
                      </a:lnTo>
                      <a:lnTo>
                        <a:pt x="31" y="65"/>
                      </a:lnTo>
                      <a:lnTo>
                        <a:pt x="27" y="63"/>
                      </a:lnTo>
                      <a:lnTo>
                        <a:pt x="23" y="63"/>
                      </a:lnTo>
                      <a:lnTo>
                        <a:pt x="19" y="61"/>
                      </a:lnTo>
                      <a:lnTo>
                        <a:pt x="15" y="59"/>
                      </a:lnTo>
                      <a:lnTo>
                        <a:pt x="10" y="55"/>
                      </a:lnTo>
                      <a:lnTo>
                        <a:pt x="4" y="53"/>
                      </a:lnTo>
                      <a:lnTo>
                        <a:pt x="0" y="52"/>
                      </a:lnTo>
                      <a:close/>
                    </a:path>
                  </a:pathLst>
                </a:custGeom>
                <a:solidFill>
                  <a:srgbClr val="000000"/>
                </a:solidFill>
                <a:ln w="9525">
                  <a:noFill/>
                  <a:round/>
                  <a:headEnd/>
                  <a:tailEnd/>
                </a:ln>
              </p:spPr>
              <p:txBody>
                <a:bodyPr/>
                <a:lstStyle/>
                <a:p>
                  <a:pPr algn="l" eaLnBrk="1" hangingPunct="1"/>
                  <a:endParaRPr lang="en-US"/>
                </a:p>
              </p:txBody>
            </p:sp>
            <p:sp>
              <p:nvSpPr>
                <p:cNvPr id="1360" name="Freeform 776"/>
                <p:cNvSpPr>
                  <a:spLocks noChangeAspect="1"/>
                </p:cNvSpPr>
                <p:nvPr/>
              </p:nvSpPr>
              <p:spPr bwMode="auto">
                <a:xfrm>
                  <a:off x="3352" y="1996"/>
                  <a:ext cx="57" cy="30"/>
                </a:xfrm>
                <a:custGeom>
                  <a:avLst/>
                  <a:gdLst>
                    <a:gd name="T0" fmla="*/ 55 w 114"/>
                    <a:gd name="T1" fmla="*/ 0 h 60"/>
                    <a:gd name="T2" fmla="*/ 57 w 114"/>
                    <a:gd name="T3" fmla="*/ 0 h 60"/>
                    <a:gd name="T4" fmla="*/ 61 w 114"/>
                    <a:gd name="T5" fmla="*/ 5 h 60"/>
                    <a:gd name="T6" fmla="*/ 63 w 114"/>
                    <a:gd name="T7" fmla="*/ 9 h 60"/>
                    <a:gd name="T8" fmla="*/ 63 w 114"/>
                    <a:gd name="T9" fmla="*/ 15 h 60"/>
                    <a:gd name="T10" fmla="*/ 63 w 114"/>
                    <a:gd name="T11" fmla="*/ 17 h 60"/>
                    <a:gd name="T12" fmla="*/ 63 w 114"/>
                    <a:gd name="T13" fmla="*/ 21 h 60"/>
                    <a:gd name="T14" fmla="*/ 63 w 114"/>
                    <a:gd name="T15" fmla="*/ 24 h 60"/>
                    <a:gd name="T16" fmla="*/ 63 w 114"/>
                    <a:gd name="T17" fmla="*/ 30 h 60"/>
                    <a:gd name="T18" fmla="*/ 59 w 114"/>
                    <a:gd name="T19" fmla="*/ 34 h 60"/>
                    <a:gd name="T20" fmla="*/ 57 w 114"/>
                    <a:gd name="T21" fmla="*/ 38 h 60"/>
                    <a:gd name="T22" fmla="*/ 53 w 114"/>
                    <a:gd name="T23" fmla="*/ 41 h 60"/>
                    <a:gd name="T24" fmla="*/ 49 w 114"/>
                    <a:gd name="T25" fmla="*/ 45 h 60"/>
                    <a:gd name="T26" fmla="*/ 44 w 114"/>
                    <a:gd name="T27" fmla="*/ 47 h 60"/>
                    <a:gd name="T28" fmla="*/ 38 w 114"/>
                    <a:gd name="T29" fmla="*/ 49 h 60"/>
                    <a:gd name="T30" fmla="*/ 32 w 114"/>
                    <a:gd name="T31" fmla="*/ 53 h 60"/>
                    <a:gd name="T32" fmla="*/ 28 w 114"/>
                    <a:gd name="T33" fmla="*/ 55 h 60"/>
                    <a:gd name="T34" fmla="*/ 21 w 114"/>
                    <a:gd name="T35" fmla="*/ 55 h 60"/>
                    <a:gd name="T36" fmla="*/ 17 w 114"/>
                    <a:gd name="T37" fmla="*/ 57 h 60"/>
                    <a:gd name="T38" fmla="*/ 11 w 114"/>
                    <a:gd name="T39" fmla="*/ 59 h 60"/>
                    <a:gd name="T40" fmla="*/ 8 w 114"/>
                    <a:gd name="T41" fmla="*/ 59 h 60"/>
                    <a:gd name="T42" fmla="*/ 2 w 114"/>
                    <a:gd name="T43" fmla="*/ 60 h 60"/>
                    <a:gd name="T44" fmla="*/ 0 w 114"/>
                    <a:gd name="T45" fmla="*/ 60 h 60"/>
                    <a:gd name="T46" fmla="*/ 0 w 114"/>
                    <a:gd name="T47" fmla="*/ 60 h 60"/>
                    <a:gd name="T48" fmla="*/ 4 w 114"/>
                    <a:gd name="T49" fmla="*/ 60 h 60"/>
                    <a:gd name="T50" fmla="*/ 9 w 114"/>
                    <a:gd name="T51" fmla="*/ 60 h 60"/>
                    <a:gd name="T52" fmla="*/ 15 w 114"/>
                    <a:gd name="T53" fmla="*/ 60 h 60"/>
                    <a:gd name="T54" fmla="*/ 23 w 114"/>
                    <a:gd name="T55" fmla="*/ 60 h 60"/>
                    <a:gd name="T56" fmla="*/ 32 w 114"/>
                    <a:gd name="T57" fmla="*/ 60 h 60"/>
                    <a:gd name="T58" fmla="*/ 42 w 114"/>
                    <a:gd name="T59" fmla="*/ 59 h 60"/>
                    <a:gd name="T60" fmla="*/ 51 w 114"/>
                    <a:gd name="T61" fmla="*/ 59 h 60"/>
                    <a:gd name="T62" fmla="*/ 61 w 114"/>
                    <a:gd name="T63" fmla="*/ 57 h 60"/>
                    <a:gd name="T64" fmla="*/ 72 w 114"/>
                    <a:gd name="T65" fmla="*/ 55 h 60"/>
                    <a:gd name="T66" fmla="*/ 80 w 114"/>
                    <a:gd name="T67" fmla="*/ 53 h 60"/>
                    <a:gd name="T68" fmla="*/ 89 w 114"/>
                    <a:gd name="T69" fmla="*/ 51 h 60"/>
                    <a:gd name="T70" fmla="*/ 97 w 114"/>
                    <a:gd name="T71" fmla="*/ 47 h 60"/>
                    <a:gd name="T72" fmla="*/ 104 w 114"/>
                    <a:gd name="T73" fmla="*/ 43 h 60"/>
                    <a:gd name="T74" fmla="*/ 110 w 114"/>
                    <a:gd name="T75" fmla="*/ 40 h 60"/>
                    <a:gd name="T76" fmla="*/ 112 w 114"/>
                    <a:gd name="T77" fmla="*/ 34 h 60"/>
                    <a:gd name="T78" fmla="*/ 114 w 114"/>
                    <a:gd name="T79" fmla="*/ 28 h 60"/>
                    <a:gd name="T80" fmla="*/ 114 w 114"/>
                    <a:gd name="T81" fmla="*/ 24 h 60"/>
                    <a:gd name="T82" fmla="*/ 112 w 114"/>
                    <a:gd name="T83" fmla="*/ 19 h 60"/>
                    <a:gd name="T84" fmla="*/ 108 w 114"/>
                    <a:gd name="T85" fmla="*/ 15 h 60"/>
                    <a:gd name="T86" fmla="*/ 103 w 114"/>
                    <a:gd name="T87" fmla="*/ 11 h 60"/>
                    <a:gd name="T88" fmla="*/ 99 w 114"/>
                    <a:gd name="T89" fmla="*/ 9 h 60"/>
                    <a:gd name="T90" fmla="*/ 93 w 114"/>
                    <a:gd name="T91" fmla="*/ 7 h 60"/>
                    <a:gd name="T92" fmla="*/ 87 w 114"/>
                    <a:gd name="T93" fmla="*/ 5 h 60"/>
                    <a:gd name="T94" fmla="*/ 82 w 114"/>
                    <a:gd name="T95" fmla="*/ 3 h 60"/>
                    <a:gd name="T96" fmla="*/ 76 w 114"/>
                    <a:gd name="T97" fmla="*/ 1 h 60"/>
                    <a:gd name="T98" fmla="*/ 68 w 114"/>
                    <a:gd name="T99" fmla="*/ 0 h 60"/>
                    <a:gd name="T100" fmla="*/ 65 w 114"/>
                    <a:gd name="T101" fmla="*/ 0 h 60"/>
                    <a:gd name="T102" fmla="*/ 61 w 114"/>
                    <a:gd name="T103" fmla="*/ 0 h 60"/>
                    <a:gd name="T104" fmla="*/ 57 w 114"/>
                    <a:gd name="T105" fmla="*/ 0 h 60"/>
                    <a:gd name="T106" fmla="*/ 55 w 114"/>
                    <a:gd name="T107" fmla="*/ 0 h 60"/>
                    <a:gd name="T108" fmla="*/ 55 w 114"/>
                    <a:gd name="T109" fmla="*/ 0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
                    <a:gd name="T166" fmla="*/ 0 h 60"/>
                    <a:gd name="T167" fmla="*/ 114 w 11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 h="60">
                      <a:moveTo>
                        <a:pt x="55" y="0"/>
                      </a:moveTo>
                      <a:lnTo>
                        <a:pt x="57" y="0"/>
                      </a:lnTo>
                      <a:lnTo>
                        <a:pt x="61" y="5"/>
                      </a:lnTo>
                      <a:lnTo>
                        <a:pt x="63" y="9"/>
                      </a:lnTo>
                      <a:lnTo>
                        <a:pt x="63" y="15"/>
                      </a:lnTo>
                      <a:lnTo>
                        <a:pt x="63" y="17"/>
                      </a:lnTo>
                      <a:lnTo>
                        <a:pt x="63" y="21"/>
                      </a:lnTo>
                      <a:lnTo>
                        <a:pt x="63" y="24"/>
                      </a:lnTo>
                      <a:lnTo>
                        <a:pt x="63" y="30"/>
                      </a:lnTo>
                      <a:lnTo>
                        <a:pt x="59" y="34"/>
                      </a:lnTo>
                      <a:lnTo>
                        <a:pt x="57" y="38"/>
                      </a:lnTo>
                      <a:lnTo>
                        <a:pt x="53" y="41"/>
                      </a:lnTo>
                      <a:lnTo>
                        <a:pt x="49" y="45"/>
                      </a:lnTo>
                      <a:lnTo>
                        <a:pt x="44" y="47"/>
                      </a:lnTo>
                      <a:lnTo>
                        <a:pt x="38" y="49"/>
                      </a:lnTo>
                      <a:lnTo>
                        <a:pt x="32" y="53"/>
                      </a:lnTo>
                      <a:lnTo>
                        <a:pt x="28" y="55"/>
                      </a:lnTo>
                      <a:lnTo>
                        <a:pt x="21" y="55"/>
                      </a:lnTo>
                      <a:lnTo>
                        <a:pt x="17" y="57"/>
                      </a:lnTo>
                      <a:lnTo>
                        <a:pt x="11" y="59"/>
                      </a:lnTo>
                      <a:lnTo>
                        <a:pt x="8" y="59"/>
                      </a:lnTo>
                      <a:lnTo>
                        <a:pt x="2" y="60"/>
                      </a:lnTo>
                      <a:lnTo>
                        <a:pt x="0" y="60"/>
                      </a:lnTo>
                      <a:lnTo>
                        <a:pt x="4" y="60"/>
                      </a:lnTo>
                      <a:lnTo>
                        <a:pt x="9" y="60"/>
                      </a:lnTo>
                      <a:lnTo>
                        <a:pt x="15" y="60"/>
                      </a:lnTo>
                      <a:lnTo>
                        <a:pt x="23" y="60"/>
                      </a:lnTo>
                      <a:lnTo>
                        <a:pt x="32" y="60"/>
                      </a:lnTo>
                      <a:lnTo>
                        <a:pt x="42" y="59"/>
                      </a:lnTo>
                      <a:lnTo>
                        <a:pt x="51" y="59"/>
                      </a:lnTo>
                      <a:lnTo>
                        <a:pt x="61" y="57"/>
                      </a:lnTo>
                      <a:lnTo>
                        <a:pt x="72" y="55"/>
                      </a:lnTo>
                      <a:lnTo>
                        <a:pt x="80" y="53"/>
                      </a:lnTo>
                      <a:lnTo>
                        <a:pt x="89" y="51"/>
                      </a:lnTo>
                      <a:lnTo>
                        <a:pt x="97" y="47"/>
                      </a:lnTo>
                      <a:lnTo>
                        <a:pt x="104" y="43"/>
                      </a:lnTo>
                      <a:lnTo>
                        <a:pt x="110" y="40"/>
                      </a:lnTo>
                      <a:lnTo>
                        <a:pt x="112" y="34"/>
                      </a:lnTo>
                      <a:lnTo>
                        <a:pt x="114" y="28"/>
                      </a:lnTo>
                      <a:lnTo>
                        <a:pt x="114" y="24"/>
                      </a:lnTo>
                      <a:lnTo>
                        <a:pt x="112" y="19"/>
                      </a:lnTo>
                      <a:lnTo>
                        <a:pt x="108" y="15"/>
                      </a:lnTo>
                      <a:lnTo>
                        <a:pt x="103" y="11"/>
                      </a:lnTo>
                      <a:lnTo>
                        <a:pt x="99" y="9"/>
                      </a:lnTo>
                      <a:lnTo>
                        <a:pt x="93" y="7"/>
                      </a:lnTo>
                      <a:lnTo>
                        <a:pt x="87" y="5"/>
                      </a:lnTo>
                      <a:lnTo>
                        <a:pt x="82" y="3"/>
                      </a:lnTo>
                      <a:lnTo>
                        <a:pt x="76" y="1"/>
                      </a:lnTo>
                      <a:lnTo>
                        <a:pt x="68" y="0"/>
                      </a:lnTo>
                      <a:lnTo>
                        <a:pt x="65" y="0"/>
                      </a:lnTo>
                      <a:lnTo>
                        <a:pt x="61" y="0"/>
                      </a:lnTo>
                      <a:lnTo>
                        <a:pt x="57" y="0"/>
                      </a:lnTo>
                      <a:lnTo>
                        <a:pt x="55" y="0"/>
                      </a:lnTo>
                      <a:close/>
                    </a:path>
                  </a:pathLst>
                </a:custGeom>
                <a:solidFill>
                  <a:srgbClr val="C0C0C0"/>
                </a:solidFill>
                <a:ln w="9525">
                  <a:noFill/>
                  <a:round/>
                  <a:headEnd/>
                  <a:tailEnd/>
                </a:ln>
              </p:spPr>
              <p:txBody>
                <a:bodyPr/>
                <a:lstStyle/>
                <a:p>
                  <a:pPr algn="l" eaLnBrk="1" hangingPunct="1"/>
                  <a:endParaRPr lang="en-US"/>
                </a:p>
              </p:txBody>
            </p:sp>
          </p:grpSp>
        </p:grpSp>
        <p:sp>
          <p:nvSpPr>
            <p:cNvPr id="1325" name="Text Box 778"/>
            <p:cNvSpPr txBox="1">
              <a:spLocks noChangeArrowheads="1"/>
            </p:cNvSpPr>
            <p:nvPr/>
          </p:nvSpPr>
          <p:spPr bwMode="auto">
            <a:xfrm>
              <a:off x="1565" y="1026"/>
              <a:ext cx="1088" cy="366"/>
            </a:xfrm>
            <a:prstGeom prst="rect">
              <a:avLst/>
            </a:prstGeom>
            <a:noFill/>
            <a:ln w="9525">
              <a:noFill/>
              <a:miter lim="800000"/>
              <a:headEnd/>
              <a:tailEnd/>
            </a:ln>
          </p:spPr>
          <p:txBody>
            <a:bodyPr>
              <a:spAutoFit/>
            </a:bodyPr>
            <a:lstStyle/>
            <a:p>
              <a:pPr eaLnBrk="1" hangingPunct="1">
                <a:spcBef>
                  <a:spcPct val="50000"/>
                </a:spcBef>
              </a:pPr>
              <a:r>
                <a:rPr lang="en-GB" sz="1600"/>
                <a:t>Authorized Assortment</a:t>
              </a:r>
            </a:p>
          </p:txBody>
        </p:sp>
        <p:sp>
          <p:nvSpPr>
            <p:cNvPr id="1326" name="AutoShape 1602"/>
            <p:cNvSpPr>
              <a:spLocks noChangeArrowheads="1"/>
            </p:cNvSpPr>
            <p:nvPr/>
          </p:nvSpPr>
          <p:spPr bwMode="auto">
            <a:xfrm>
              <a:off x="1392" y="1920"/>
              <a:ext cx="912" cy="192"/>
            </a:xfrm>
            <a:prstGeom prst="curvedUpArrow">
              <a:avLst>
                <a:gd name="adj1" fmla="val 95000"/>
                <a:gd name="adj2" fmla="val 190000"/>
                <a:gd name="adj3" fmla="val 33333"/>
              </a:avLst>
            </a:prstGeom>
            <a:solidFill>
              <a:schemeClr val="accent1"/>
            </a:solidFill>
            <a:ln w="9525">
              <a:solidFill>
                <a:schemeClr val="tx1"/>
              </a:solidFill>
              <a:miter lim="800000"/>
              <a:headEnd/>
              <a:tailEnd/>
            </a:ln>
            <a:effectLst/>
          </p:spPr>
          <p:txBody>
            <a:bodyPr wrap="none" anchor="ctr"/>
            <a:lstStyle/>
            <a:p>
              <a:endParaRPr lang="en-US"/>
            </a:p>
          </p:txBody>
        </p:sp>
      </p:grpSp>
      <p:grpSp>
        <p:nvGrpSpPr>
          <p:cNvPr id="1609" name="Group 1603"/>
          <p:cNvGrpSpPr>
            <a:grpSpLocks/>
          </p:cNvGrpSpPr>
          <p:nvPr/>
        </p:nvGrpSpPr>
        <p:grpSpPr bwMode="auto">
          <a:xfrm>
            <a:off x="6019800" y="2133600"/>
            <a:ext cx="2590800" cy="1295400"/>
            <a:chOff x="2832" y="1344"/>
            <a:chExt cx="1632" cy="816"/>
          </a:xfrm>
        </p:grpSpPr>
        <p:sp>
          <p:nvSpPr>
            <p:cNvPr id="1610" name="Text Box 786"/>
            <p:cNvSpPr txBox="1">
              <a:spLocks noChangeArrowheads="1"/>
            </p:cNvSpPr>
            <p:nvPr/>
          </p:nvSpPr>
          <p:spPr bwMode="auto">
            <a:xfrm>
              <a:off x="3600" y="1344"/>
              <a:ext cx="864" cy="384"/>
            </a:xfrm>
            <a:prstGeom prst="rect">
              <a:avLst/>
            </a:prstGeom>
            <a:solidFill>
              <a:srgbClr val="FFFF00"/>
            </a:solidFill>
            <a:ln w="9525">
              <a:miter lim="800000"/>
              <a:headEnd/>
              <a:tailEnd/>
            </a:ln>
            <a:scene3d>
              <a:camera prst="legacyPerspectiveTop"/>
              <a:lightRig rig="legacyFlat3" dir="b"/>
            </a:scene3d>
            <a:sp3d extrusionH="887400" prstMaterial="legacyMatte">
              <a:bevelT w="13500" h="13500" prst="angle"/>
              <a:bevelB w="13500" h="13500" prst="angle"/>
              <a:extrusionClr>
                <a:srgbClr val="FFFF00"/>
              </a:extrusionClr>
            </a:sp3d>
          </p:spPr>
          <p:txBody>
            <a:bodyPr anchor="ctr" anchorCtr="1">
              <a:flatTx/>
            </a:bodyPr>
            <a:lstStyle/>
            <a:p>
              <a:pPr eaLnBrk="1" hangingPunct="1">
                <a:spcBef>
                  <a:spcPct val="50000"/>
                </a:spcBef>
              </a:pPr>
              <a:r>
                <a:rPr lang="en-GB" sz="2000">
                  <a:solidFill>
                    <a:schemeClr val="accent2"/>
                  </a:solidFill>
                </a:rPr>
                <a:t>Space Planning</a:t>
              </a:r>
            </a:p>
          </p:txBody>
        </p:sp>
        <p:sp>
          <p:nvSpPr>
            <p:cNvPr id="1611" name="AutoShape 1605"/>
            <p:cNvSpPr>
              <a:spLocks noChangeArrowheads="1"/>
            </p:cNvSpPr>
            <p:nvPr/>
          </p:nvSpPr>
          <p:spPr bwMode="auto">
            <a:xfrm>
              <a:off x="2832" y="1968"/>
              <a:ext cx="1632" cy="192"/>
            </a:xfrm>
            <a:prstGeom prst="curvedUpArrow">
              <a:avLst>
                <a:gd name="adj1" fmla="val 170000"/>
                <a:gd name="adj2" fmla="val 340000"/>
                <a:gd name="adj3" fmla="val 33333"/>
              </a:avLst>
            </a:prstGeom>
            <a:solidFill>
              <a:schemeClr val="accent1"/>
            </a:solidFill>
            <a:ln w="9525">
              <a:solidFill>
                <a:schemeClr val="tx1"/>
              </a:solidFill>
              <a:miter lim="800000"/>
              <a:headEnd/>
              <a:tailEnd/>
            </a:ln>
            <a:effectLst/>
          </p:spPr>
          <p:txBody>
            <a:bodyPr wrap="none" anchor="ctr"/>
            <a:lstStyle/>
            <a:p>
              <a:endParaRPr lang="en-US"/>
            </a:p>
          </p:txBody>
        </p:sp>
      </p:grpSp>
      <p:grpSp>
        <p:nvGrpSpPr>
          <p:cNvPr id="1612" name="Group 1606"/>
          <p:cNvGrpSpPr>
            <a:grpSpLocks/>
          </p:cNvGrpSpPr>
          <p:nvPr/>
        </p:nvGrpSpPr>
        <p:grpSpPr bwMode="auto">
          <a:xfrm>
            <a:off x="2057400" y="3886200"/>
            <a:ext cx="2590800" cy="2438400"/>
            <a:chOff x="336" y="2448"/>
            <a:chExt cx="1632" cy="1536"/>
          </a:xfrm>
        </p:grpSpPr>
        <p:sp>
          <p:nvSpPr>
            <p:cNvPr id="1613" name="Text Box 786"/>
            <p:cNvSpPr txBox="1">
              <a:spLocks noChangeArrowheads="1"/>
            </p:cNvSpPr>
            <p:nvPr/>
          </p:nvSpPr>
          <p:spPr bwMode="auto">
            <a:xfrm>
              <a:off x="336" y="2448"/>
              <a:ext cx="864" cy="384"/>
            </a:xfrm>
            <a:prstGeom prst="rect">
              <a:avLst/>
            </a:prstGeom>
            <a:solidFill>
              <a:srgbClr val="FFFF00"/>
            </a:solidFill>
            <a:ln w="9525">
              <a:miter lim="800000"/>
              <a:headEnd/>
              <a:tailEnd/>
            </a:ln>
            <a:scene3d>
              <a:camera prst="legacyPerspectiveTop"/>
              <a:lightRig rig="legacyFlat3" dir="b"/>
            </a:scene3d>
            <a:sp3d extrusionH="887400" prstMaterial="legacyMatte">
              <a:bevelT w="13500" h="13500" prst="angle"/>
              <a:bevelB w="13500" h="13500" prst="angle"/>
              <a:extrusionClr>
                <a:srgbClr val="FFFF00"/>
              </a:extrusionClr>
            </a:sp3d>
          </p:spPr>
          <p:txBody>
            <a:bodyPr anchor="ctr" anchorCtr="1">
              <a:flatTx/>
            </a:bodyPr>
            <a:lstStyle/>
            <a:p>
              <a:pPr eaLnBrk="1" hangingPunct="1">
                <a:spcBef>
                  <a:spcPct val="50000"/>
                </a:spcBef>
              </a:pPr>
              <a:r>
                <a:rPr lang="en-GB" sz="2000">
                  <a:solidFill>
                    <a:schemeClr val="accent2"/>
                  </a:solidFill>
                </a:rPr>
                <a:t>Floor Planning</a:t>
              </a:r>
            </a:p>
          </p:txBody>
        </p:sp>
        <p:pic>
          <p:nvPicPr>
            <p:cNvPr id="1614" name="Picture 1608"/>
            <p:cNvPicPr preferRelativeResize="0">
              <a:picLocks noChangeArrowheads="1"/>
            </p:cNvPicPr>
            <p:nvPr/>
          </p:nvPicPr>
          <p:blipFill>
            <a:blip r:embed="rId4" cstate="print"/>
            <a:srcRect/>
            <a:stretch>
              <a:fillRect/>
            </a:stretch>
          </p:blipFill>
          <p:spPr bwMode="auto">
            <a:xfrm>
              <a:off x="768" y="2832"/>
              <a:ext cx="1200" cy="1152"/>
            </a:xfrm>
            <a:prstGeom prst="rect">
              <a:avLst/>
            </a:prstGeom>
            <a:noFill/>
            <a:ln w="9525">
              <a:noFill/>
              <a:miter lim="800000"/>
              <a:headEnd/>
              <a:tailEnd/>
            </a:ln>
            <a:effectLst/>
          </p:spPr>
        </p:pic>
      </p:grpSp>
      <p:sp>
        <p:nvSpPr>
          <p:cNvPr id="1615" name="Line 1609"/>
          <p:cNvSpPr>
            <a:spLocks noChangeShapeType="1"/>
          </p:cNvSpPr>
          <p:nvPr/>
        </p:nvSpPr>
        <p:spPr bwMode="auto">
          <a:xfrm flipH="1">
            <a:off x="6934200" y="2755900"/>
            <a:ext cx="457200" cy="1524000"/>
          </a:xfrm>
          <a:prstGeom prst="line">
            <a:avLst/>
          </a:prstGeom>
          <a:noFill/>
          <a:ln w="47625">
            <a:solidFill>
              <a:srgbClr val="000080"/>
            </a:solidFill>
            <a:round/>
            <a:headEnd/>
            <a:tailEnd type="triangle" w="med" len="med"/>
          </a:ln>
          <a:effectLst/>
        </p:spPr>
        <p:txBody>
          <a:bodyPr/>
          <a:lstStyle/>
          <a:p>
            <a:endParaRPr lang="en-US"/>
          </a:p>
        </p:txBody>
      </p:sp>
      <p:sp>
        <p:nvSpPr>
          <p:cNvPr id="1616" name="Text Box 1610"/>
          <p:cNvSpPr txBox="1">
            <a:spLocks noChangeArrowheads="1"/>
          </p:cNvSpPr>
          <p:nvPr/>
        </p:nvSpPr>
        <p:spPr bwMode="auto">
          <a:xfrm>
            <a:off x="6705600" y="5257801"/>
            <a:ext cx="609600" cy="396875"/>
          </a:xfrm>
          <a:prstGeom prst="rect">
            <a:avLst/>
          </a:prstGeom>
          <a:noFill/>
          <a:ln w="9525">
            <a:noFill/>
            <a:miter lim="800000"/>
            <a:headEnd/>
            <a:tailEnd/>
          </a:ln>
          <a:effectLst/>
        </p:spPr>
        <p:txBody>
          <a:bodyPr>
            <a:spAutoFit/>
          </a:bodyPr>
          <a:lstStyle/>
          <a:p>
            <a:pPr algn="l" eaLnBrk="1" hangingPunct="1">
              <a:spcBef>
                <a:spcPct val="50000"/>
              </a:spcBef>
            </a:pPr>
            <a:r>
              <a:rPr lang="en-US" sz="2000" dirty="0">
                <a:solidFill>
                  <a:schemeClr val="accent2"/>
                </a:solidFill>
              </a:rPr>
              <a:t>CKB</a:t>
            </a:r>
          </a:p>
        </p:txBody>
      </p:sp>
      <p:sp>
        <p:nvSpPr>
          <p:cNvPr id="1617" name="Line 1611"/>
          <p:cNvSpPr>
            <a:spLocks noChangeShapeType="1"/>
          </p:cNvSpPr>
          <p:nvPr/>
        </p:nvSpPr>
        <p:spPr bwMode="auto">
          <a:xfrm>
            <a:off x="5181600" y="2971800"/>
            <a:ext cx="1447800" cy="1371600"/>
          </a:xfrm>
          <a:prstGeom prst="line">
            <a:avLst/>
          </a:prstGeom>
          <a:noFill/>
          <a:ln w="47625">
            <a:solidFill>
              <a:srgbClr val="000080"/>
            </a:solidFill>
            <a:round/>
            <a:headEnd/>
            <a:tailEnd type="triangle" w="med" len="med"/>
          </a:ln>
          <a:effectLst/>
        </p:spPr>
        <p:txBody>
          <a:bodyPr/>
          <a:lstStyle/>
          <a:p>
            <a:endParaRPr lang="en-US"/>
          </a:p>
        </p:txBody>
      </p:sp>
      <p:sp>
        <p:nvSpPr>
          <p:cNvPr id="1618" name="Line 1612"/>
          <p:cNvSpPr>
            <a:spLocks noChangeShapeType="1"/>
          </p:cNvSpPr>
          <p:nvPr/>
        </p:nvSpPr>
        <p:spPr bwMode="auto">
          <a:xfrm flipH="1" flipV="1">
            <a:off x="3429000" y="4038600"/>
            <a:ext cx="2895600" cy="533400"/>
          </a:xfrm>
          <a:prstGeom prst="line">
            <a:avLst/>
          </a:prstGeom>
          <a:noFill/>
          <a:ln w="47625">
            <a:solidFill>
              <a:srgbClr val="000080"/>
            </a:solidFill>
            <a:round/>
            <a:headEnd/>
            <a:tailEnd type="triangle" w="med" len="med"/>
          </a:ln>
          <a:effectLst/>
        </p:spPr>
        <p:txBody>
          <a:bodyPr/>
          <a:lstStyle/>
          <a:p>
            <a:endParaRPr lang="en-US"/>
          </a:p>
        </p:txBody>
      </p:sp>
      <p:sp>
        <p:nvSpPr>
          <p:cNvPr id="1619" name="Line 1613"/>
          <p:cNvSpPr>
            <a:spLocks noChangeShapeType="1"/>
          </p:cNvSpPr>
          <p:nvPr/>
        </p:nvSpPr>
        <p:spPr bwMode="auto">
          <a:xfrm>
            <a:off x="3429000" y="4419600"/>
            <a:ext cx="2895600" cy="685800"/>
          </a:xfrm>
          <a:prstGeom prst="line">
            <a:avLst/>
          </a:prstGeom>
          <a:noFill/>
          <a:ln w="47625">
            <a:solidFill>
              <a:srgbClr val="000080"/>
            </a:solidFill>
            <a:round/>
            <a:headEnd/>
            <a:tailEnd type="triangle" w="med" len="med"/>
          </a:ln>
          <a:effectLst/>
        </p:spPr>
        <p:txBody>
          <a:bodyPr/>
          <a:lstStyle/>
          <a:p>
            <a:endParaRPr lang="en-US"/>
          </a:p>
        </p:txBody>
      </p:sp>
      <p:sp>
        <p:nvSpPr>
          <p:cNvPr id="1620" name="Line 1614"/>
          <p:cNvSpPr>
            <a:spLocks noChangeShapeType="1"/>
          </p:cNvSpPr>
          <p:nvPr/>
        </p:nvSpPr>
        <p:spPr bwMode="auto">
          <a:xfrm flipV="1">
            <a:off x="7391400" y="2743200"/>
            <a:ext cx="457200" cy="1524000"/>
          </a:xfrm>
          <a:prstGeom prst="line">
            <a:avLst/>
          </a:prstGeom>
          <a:noFill/>
          <a:ln w="47625">
            <a:solidFill>
              <a:srgbClr val="000080"/>
            </a:solidFill>
            <a:round/>
            <a:headEnd/>
            <a:tailEnd type="triangle" w="med" len="med"/>
          </a:ln>
          <a:effectLst/>
        </p:spPr>
        <p:txBody>
          <a:bodyPr/>
          <a:lstStyle/>
          <a:p>
            <a:endParaRPr lang="en-US"/>
          </a:p>
        </p:txBody>
      </p:sp>
      <p:grpSp>
        <p:nvGrpSpPr>
          <p:cNvPr id="1621" name="Group 1615"/>
          <p:cNvGrpSpPr>
            <a:grpSpLocks/>
          </p:cNvGrpSpPr>
          <p:nvPr/>
        </p:nvGrpSpPr>
        <p:grpSpPr bwMode="auto">
          <a:xfrm>
            <a:off x="7848600" y="4343400"/>
            <a:ext cx="2667000" cy="1600200"/>
            <a:chOff x="4080" y="2832"/>
            <a:chExt cx="1680" cy="1008"/>
          </a:xfrm>
        </p:grpSpPr>
        <p:sp>
          <p:nvSpPr>
            <p:cNvPr id="1622" name="AutoShape 1616"/>
            <p:cNvSpPr>
              <a:spLocks noChangeArrowheads="1"/>
            </p:cNvSpPr>
            <p:nvPr/>
          </p:nvSpPr>
          <p:spPr bwMode="auto">
            <a:xfrm>
              <a:off x="4080" y="2832"/>
              <a:ext cx="1392" cy="1008"/>
            </a:xfrm>
            <a:prstGeom prst="leftArrowCallout">
              <a:avLst>
                <a:gd name="adj1" fmla="val 25000"/>
                <a:gd name="adj2" fmla="val 25000"/>
                <a:gd name="adj3" fmla="val 23016"/>
                <a:gd name="adj4" fmla="val 66667"/>
              </a:avLst>
            </a:prstGeom>
            <a:solidFill>
              <a:schemeClr val="accent1"/>
            </a:solidFill>
            <a:ln w="9525">
              <a:solidFill>
                <a:schemeClr val="tx1"/>
              </a:solidFill>
              <a:miter lim="800000"/>
              <a:headEnd/>
              <a:tailEnd/>
            </a:ln>
            <a:effectLst/>
          </p:spPr>
          <p:txBody>
            <a:bodyPr wrap="none" anchor="ctr"/>
            <a:lstStyle/>
            <a:p>
              <a:endParaRPr lang="en-US"/>
            </a:p>
          </p:txBody>
        </p:sp>
        <p:pic>
          <p:nvPicPr>
            <p:cNvPr id="1623" name="Picture 1617" descr="PlanogramChart"/>
            <p:cNvPicPr>
              <a:picLocks noChangeAspect="1" noChangeArrowheads="1"/>
            </p:cNvPicPr>
            <p:nvPr/>
          </p:nvPicPr>
          <p:blipFill>
            <a:blip r:embed="rId5" cstate="print"/>
            <a:srcRect/>
            <a:stretch>
              <a:fillRect/>
            </a:stretch>
          </p:blipFill>
          <p:spPr bwMode="auto">
            <a:xfrm>
              <a:off x="4368" y="2880"/>
              <a:ext cx="1392" cy="927"/>
            </a:xfrm>
            <a:prstGeom prst="rect">
              <a:avLst/>
            </a:prstGeom>
            <a:noFill/>
          </p:spPr>
        </p:pic>
      </p:grpSp>
    </p:spTree>
    <p:extLst>
      <p:ext uri="{BB962C8B-B14F-4D97-AF65-F5344CB8AC3E}">
        <p14:creationId xmlns:p14="http://schemas.microsoft.com/office/powerpoint/2010/main" val="223307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5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13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501"/>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nodeType="afterEffect">
                                  <p:stCondLst>
                                    <p:cond delay="0"/>
                                  </p:stCondLst>
                                  <p:childTnLst>
                                    <p:set>
                                      <p:cBhvr>
                                        <p:cTn id="17" dur="1" fill="hold">
                                          <p:stCondLst>
                                            <p:cond delay="499"/>
                                          </p:stCondLst>
                                        </p:cTn>
                                        <p:tgtEl>
                                          <p:spTgt spid="110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499"/>
                                          </p:stCondLst>
                                        </p:cTn>
                                        <p:tgtEl>
                                          <p:spTgt spid="161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499"/>
                                          </p:stCondLst>
                                        </p:cTn>
                                        <p:tgtEl>
                                          <p:spTgt spid="160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499"/>
                                          </p:stCondLst>
                                        </p:cTn>
                                        <p:tgtEl>
                                          <p:spTgt spid="162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499"/>
                                          </p:stCondLst>
                                        </p:cTn>
                                        <p:tgtEl>
                                          <p:spTgt spid="503"/>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499"/>
                                          </p:stCondLst>
                                        </p:cTn>
                                        <p:tgtEl>
                                          <p:spTgt spid="1615"/>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499"/>
                                          </p:stCondLst>
                                        </p:cTn>
                                        <p:tgtEl>
                                          <p:spTgt spid="161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499"/>
                                          </p:stCondLst>
                                        </p:cTn>
                                        <p:tgtEl>
                                          <p:spTgt spid="161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499"/>
                                          </p:stCondLst>
                                        </p:cTn>
                                        <p:tgtEl>
                                          <p:spTgt spid="1619"/>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16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 grpId="0" autoUpdateAnimBg="0"/>
      <p:bldP spid="502" grpId="0" animBg="1" autoUpdateAnimBg="0"/>
      <p:bldP spid="1615" grpId="0" animBg="1"/>
      <p:bldP spid="1617" grpId="0" animBg="1"/>
      <p:bldP spid="1618" grpId="0" animBg="1"/>
      <p:bldP spid="1619" grpId="0" animBg="1"/>
      <p:bldP spid="162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Processes</a:t>
            </a:r>
          </a:p>
        </p:txBody>
      </p:sp>
      <p:sp>
        <p:nvSpPr>
          <p:cNvPr id="9" name="Content Placeholder 8"/>
          <p:cNvSpPr>
            <a:spLocks noGrp="1"/>
          </p:cNvSpPr>
          <p:nvPr>
            <p:ph sz="half" idx="1"/>
          </p:nvPr>
        </p:nvSpPr>
        <p:spPr>
          <a:xfrm>
            <a:off x="683581" y="1135689"/>
            <a:ext cx="5975941" cy="4525963"/>
          </a:xfrm>
        </p:spPr>
        <p:txBody>
          <a:bodyPr/>
          <a:lstStyle/>
          <a:p>
            <a:pPr>
              <a:lnSpc>
                <a:spcPct val="150000"/>
              </a:lnSpc>
            </a:pPr>
            <a:r>
              <a:rPr lang="en-US" dirty="0"/>
              <a:t>Planogram Creation and Approval</a:t>
            </a:r>
          </a:p>
          <a:p>
            <a:pPr lvl="1">
              <a:lnSpc>
                <a:spcPct val="150000"/>
              </a:lnSpc>
            </a:pPr>
            <a:r>
              <a:rPr lang="en-US" sz="1800" dirty="0"/>
              <a:t>New planograms</a:t>
            </a:r>
          </a:p>
          <a:p>
            <a:pPr lvl="2">
              <a:lnSpc>
                <a:spcPct val="150000"/>
              </a:lnSpc>
            </a:pPr>
            <a:r>
              <a:rPr lang="en-US" sz="1800" dirty="0"/>
              <a:t>Space constraints</a:t>
            </a:r>
          </a:p>
          <a:p>
            <a:pPr lvl="2">
              <a:lnSpc>
                <a:spcPct val="150000"/>
              </a:lnSpc>
            </a:pPr>
            <a:r>
              <a:rPr lang="en-US" sz="1800" dirty="0"/>
              <a:t>Fixture type</a:t>
            </a:r>
          </a:p>
          <a:p>
            <a:pPr lvl="2">
              <a:lnSpc>
                <a:spcPct val="150000"/>
              </a:lnSpc>
            </a:pPr>
            <a:r>
              <a:rPr lang="en-US" sz="1800" dirty="0"/>
              <a:t>Cluster assignment (vs. store specific)</a:t>
            </a:r>
          </a:p>
          <a:p>
            <a:pPr lvl="1">
              <a:lnSpc>
                <a:spcPct val="150000"/>
              </a:lnSpc>
            </a:pPr>
            <a:r>
              <a:rPr lang="en-US" sz="1800" dirty="0"/>
              <a:t>Revision of an existing planogram</a:t>
            </a:r>
          </a:p>
          <a:p>
            <a:pPr lvl="2">
              <a:lnSpc>
                <a:spcPct val="150000"/>
              </a:lnSpc>
            </a:pPr>
            <a:r>
              <a:rPr lang="en-US" sz="1800" dirty="0"/>
              <a:t>Cluster reassignment</a:t>
            </a:r>
          </a:p>
          <a:p>
            <a:pPr lvl="1">
              <a:lnSpc>
                <a:spcPct val="150000"/>
              </a:lnSpc>
            </a:pPr>
            <a:r>
              <a:rPr lang="en-US" sz="1800" dirty="0"/>
              <a:t>Vendor created planograms</a:t>
            </a:r>
          </a:p>
          <a:p>
            <a:pPr lvl="2">
              <a:lnSpc>
                <a:spcPct val="150000"/>
              </a:lnSpc>
            </a:pPr>
            <a:r>
              <a:rPr lang="en-US" sz="1800" dirty="0"/>
              <a:t>Including vendor specific processes (product use, fixture library access, cluster assignment, etc.)</a:t>
            </a:r>
          </a:p>
          <a:p>
            <a:pPr lvl="1">
              <a:lnSpc>
                <a:spcPct val="150000"/>
              </a:lnSpc>
            </a:pPr>
            <a:endParaRPr lang="en-US" dirty="0"/>
          </a:p>
        </p:txBody>
      </p:sp>
      <p:sp>
        <p:nvSpPr>
          <p:cNvPr id="2" name="Content Placeholder 1"/>
          <p:cNvSpPr>
            <a:spLocks noGrp="1"/>
          </p:cNvSpPr>
          <p:nvPr>
            <p:ph sz="half" idx="2"/>
          </p:nvPr>
        </p:nvSpPr>
        <p:spPr>
          <a:xfrm>
            <a:off x="6629398" y="1135689"/>
            <a:ext cx="5562602" cy="4525963"/>
          </a:xfrm>
        </p:spPr>
        <p:txBody>
          <a:bodyPr/>
          <a:lstStyle/>
          <a:p>
            <a:pPr>
              <a:lnSpc>
                <a:spcPct val="150000"/>
              </a:lnSpc>
            </a:pPr>
            <a:r>
              <a:rPr lang="en-US" dirty="0"/>
              <a:t>Planogram Exclusions</a:t>
            </a:r>
          </a:p>
          <a:p>
            <a:pPr>
              <a:lnSpc>
                <a:spcPct val="150000"/>
              </a:lnSpc>
            </a:pPr>
            <a:r>
              <a:rPr lang="en-US" dirty="0"/>
              <a:t>Planogram Publishing</a:t>
            </a:r>
          </a:p>
          <a:p>
            <a:pPr>
              <a:lnSpc>
                <a:spcPct val="150000"/>
              </a:lnSpc>
            </a:pPr>
            <a:r>
              <a:rPr lang="en-US" dirty="0"/>
              <a:t>Space Planning Analysis</a:t>
            </a:r>
          </a:p>
          <a:p>
            <a:pPr>
              <a:lnSpc>
                <a:spcPct val="150000"/>
              </a:lnSpc>
            </a:pPr>
            <a:r>
              <a:rPr lang="en-US" dirty="0"/>
              <a:t>Planogram Initialization</a:t>
            </a:r>
          </a:p>
          <a:p>
            <a:pPr lvl="1">
              <a:lnSpc>
                <a:spcPct val="150000"/>
              </a:lnSpc>
            </a:pPr>
            <a:r>
              <a:rPr lang="en-US" sz="1800" dirty="0"/>
              <a:t>Created from scratch</a:t>
            </a:r>
          </a:p>
          <a:p>
            <a:pPr lvl="1">
              <a:lnSpc>
                <a:spcPct val="150000"/>
              </a:lnSpc>
            </a:pPr>
            <a:r>
              <a:rPr lang="en-US" sz="1800" dirty="0"/>
              <a:t>Existing planograms to be used as the base for the first planograms in the production environment</a:t>
            </a:r>
          </a:p>
          <a:p>
            <a:pPr lvl="1">
              <a:lnSpc>
                <a:spcPct val="150000"/>
              </a:lnSpc>
            </a:pPr>
            <a:r>
              <a:rPr lang="en-US" sz="1800" dirty="0"/>
              <a:t>When using Category Knowledge Base, existing products and planograms can be imported</a:t>
            </a:r>
          </a:p>
        </p:txBody>
      </p:sp>
    </p:spTree>
    <p:extLst>
      <p:ext uri="{BB962C8B-B14F-4D97-AF65-F5344CB8AC3E}">
        <p14:creationId xmlns:p14="http://schemas.microsoft.com/office/powerpoint/2010/main" val="196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
                                            <p:txEl>
                                              <p:pRg st="7" end="7"/>
                                            </p:txEl>
                                          </p:spTgt>
                                        </p:tgtEl>
                                        <p:attrNameLst>
                                          <p:attrName>style.visibility</p:attrName>
                                        </p:attrNameLst>
                                      </p:cBhvr>
                                      <p:to>
                                        <p:strVal val="visible"/>
                                      </p:to>
                                    </p:set>
                                    <p:animEffect transition="in" filter="fade">
                                      <p:cBhvr>
                                        <p:cTn id="42" dur="500"/>
                                        <p:tgtEl>
                                          <p:spTgt spid="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9">
                                            <p:txEl>
                                              <p:pRg st="8" end="8"/>
                                            </p:txEl>
                                          </p:spTgt>
                                        </p:tgtEl>
                                        <p:attrNameLst>
                                          <p:attrName>style.visibility</p:attrName>
                                        </p:attrNameLst>
                                      </p:cBhvr>
                                      <p:to>
                                        <p:strVal val="visible"/>
                                      </p:to>
                                    </p:set>
                                    <p:animEffect transition="in" filter="fade">
                                      <p:cBhvr>
                                        <p:cTn id="47" dur="500"/>
                                        <p:tgtEl>
                                          <p:spTgt spid="9">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0" end="0"/>
                                            </p:txEl>
                                          </p:spTgt>
                                        </p:tgtEl>
                                        <p:attrNameLst>
                                          <p:attrName>style.visibility</p:attrName>
                                        </p:attrNameLst>
                                      </p:cBhvr>
                                      <p:to>
                                        <p:strVal val="visible"/>
                                      </p:to>
                                    </p:set>
                                    <p:animEffect transition="in" filter="fade">
                                      <p:cBhvr>
                                        <p:cTn id="52" dur="500"/>
                                        <p:tgtEl>
                                          <p:spTgt spid="2">
                                            <p:txEl>
                                              <p:pRg st="0" end="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 end="1"/>
                                            </p:txEl>
                                          </p:spTgt>
                                        </p:tgtEl>
                                        <p:attrNameLst>
                                          <p:attrName>style.visibility</p:attrName>
                                        </p:attrNameLst>
                                      </p:cBhvr>
                                      <p:to>
                                        <p:strVal val="visible"/>
                                      </p:to>
                                    </p:set>
                                    <p:animEffect transition="in" filter="fade">
                                      <p:cBhvr>
                                        <p:cTn id="57" dur="500"/>
                                        <p:tgtEl>
                                          <p:spTgt spid="2">
                                            <p:txEl>
                                              <p:pRg st="1" end="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2" end="2"/>
                                            </p:txEl>
                                          </p:spTgt>
                                        </p:tgtEl>
                                        <p:attrNameLst>
                                          <p:attrName>style.visibility</p:attrName>
                                        </p:attrNameLst>
                                      </p:cBhvr>
                                      <p:to>
                                        <p:strVal val="visible"/>
                                      </p:to>
                                    </p:set>
                                    <p:animEffect transition="in" filter="fade">
                                      <p:cBhvr>
                                        <p:cTn id="62" dur="500"/>
                                        <p:tgtEl>
                                          <p:spTgt spid="2">
                                            <p:txEl>
                                              <p:pRg st="2" end="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3" end="3"/>
                                            </p:txEl>
                                          </p:spTgt>
                                        </p:tgtEl>
                                        <p:attrNameLst>
                                          <p:attrName>style.visibility</p:attrName>
                                        </p:attrNameLst>
                                      </p:cBhvr>
                                      <p:to>
                                        <p:strVal val="visible"/>
                                      </p:to>
                                    </p:set>
                                    <p:animEffect transition="in" filter="fade">
                                      <p:cBhvr>
                                        <p:cTn id="67" dur="500"/>
                                        <p:tgtEl>
                                          <p:spTgt spid="2">
                                            <p:txEl>
                                              <p:pRg st="3" end="3"/>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4" end="4"/>
                                            </p:txEl>
                                          </p:spTgt>
                                        </p:tgtEl>
                                        <p:attrNameLst>
                                          <p:attrName>style.visibility</p:attrName>
                                        </p:attrNameLst>
                                      </p:cBhvr>
                                      <p:to>
                                        <p:strVal val="visible"/>
                                      </p:to>
                                    </p:set>
                                    <p:animEffect transition="in" filter="fade">
                                      <p:cBhvr>
                                        <p:cTn id="72" dur="500"/>
                                        <p:tgtEl>
                                          <p:spTgt spid="2">
                                            <p:txEl>
                                              <p:pRg st="4" end="4"/>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5" end="5"/>
                                            </p:txEl>
                                          </p:spTgt>
                                        </p:tgtEl>
                                        <p:attrNameLst>
                                          <p:attrName>style.visibility</p:attrName>
                                        </p:attrNameLst>
                                      </p:cBhvr>
                                      <p:to>
                                        <p:strVal val="visible"/>
                                      </p:to>
                                    </p:set>
                                    <p:animEffect transition="in" filter="fade">
                                      <p:cBhvr>
                                        <p:cTn id="77" dur="500"/>
                                        <p:tgtEl>
                                          <p:spTgt spid="2">
                                            <p:txEl>
                                              <p:pRg st="5" end="5"/>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6" end="6"/>
                                            </p:txEl>
                                          </p:spTgt>
                                        </p:tgtEl>
                                        <p:attrNameLst>
                                          <p:attrName>style.visibility</p:attrName>
                                        </p:attrNameLst>
                                      </p:cBhvr>
                                      <p:to>
                                        <p:strVal val="visible"/>
                                      </p:to>
                                    </p:set>
                                    <p:animEffect transition="in" filter="fade">
                                      <p:cBhvr>
                                        <p:cTn id="82"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19949-1DD3-4EF7-B5A6-A515DE8620DA}"/>
              </a:ext>
            </a:extLst>
          </p:cNvPr>
          <p:cNvSpPr>
            <a:spLocks noGrp="1"/>
          </p:cNvSpPr>
          <p:nvPr>
            <p:ph type="title"/>
          </p:nvPr>
        </p:nvSpPr>
        <p:spPr/>
        <p:txBody>
          <a:bodyPr/>
          <a:lstStyle/>
          <a:p>
            <a:r>
              <a:rPr lang="en-GB"/>
              <a:t>Lifecycle Management</a:t>
            </a:r>
          </a:p>
        </p:txBody>
      </p:sp>
      <p:sp>
        <p:nvSpPr>
          <p:cNvPr id="3" name="Text Placeholder 2">
            <a:extLst>
              <a:ext uri="{FF2B5EF4-FFF2-40B4-BE49-F238E27FC236}">
                <a16:creationId xmlns:a16="http://schemas.microsoft.com/office/drawing/2014/main" id="{7C8BB36A-D535-45D4-B2C0-F2C1DEBEC22E}"/>
              </a:ext>
            </a:extLst>
          </p:cNvPr>
          <p:cNvSpPr>
            <a:spLocks noGrp="1"/>
          </p:cNvSpPr>
          <p:nvPr>
            <p:ph type="body" sz="quarter" idx="10"/>
          </p:nvPr>
        </p:nvSpPr>
        <p:spPr/>
        <p:txBody>
          <a:bodyPr/>
          <a:lstStyle/>
          <a:p>
            <a:r>
              <a:rPr lang="en-US" dirty="0"/>
              <a:t>Lifecycle Management &amp; Version Control</a:t>
            </a:r>
          </a:p>
        </p:txBody>
      </p:sp>
      <p:pic>
        <p:nvPicPr>
          <p:cNvPr id="4" name="Picture 3">
            <a:extLst>
              <a:ext uri="{FF2B5EF4-FFF2-40B4-BE49-F238E27FC236}">
                <a16:creationId xmlns:a16="http://schemas.microsoft.com/office/drawing/2014/main" id="{1520430A-3458-4974-9BB8-4E6E10B99071}"/>
              </a:ext>
            </a:extLst>
          </p:cNvPr>
          <p:cNvPicPr>
            <a:picLocks noChangeAspect="1"/>
          </p:cNvPicPr>
          <p:nvPr/>
        </p:nvPicPr>
        <p:blipFill>
          <a:blip r:embed="rId2"/>
          <a:stretch>
            <a:fillRect/>
          </a:stretch>
        </p:blipFill>
        <p:spPr>
          <a:xfrm>
            <a:off x="460498" y="1652955"/>
            <a:ext cx="4868678" cy="2127738"/>
          </a:xfrm>
          <a:prstGeom prst="rect">
            <a:avLst/>
          </a:prstGeom>
          <a:ln>
            <a:noFill/>
          </a:ln>
          <a:effectLst>
            <a:outerShdw blurRad="292100" dist="139700" dir="2700000" algn="tl" rotWithShape="0">
              <a:srgbClr val="333333">
                <a:alpha val="65000"/>
              </a:srgbClr>
            </a:outerShdw>
          </a:effectLst>
        </p:spPr>
      </p:pic>
      <p:pic>
        <p:nvPicPr>
          <p:cNvPr id="5" name="Picture 4" descr="http://www.rw-designer.com/icon-image/7506-256x256x32.png">
            <a:hlinkClick r:id="rId3"/>
            <a:extLst>
              <a:ext uri="{FF2B5EF4-FFF2-40B4-BE49-F238E27FC236}">
                <a16:creationId xmlns:a16="http://schemas.microsoft.com/office/drawing/2014/main" id="{73861AD0-BEB1-4DFC-B3EA-9DDE630E8C7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393482" y="2580728"/>
            <a:ext cx="1243289" cy="115465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EB2DEE3-C148-4C4C-9872-8EAFAB151E9A}"/>
              </a:ext>
            </a:extLst>
          </p:cNvPr>
          <p:cNvSpPr txBox="1"/>
          <p:nvPr/>
        </p:nvSpPr>
        <p:spPr>
          <a:xfrm>
            <a:off x="5697096" y="3735387"/>
            <a:ext cx="797808" cy="276999"/>
          </a:xfrm>
          <a:prstGeom prst="rect">
            <a:avLst/>
          </a:prstGeom>
          <a:noFill/>
        </p:spPr>
        <p:txBody>
          <a:bodyPr wrap="square" rtlCol="0">
            <a:spAutoFit/>
          </a:bodyPr>
          <a:lstStyle/>
          <a:p>
            <a:r>
              <a:rPr lang="en-GB" sz="1200" b="1">
                <a:cs typeface="Arial" panose="020B0604020202020204" pitchFamily="34" charset="0"/>
              </a:rPr>
              <a:t>CKB</a:t>
            </a:r>
          </a:p>
        </p:txBody>
      </p:sp>
      <p:grpSp>
        <p:nvGrpSpPr>
          <p:cNvPr id="18" name="Group 17">
            <a:extLst>
              <a:ext uri="{FF2B5EF4-FFF2-40B4-BE49-F238E27FC236}">
                <a16:creationId xmlns:a16="http://schemas.microsoft.com/office/drawing/2014/main" id="{98562AA0-0C40-4BB7-B120-CDC9DF162A69}"/>
              </a:ext>
            </a:extLst>
          </p:cNvPr>
          <p:cNvGrpSpPr/>
          <p:nvPr/>
        </p:nvGrpSpPr>
        <p:grpSpPr>
          <a:xfrm>
            <a:off x="6701078" y="1479945"/>
            <a:ext cx="4537939" cy="2761909"/>
            <a:chOff x="7044460" y="1997435"/>
            <a:chExt cx="4537939" cy="2761909"/>
          </a:xfrm>
        </p:grpSpPr>
        <p:grpSp>
          <p:nvGrpSpPr>
            <p:cNvPr id="7" name="Group 9">
              <a:extLst>
                <a:ext uri="{FF2B5EF4-FFF2-40B4-BE49-F238E27FC236}">
                  <a16:creationId xmlns:a16="http://schemas.microsoft.com/office/drawing/2014/main" id="{81B4CE7E-77B8-421E-8A1D-6FE8C2DC7BC7}"/>
                </a:ext>
              </a:extLst>
            </p:cNvPr>
            <p:cNvGrpSpPr>
              <a:grpSpLocks/>
            </p:cNvGrpSpPr>
            <p:nvPr/>
          </p:nvGrpSpPr>
          <p:grpSpPr bwMode="auto">
            <a:xfrm>
              <a:off x="7044460" y="1997435"/>
              <a:ext cx="4537939" cy="2761909"/>
              <a:chOff x="305" y="2665"/>
              <a:chExt cx="1087" cy="1398"/>
            </a:xfrm>
          </p:grpSpPr>
          <p:grpSp>
            <p:nvGrpSpPr>
              <p:cNvPr id="8" name="Group 10">
                <a:extLst>
                  <a:ext uri="{FF2B5EF4-FFF2-40B4-BE49-F238E27FC236}">
                    <a16:creationId xmlns:a16="http://schemas.microsoft.com/office/drawing/2014/main" id="{B9476542-1DA9-4947-AE93-9CA9026C4EB3}"/>
                  </a:ext>
                </a:extLst>
              </p:cNvPr>
              <p:cNvGrpSpPr>
                <a:grpSpLocks/>
              </p:cNvGrpSpPr>
              <p:nvPr/>
            </p:nvGrpSpPr>
            <p:grpSpPr bwMode="auto">
              <a:xfrm>
                <a:off x="384" y="3888"/>
                <a:ext cx="1008" cy="175"/>
                <a:chOff x="768" y="3984"/>
                <a:chExt cx="1008" cy="175"/>
              </a:xfrm>
            </p:grpSpPr>
            <p:sp>
              <p:nvSpPr>
                <p:cNvPr id="12" name="Line 11">
                  <a:extLst>
                    <a:ext uri="{FF2B5EF4-FFF2-40B4-BE49-F238E27FC236}">
                      <a16:creationId xmlns:a16="http://schemas.microsoft.com/office/drawing/2014/main" id="{2AC3430C-3879-4397-A2D3-75B1F2C91D90}"/>
                    </a:ext>
                  </a:extLst>
                </p:cNvPr>
                <p:cNvSpPr>
                  <a:spLocks noChangeShapeType="1"/>
                </p:cNvSpPr>
                <p:nvPr/>
              </p:nvSpPr>
              <p:spPr bwMode="auto">
                <a:xfrm>
                  <a:off x="768" y="3984"/>
                  <a:ext cx="1008" cy="0"/>
                </a:xfrm>
                <a:prstGeom prst="line">
                  <a:avLst/>
                </a:prstGeom>
                <a:noFill/>
                <a:ln w="25400">
                  <a:solidFill>
                    <a:schemeClr val="tx1"/>
                  </a:solidFill>
                  <a:round/>
                  <a:headEnd/>
                  <a:tailEnd type="triangle" w="med" len="med"/>
                </a:ln>
                <a:effectLst/>
              </p:spPr>
              <p:txBody>
                <a:bodyPr wrap="none"/>
                <a:lstStyle/>
                <a:p>
                  <a:endParaRPr lang="en-GB"/>
                </a:p>
              </p:txBody>
            </p:sp>
            <p:sp>
              <p:nvSpPr>
                <p:cNvPr id="13" name="Rectangle 12">
                  <a:extLst>
                    <a:ext uri="{FF2B5EF4-FFF2-40B4-BE49-F238E27FC236}">
                      <a16:creationId xmlns:a16="http://schemas.microsoft.com/office/drawing/2014/main" id="{74B0FEBE-6038-427B-B3AE-2BCD42A81AB2}"/>
                    </a:ext>
                  </a:extLst>
                </p:cNvPr>
                <p:cNvSpPr>
                  <a:spLocks noChangeArrowheads="1"/>
                </p:cNvSpPr>
                <p:nvPr/>
              </p:nvSpPr>
              <p:spPr bwMode="auto">
                <a:xfrm>
                  <a:off x="992" y="3988"/>
                  <a:ext cx="145" cy="171"/>
                </a:xfrm>
                <a:prstGeom prst="rect">
                  <a:avLst/>
                </a:prstGeom>
                <a:noFill/>
                <a:ln w="9525">
                  <a:noFill/>
                  <a:miter lim="800000"/>
                  <a:headEnd/>
                  <a:tailEnd/>
                </a:ln>
                <a:effectLst/>
              </p:spPr>
              <p:txBody>
                <a:bodyPr wrap="none">
                  <a:spAutoFit/>
                </a:bodyPr>
                <a:lstStyle/>
                <a:p>
                  <a:pPr algn="ctr"/>
                  <a:r>
                    <a:rPr lang="en-US" sz="1600" b="1"/>
                    <a:t>Time</a:t>
                  </a:r>
                </a:p>
              </p:txBody>
            </p:sp>
          </p:grpSp>
          <p:grpSp>
            <p:nvGrpSpPr>
              <p:cNvPr id="9" name="Group 8">
                <a:extLst>
                  <a:ext uri="{FF2B5EF4-FFF2-40B4-BE49-F238E27FC236}">
                    <a16:creationId xmlns:a16="http://schemas.microsoft.com/office/drawing/2014/main" id="{886E127B-97CA-404C-8433-6637C12C7400}"/>
                  </a:ext>
                </a:extLst>
              </p:cNvPr>
              <p:cNvGrpSpPr>
                <a:grpSpLocks/>
              </p:cNvGrpSpPr>
              <p:nvPr/>
            </p:nvGrpSpPr>
            <p:grpSpPr bwMode="auto">
              <a:xfrm>
                <a:off x="305" y="2665"/>
                <a:ext cx="81" cy="1224"/>
                <a:chOff x="689" y="2768"/>
                <a:chExt cx="81" cy="1168"/>
              </a:xfrm>
            </p:grpSpPr>
            <p:sp>
              <p:nvSpPr>
                <p:cNvPr id="10" name="Line 14">
                  <a:extLst>
                    <a:ext uri="{FF2B5EF4-FFF2-40B4-BE49-F238E27FC236}">
                      <a16:creationId xmlns:a16="http://schemas.microsoft.com/office/drawing/2014/main" id="{96C6D29F-C5AC-4F55-96CA-0B102A58D17C}"/>
                    </a:ext>
                  </a:extLst>
                </p:cNvPr>
                <p:cNvSpPr>
                  <a:spLocks noChangeShapeType="1"/>
                </p:cNvSpPr>
                <p:nvPr/>
              </p:nvSpPr>
              <p:spPr bwMode="auto">
                <a:xfrm rot="16200000" flipV="1">
                  <a:off x="184" y="3351"/>
                  <a:ext cx="1168" cy="1"/>
                </a:xfrm>
                <a:prstGeom prst="line">
                  <a:avLst/>
                </a:prstGeom>
                <a:noFill/>
                <a:ln w="25400">
                  <a:solidFill>
                    <a:schemeClr val="tx1"/>
                  </a:solidFill>
                  <a:round/>
                  <a:headEnd/>
                  <a:tailEnd type="triangle" w="med" len="med"/>
                </a:ln>
                <a:effectLst/>
              </p:spPr>
              <p:txBody>
                <a:bodyPr wrap="none"/>
                <a:lstStyle/>
                <a:p>
                  <a:endParaRPr lang="en-GB"/>
                </a:p>
              </p:txBody>
            </p:sp>
            <p:sp>
              <p:nvSpPr>
                <p:cNvPr id="11" name="Rectangle 15">
                  <a:extLst>
                    <a:ext uri="{FF2B5EF4-FFF2-40B4-BE49-F238E27FC236}">
                      <a16:creationId xmlns:a16="http://schemas.microsoft.com/office/drawing/2014/main" id="{5936266F-DC57-48D7-AE2A-7345DD08D6C8}"/>
                    </a:ext>
                  </a:extLst>
                </p:cNvPr>
                <p:cNvSpPr>
                  <a:spLocks noChangeArrowheads="1"/>
                </p:cNvSpPr>
                <p:nvPr/>
              </p:nvSpPr>
              <p:spPr bwMode="auto">
                <a:xfrm rot="16200000">
                  <a:off x="511" y="3367"/>
                  <a:ext cx="437" cy="81"/>
                </a:xfrm>
                <a:prstGeom prst="rect">
                  <a:avLst/>
                </a:prstGeom>
                <a:noFill/>
                <a:ln w="9525">
                  <a:noFill/>
                  <a:miter lim="800000"/>
                  <a:headEnd/>
                  <a:tailEnd/>
                </a:ln>
                <a:effectLst/>
              </p:spPr>
              <p:txBody>
                <a:bodyPr wrap="square">
                  <a:spAutoFit/>
                </a:bodyPr>
                <a:lstStyle/>
                <a:p>
                  <a:pPr algn="ctr"/>
                  <a:r>
                    <a:rPr lang="en-US" sz="1600" b="1"/>
                    <a:t>Versions</a:t>
                  </a:r>
                </a:p>
              </p:txBody>
            </p:sp>
          </p:grpSp>
        </p:grpSp>
        <p:graphicFrame>
          <p:nvGraphicFramePr>
            <p:cNvPr id="17" name="Diagram 16">
              <a:extLst>
                <a:ext uri="{FF2B5EF4-FFF2-40B4-BE49-F238E27FC236}">
                  <a16:creationId xmlns:a16="http://schemas.microsoft.com/office/drawing/2014/main" id="{3C109EBC-3C10-457F-AD3E-20B399020112}"/>
                </a:ext>
              </a:extLst>
            </p:cNvPr>
            <p:cNvGraphicFramePr/>
            <p:nvPr/>
          </p:nvGraphicFramePr>
          <p:xfrm>
            <a:off x="7554679" y="2068871"/>
            <a:ext cx="3746048" cy="23368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sp>
        <p:nvSpPr>
          <p:cNvPr id="19" name="TextBox 18">
            <a:extLst>
              <a:ext uri="{FF2B5EF4-FFF2-40B4-BE49-F238E27FC236}">
                <a16:creationId xmlns:a16="http://schemas.microsoft.com/office/drawing/2014/main" id="{1B2EAFB9-437D-45E0-8280-04FF8DEFFCDD}"/>
              </a:ext>
            </a:extLst>
          </p:cNvPr>
          <p:cNvSpPr txBox="1"/>
          <p:nvPr/>
        </p:nvSpPr>
        <p:spPr>
          <a:xfrm>
            <a:off x="574447" y="4199096"/>
            <a:ext cx="11413409" cy="2308324"/>
          </a:xfrm>
          <a:prstGeom prst="rect">
            <a:avLst/>
          </a:prstGeom>
          <a:noFill/>
        </p:spPr>
        <p:txBody>
          <a:bodyPr wrap="square" rtlCol="0">
            <a:spAutoFit/>
          </a:bodyPr>
          <a:lstStyle/>
          <a:p>
            <a:pPr marL="177694" indent="-177694">
              <a:buFont typeface="Arial" pitchFamily="34" charset="0"/>
              <a:buChar char="•"/>
            </a:pPr>
            <a:r>
              <a:rPr lang="en-GB" sz="1600" b="1" u="sng" dirty="0">
                <a:ea typeface="ＭＳ Ｐゴシック" pitchFamily="-105" charset="-128"/>
                <a:cs typeface="Arial" pitchFamily="34" charset="0"/>
              </a:rPr>
              <a:t>Specific Lifecycle statuses</a:t>
            </a:r>
            <a:r>
              <a:rPr lang="en-GB" sz="1600" dirty="0">
                <a:ea typeface="ＭＳ Ｐゴシック" pitchFamily="-105" charset="-128"/>
                <a:cs typeface="Arial" pitchFamily="34" charset="0"/>
              </a:rPr>
              <a:t> to meet your business requirements</a:t>
            </a:r>
          </a:p>
          <a:p>
            <a:pPr marL="177694" indent="-177694">
              <a:buFont typeface="Arial" pitchFamily="34" charset="0"/>
              <a:buChar char="•"/>
            </a:pPr>
            <a:endParaRPr lang="en-GB" sz="1600" dirty="0">
              <a:ea typeface="ＭＳ Ｐゴシック" pitchFamily="-105" charset="-128"/>
              <a:cs typeface="Arial" pitchFamily="34" charset="0"/>
            </a:endParaRPr>
          </a:p>
          <a:p>
            <a:pPr marL="177694" indent="-177694">
              <a:buFont typeface="Arial" pitchFamily="34" charset="0"/>
              <a:buChar char="•"/>
            </a:pPr>
            <a:r>
              <a:rPr lang="en-GB" sz="1600" dirty="0">
                <a:ea typeface="ＭＳ Ｐゴシック" pitchFamily="-105" charset="-128"/>
                <a:cs typeface="Arial" pitchFamily="34" charset="0"/>
              </a:rPr>
              <a:t>All </a:t>
            </a:r>
            <a:r>
              <a:rPr lang="en-GB" sz="1600" b="1" u="sng" dirty="0">
                <a:ea typeface="ＭＳ Ｐゴシック" pitchFamily="-105" charset="-128"/>
                <a:cs typeface="Arial" pitchFamily="34" charset="0"/>
              </a:rPr>
              <a:t>business validation checks</a:t>
            </a:r>
            <a:r>
              <a:rPr lang="en-GB" sz="1600" dirty="0">
                <a:ea typeface="ＭＳ Ｐゴシック" pitchFamily="-105" charset="-128"/>
                <a:cs typeface="Arial" pitchFamily="34" charset="0"/>
              </a:rPr>
              <a:t> are </a:t>
            </a:r>
            <a:r>
              <a:rPr lang="en-GB" sz="1600" b="1" u="sng" dirty="0">
                <a:ea typeface="ＭＳ Ｐゴシック" pitchFamily="-105" charset="-128"/>
                <a:cs typeface="Arial" pitchFamily="34" charset="0"/>
              </a:rPr>
              <a:t>automatically conducted</a:t>
            </a:r>
            <a:r>
              <a:rPr lang="en-GB" sz="1600" dirty="0">
                <a:ea typeface="ＭＳ Ｐゴシック" pitchFamily="-105" charset="-128"/>
                <a:cs typeface="Arial" pitchFamily="34" charset="0"/>
              </a:rPr>
              <a:t> before a plan progresses. Any failed plans highlighted to business user</a:t>
            </a:r>
          </a:p>
          <a:p>
            <a:pPr marL="177694" indent="-177694">
              <a:buFont typeface="Arial" pitchFamily="34" charset="0"/>
              <a:buChar char="•"/>
            </a:pPr>
            <a:endParaRPr lang="en-GB" sz="1600" b="1" u="sng" dirty="0">
              <a:ea typeface="ＭＳ Ｐゴシック" pitchFamily="-105" charset="-128"/>
              <a:cs typeface="Arial" pitchFamily="34" charset="0"/>
            </a:endParaRPr>
          </a:p>
          <a:p>
            <a:pPr marL="177694" indent="-177694">
              <a:buFont typeface="Arial" pitchFamily="34" charset="0"/>
              <a:buChar char="•"/>
            </a:pPr>
            <a:r>
              <a:rPr lang="en-GB" sz="1600" dirty="0">
                <a:ea typeface="ＭＳ Ｐゴシック" pitchFamily="-105" charset="-128"/>
                <a:cs typeface="Arial" pitchFamily="34" charset="0"/>
              </a:rPr>
              <a:t>Data Processing: </a:t>
            </a:r>
            <a:r>
              <a:rPr lang="en-GB" sz="1600" b="1" u="sng" dirty="0">
                <a:ea typeface="ＭＳ Ｐゴシック" pitchFamily="-105" charset="-128"/>
                <a:cs typeface="Arial" pitchFamily="34" charset="0"/>
              </a:rPr>
              <a:t>Automated</a:t>
            </a:r>
            <a:r>
              <a:rPr lang="en-GB" sz="1600" dirty="0">
                <a:ea typeface="ＭＳ Ｐゴシック" pitchFamily="-105" charset="-128"/>
                <a:cs typeface="Arial" pitchFamily="34" charset="0"/>
              </a:rPr>
              <a:t> updates to </a:t>
            </a:r>
            <a:r>
              <a:rPr lang="en-GB" sz="1600" b="1" u="sng" dirty="0">
                <a:ea typeface="ＭＳ Ｐゴシック" pitchFamily="-105" charset="-128"/>
                <a:cs typeface="Arial" pitchFamily="34" charset="0"/>
              </a:rPr>
              <a:t>multiple planograms</a:t>
            </a:r>
          </a:p>
          <a:p>
            <a:pPr marL="177694" indent="-177694">
              <a:buFont typeface="Arial" pitchFamily="34" charset="0"/>
              <a:buChar char="•"/>
            </a:pPr>
            <a:endParaRPr lang="en-GB" sz="1600" b="1" u="sng" dirty="0">
              <a:ea typeface="ＭＳ Ｐゴシック" pitchFamily="-105" charset="-128"/>
              <a:cs typeface="Arial" pitchFamily="34" charset="0"/>
            </a:endParaRPr>
          </a:p>
          <a:p>
            <a:pPr marL="177694" indent="-177694">
              <a:buFont typeface="Arial" pitchFamily="34" charset="0"/>
              <a:buChar char="•"/>
            </a:pPr>
            <a:r>
              <a:rPr lang="en-GB" sz="1600" dirty="0">
                <a:ea typeface="ＭＳ Ｐゴシック" pitchFamily="-105" charset="-128"/>
                <a:cs typeface="Arial" pitchFamily="34" charset="0"/>
              </a:rPr>
              <a:t>Queue Jumping - Easily handle </a:t>
            </a:r>
            <a:r>
              <a:rPr lang="en-GB" sz="1600" b="1" u="sng" dirty="0">
                <a:ea typeface="ＭＳ Ｐゴシック" pitchFamily="-105" charset="-128"/>
                <a:cs typeface="Arial" pitchFamily="34" charset="0"/>
              </a:rPr>
              <a:t>last minute changes</a:t>
            </a:r>
            <a:r>
              <a:rPr lang="en-GB" sz="1600" dirty="0">
                <a:ea typeface="ＭＳ Ｐゴシック" pitchFamily="-105" charset="-128"/>
                <a:cs typeface="Arial" pitchFamily="34" charset="0"/>
              </a:rPr>
              <a:t> to plans</a:t>
            </a:r>
          </a:p>
          <a:p>
            <a:pPr marL="177694" indent="-177694">
              <a:buFont typeface="Arial" pitchFamily="34" charset="0"/>
              <a:buChar char="•"/>
            </a:pPr>
            <a:endParaRPr lang="en-GB" sz="1600" dirty="0">
              <a:ea typeface="ＭＳ Ｐゴシック" pitchFamily="-105" charset="-128"/>
              <a:cs typeface="Arial" pitchFamily="34" charset="0"/>
            </a:endParaRPr>
          </a:p>
          <a:p>
            <a:pPr marL="177694" indent="-177694">
              <a:buFont typeface="Arial" pitchFamily="34" charset="0"/>
              <a:buChar char="•"/>
            </a:pPr>
            <a:r>
              <a:rPr lang="en-GB" sz="1600" dirty="0">
                <a:ea typeface="ＭＳ Ｐゴシック" pitchFamily="-105" charset="-128"/>
                <a:cs typeface="Arial" pitchFamily="34" charset="0"/>
              </a:rPr>
              <a:t>Comparison between Versions: Quantify </a:t>
            </a:r>
            <a:r>
              <a:rPr lang="en-GB" sz="1600" b="1" u="sng" dirty="0">
                <a:ea typeface="ＭＳ Ｐゴシック" pitchFamily="-105" charset="-128"/>
                <a:cs typeface="Arial" pitchFamily="34" charset="0"/>
              </a:rPr>
              <a:t>impact of change</a:t>
            </a:r>
          </a:p>
        </p:txBody>
      </p:sp>
    </p:spTree>
    <p:extLst>
      <p:ext uri="{BB962C8B-B14F-4D97-AF65-F5344CB8AC3E}">
        <p14:creationId xmlns:p14="http://schemas.microsoft.com/office/powerpoint/2010/main" val="2843900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2" end="2"/>
                                            </p:txEl>
                                          </p:spTgt>
                                        </p:tgtEl>
                                        <p:attrNameLst>
                                          <p:attrName>style.visibility</p:attrName>
                                        </p:attrNameLst>
                                      </p:cBhvr>
                                      <p:to>
                                        <p:strVal val="visible"/>
                                      </p:to>
                                    </p:set>
                                    <p:animEffect transition="in" filter="fade">
                                      <p:cBhvr>
                                        <p:cTn id="12" dur="500"/>
                                        <p:tgtEl>
                                          <p:spTgt spid="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4" end="4"/>
                                            </p:txEl>
                                          </p:spTgt>
                                        </p:tgtEl>
                                        <p:attrNameLst>
                                          <p:attrName>style.visibility</p:attrName>
                                        </p:attrNameLst>
                                      </p:cBhvr>
                                      <p:to>
                                        <p:strVal val="visible"/>
                                      </p:to>
                                    </p:set>
                                    <p:animEffect transition="in" filter="fade">
                                      <p:cBhvr>
                                        <p:cTn id="17" dur="500"/>
                                        <p:tgtEl>
                                          <p:spTgt spid="19">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6" end="6"/>
                                            </p:txEl>
                                          </p:spTgt>
                                        </p:tgtEl>
                                        <p:attrNameLst>
                                          <p:attrName>style.visibility</p:attrName>
                                        </p:attrNameLst>
                                      </p:cBhvr>
                                      <p:to>
                                        <p:strVal val="visible"/>
                                      </p:to>
                                    </p:set>
                                    <p:animEffect transition="in" filter="fade">
                                      <p:cBhvr>
                                        <p:cTn id="22" dur="500"/>
                                        <p:tgtEl>
                                          <p:spTgt spid="19">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8" end="8"/>
                                            </p:txEl>
                                          </p:spTgt>
                                        </p:tgtEl>
                                        <p:attrNameLst>
                                          <p:attrName>style.visibility</p:attrName>
                                        </p:attrNameLst>
                                      </p:cBhvr>
                                      <p:to>
                                        <p:strVal val="visible"/>
                                      </p:to>
                                    </p:set>
                                    <p:animEffect transition="in" filter="fade">
                                      <p:cBhvr>
                                        <p:cTn id="27" dur="500"/>
                                        <p:tgtEl>
                                          <p:spTgt spid="1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en-US" dirty="0"/>
              <a:t>Life Cycles</a:t>
            </a:r>
          </a:p>
        </p:txBody>
      </p:sp>
      <p:sp>
        <p:nvSpPr>
          <p:cNvPr id="63491" name="Text Placeholder 2"/>
          <p:cNvSpPr>
            <a:spLocks noGrp="1"/>
          </p:cNvSpPr>
          <p:nvPr>
            <p:ph type="body" sz="half" idx="1"/>
          </p:nvPr>
        </p:nvSpPr>
        <p:spPr>
          <a:xfrm>
            <a:off x="834501" y="550416"/>
            <a:ext cx="9376299" cy="6155184"/>
          </a:xfrm>
        </p:spPr>
        <p:txBody>
          <a:bodyPr/>
          <a:lstStyle/>
          <a:p>
            <a:pPr>
              <a:buFont typeface="Wingdings" pitchFamily="2" charset="2"/>
              <a:buChar char="Ø"/>
              <a:defRPr/>
            </a:pPr>
            <a:r>
              <a:rPr lang="en-US" sz="2400" dirty="0"/>
              <a:t>Life Cycle Management</a:t>
            </a:r>
          </a:p>
          <a:p>
            <a:pPr lvl="2" eaLnBrk="1" hangingPunct="1">
              <a:buClr>
                <a:srgbClr val="003399"/>
              </a:buClr>
              <a:buFont typeface="Wingdings" pitchFamily="2" charset="2"/>
              <a:buChar char="§"/>
              <a:defRPr/>
            </a:pPr>
            <a:r>
              <a:rPr lang="en-CA" dirty="0"/>
              <a:t>Planogram children are direct replacements of existing planograms.</a:t>
            </a:r>
          </a:p>
          <a:p>
            <a:pPr lvl="3" eaLnBrk="1" hangingPunct="1">
              <a:buClr>
                <a:srgbClr val="003399"/>
              </a:buClr>
              <a:buFontTx/>
              <a:buChar char="•"/>
              <a:defRPr/>
            </a:pPr>
            <a:r>
              <a:rPr lang="en-CA" dirty="0"/>
              <a:t>Same cluster application, same location.</a:t>
            </a:r>
          </a:p>
          <a:p>
            <a:pPr lvl="2" eaLnBrk="1" hangingPunct="1">
              <a:buClr>
                <a:srgbClr val="003399"/>
              </a:buClr>
              <a:buFont typeface="Wingdings" pitchFamily="2" charset="2"/>
              <a:buChar char="§"/>
              <a:defRPr/>
            </a:pPr>
            <a:r>
              <a:rPr lang="en-CA" dirty="0"/>
              <a:t>Planogram masters are created with new planograms.</a:t>
            </a:r>
          </a:p>
          <a:p>
            <a:pPr lvl="1" eaLnBrk="1" hangingPunct="1">
              <a:buClr>
                <a:srgbClr val="003399"/>
              </a:buClr>
              <a:buFont typeface="Wingdings" pitchFamily="2" charset="2"/>
              <a:buChar char="Ø"/>
              <a:defRPr/>
            </a:pPr>
            <a:r>
              <a:rPr lang="en-US" dirty="0"/>
              <a:t>Identifying and planning how to manage cycles of planograms can be a critical step in this process.  Space Planning currently identifies the following status:</a:t>
            </a:r>
          </a:p>
          <a:p>
            <a:pPr lvl="2" eaLnBrk="1" hangingPunct="1">
              <a:buClr>
                <a:srgbClr val="003399"/>
              </a:buClr>
              <a:buFont typeface="Wingdings" pitchFamily="2" charset="2"/>
              <a:buChar char="§"/>
              <a:defRPr/>
            </a:pPr>
            <a:r>
              <a:rPr lang="en-US" sz="1600" dirty="0"/>
              <a:t>Live</a:t>
            </a:r>
          </a:p>
          <a:p>
            <a:pPr lvl="2" eaLnBrk="1" hangingPunct="1">
              <a:buClr>
                <a:srgbClr val="003399"/>
              </a:buClr>
              <a:buFont typeface="Wingdings" pitchFamily="2" charset="2"/>
              <a:buChar char="§"/>
              <a:defRPr/>
            </a:pPr>
            <a:r>
              <a:rPr lang="en-US" sz="1600" dirty="0"/>
              <a:t>Pending</a:t>
            </a:r>
          </a:p>
          <a:p>
            <a:pPr lvl="2" eaLnBrk="1" hangingPunct="1">
              <a:buClr>
                <a:srgbClr val="003399"/>
              </a:buClr>
              <a:buFont typeface="Wingdings" pitchFamily="2" charset="2"/>
              <a:buChar char="§"/>
              <a:defRPr/>
            </a:pPr>
            <a:r>
              <a:rPr lang="en-US" sz="1600" dirty="0"/>
              <a:t>Work in Progress</a:t>
            </a:r>
          </a:p>
          <a:p>
            <a:pPr lvl="2" eaLnBrk="1" hangingPunct="1">
              <a:buClr>
                <a:srgbClr val="003399"/>
              </a:buClr>
              <a:buFont typeface="Wingdings" pitchFamily="2" charset="2"/>
              <a:buChar char="§"/>
              <a:defRPr/>
            </a:pPr>
            <a:r>
              <a:rPr lang="en-US" sz="1600" dirty="0"/>
              <a:t>Historic</a:t>
            </a:r>
          </a:p>
          <a:p>
            <a:pPr eaLnBrk="1" hangingPunct="1">
              <a:buClr>
                <a:srgbClr val="003399"/>
              </a:buClr>
              <a:buFont typeface="Wingdings" pitchFamily="2" charset="2"/>
              <a:buChar char="Ø"/>
              <a:defRPr/>
            </a:pPr>
            <a:r>
              <a:rPr lang="en-US" dirty="0"/>
              <a:t>Moves from cycles can be manual or automatically</a:t>
            </a:r>
          </a:p>
          <a:p>
            <a:pPr marL="342900" lvl="1" indent="-342900">
              <a:buFont typeface="Wingdings" pitchFamily="2" charset="2"/>
              <a:buChar char="Ø"/>
              <a:defRPr/>
            </a:pPr>
            <a:r>
              <a:rPr lang="en-US" dirty="0"/>
              <a:t>More statuses can be created and integrated into the life cycle of a planogram depending on business needs.  How will AB Company handle life cycles?</a:t>
            </a:r>
          </a:p>
          <a:p>
            <a:pPr marL="742950" lvl="2" indent="-342900">
              <a:buFont typeface="Wingdings" pitchFamily="2" charset="2"/>
              <a:buChar char="Ø"/>
              <a:defRPr/>
            </a:pPr>
            <a:r>
              <a:rPr lang="en-US" sz="1400" dirty="0"/>
              <a:t>Versioning  does not function with cycling</a:t>
            </a:r>
          </a:p>
          <a:p>
            <a:pPr marL="742950" lvl="2" indent="-342900">
              <a:buFont typeface="Wingdings" pitchFamily="2" charset="2"/>
              <a:buChar char="Ø"/>
              <a:defRPr/>
            </a:pPr>
            <a:r>
              <a:rPr lang="en-US" sz="1400" dirty="0"/>
              <a:t>Manual saves into IKB can only be Work in Progress</a:t>
            </a:r>
          </a:p>
          <a:p>
            <a:pPr marL="742950" lvl="2" indent="-342900">
              <a:buFont typeface="Wingdings" pitchFamily="2" charset="2"/>
              <a:buChar char="Ø"/>
              <a:defRPr/>
            </a:pPr>
            <a:endParaRPr lang="en-US" sz="1400" dirty="0">
              <a:solidFill>
                <a:schemeClr val="accent2"/>
              </a:solidFill>
            </a:endParaRPr>
          </a:p>
          <a:p>
            <a:pPr>
              <a:buFontTx/>
              <a:buNone/>
              <a:defRPr/>
            </a:pPr>
            <a:endParaRPr lang="en-US" dirty="0"/>
          </a:p>
        </p:txBody>
      </p:sp>
      <p:pic>
        <p:nvPicPr>
          <p:cNvPr id="3" name="Picture 2">
            <a:extLst>
              <a:ext uri="{FF2B5EF4-FFF2-40B4-BE49-F238E27FC236}">
                <a16:creationId xmlns:a16="http://schemas.microsoft.com/office/drawing/2014/main" id="{C85F4505-18A3-4E7B-8081-580C8687ECD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378672" y="3324216"/>
            <a:ext cx="1917576" cy="1722371"/>
          </a:xfrm>
          <a:prstGeom prst="rect">
            <a:avLst/>
          </a:prstGeom>
          <a:effectLst>
            <a:outerShdw blurRad="50800" dist="50800" dir="5400000" algn="ctr" rotWithShape="0">
              <a:srgbClr val="000000">
                <a:alpha val="0"/>
              </a:srgbClr>
            </a:outerShdw>
          </a:effectLst>
        </p:spPr>
      </p:pic>
      <p:sp>
        <p:nvSpPr>
          <p:cNvPr id="4" name="Rectangle 3">
            <a:extLst>
              <a:ext uri="{FF2B5EF4-FFF2-40B4-BE49-F238E27FC236}">
                <a16:creationId xmlns:a16="http://schemas.microsoft.com/office/drawing/2014/main" id="{10902ED5-C6BD-4F56-9BE7-13C635E1252E}"/>
              </a:ext>
            </a:extLst>
          </p:cNvPr>
          <p:cNvSpPr/>
          <p:nvPr/>
        </p:nvSpPr>
        <p:spPr>
          <a:xfrm>
            <a:off x="10106489" y="3155591"/>
            <a:ext cx="275207" cy="20596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72848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Configuration</a:t>
            </a:r>
          </a:p>
        </p:txBody>
      </p:sp>
      <p:sp>
        <p:nvSpPr>
          <p:cNvPr id="9" name="Content Placeholder 8"/>
          <p:cNvSpPr>
            <a:spLocks noGrp="1"/>
          </p:cNvSpPr>
          <p:nvPr>
            <p:ph idx="1"/>
          </p:nvPr>
        </p:nvSpPr>
        <p:spPr>
          <a:xfrm>
            <a:off x="592368" y="1146640"/>
            <a:ext cx="11463508" cy="5354744"/>
          </a:xfrm>
        </p:spPr>
        <p:txBody>
          <a:bodyPr/>
          <a:lstStyle/>
          <a:p>
            <a:pPr>
              <a:lnSpc>
                <a:spcPct val="150000"/>
              </a:lnSpc>
            </a:pPr>
            <a:r>
              <a:rPr lang="en-US" dirty="0"/>
              <a:t>Planogram Fixture Library</a:t>
            </a:r>
          </a:p>
          <a:p>
            <a:pPr lvl="1">
              <a:lnSpc>
                <a:spcPct val="150000"/>
              </a:lnSpc>
            </a:pPr>
            <a:r>
              <a:rPr lang="en-US" sz="1800" dirty="0"/>
              <a:t>Provides consistent dimensions and attributes for products</a:t>
            </a:r>
          </a:p>
          <a:p>
            <a:pPr lvl="1">
              <a:lnSpc>
                <a:spcPct val="150000"/>
              </a:lnSpc>
            </a:pPr>
            <a:r>
              <a:rPr lang="en-US" sz="1800" dirty="0"/>
              <a:t>Accurate fixture measurements are needed to have accurate, relevant planograms</a:t>
            </a:r>
          </a:p>
          <a:p>
            <a:pPr lvl="1">
              <a:lnSpc>
                <a:spcPct val="150000"/>
              </a:lnSpc>
            </a:pPr>
            <a:r>
              <a:rPr lang="en-US" sz="1800" dirty="0"/>
              <a:t>A fixture library and naming convention needs to be used for fixture consistency</a:t>
            </a:r>
          </a:p>
          <a:p>
            <a:pPr lvl="1">
              <a:lnSpc>
                <a:spcPct val="150000"/>
              </a:lnSpc>
            </a:pPr>
            <a:r>
              <a:rPr lang="en-US" sz="1800" dirty="0"/>
              <a:t>Contains part numbers and manufacturer details</a:t>
            </a:r>
          </a:p>
          <a:p>
            <a:pPr>
              <a:lnSpc>
                <a:spcPct val="150000"/>
              </a:lnSpc>
            </a:pPr>
            <a:r>
              <a:rPr lang="en-US" dirty="0"/>
              <a:t>Product Library</a:t>
            </a:r>
          </a:p>
          <a:p>
            <a:pPr lvl="1">
              <a:lnSpc>
                <a:spcPct val="150000"/>
              </a:lnSpc>
            </a:pPr>
            <a:r>
              <a:rPr lang="en-US" sz="1800" dirty="0"/>
              <a:t>Determine Primary Key</a:t>
            </a:r>
          </a:p>
          <a:p>
            <a:pPr lvl="1">
              <a:lnSpc>
                <a:spcPct val="150000"/>
              </a:lnSpc>
            </a:pPr>
            <a:r>
              <a:rPr lang="en-US" sz="1800" dirty="0"/>
              <a:t>Product dimensions are key to ensuring that planograms are accurate </a:t>
            </a:r>
          </a:p>
          <a:p>
            <a:pPr lvl="1">
              <a:lnSpc>
                <a:spcPct val="150000"/>
              </a:lnSpc>
            </a:pPr>
            <a:r>
              <a:rPr lang="en-US" sz="1800" dirty="0"/>
              <a:t>More accurate product/shelf capacity for better replenishment information </a:t>
            </a:r>
          </a:p>
          <a:p>
            <a:pPr lvl="1">
              <a:lnSpc>
                <a:spcPct val="150000"/>
              </a:lnSpc>
            </a:pPr>
            <a:r>
              <a:rPr lang="en-US" sz="1800" dirty="0"/>
              <a:t>Provides consistent dimensions and attributes for products</a:t>
            </a:r>
          </a:p>
          <a:p>
            <a:pPr marL="287338" lvl="1" indent="0">
              <a:lnSpc>
                <a:spcPct val="150000"/>
              </a:lnSpc>
              <a:buNone/>
            </a:pPr>
            <a:endParaRPr lang="en-US" dirty="0"/>
          </a:p>
        </p:txBody>
      </p:sp>
    </p:spTree>
    <p:extLst>
      <p:ext uri="{BB962C8B-B14F-4D97-AF65-F5344CB8AC3E}">
        <p14:creationId xmlns:p14="http://schemas.microsoft.com/office/powerpoint/2010/main" val="152768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animEffect transition="in" filter="fade">
                                      <p:cBhvr>
                                        <p:cTn id="19" dur="500"/>
                                        <p:tgtEl>
                                          <p:spTgt spid="9">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xEl>
                                              <p:pRg st="5" end="5"/>
                                            </p:txEl>
                                          </p:spTgt>
                                        </p:tgtEl>
                                        <p:attrNameLst>
                                          <p:attrName>style.visibility</p:attrName>
                                        </p:attrNameLst>
                                      </p:cBhvr>
                                      <p:to>
                                        <p:strVal val="visible"/>
                                      </p:to>
                                    </p:set>
                                    <p:animEffect transition="in" filter="fade">
                                      <p:cBhvr>
                                        <p:cTn id="22" dur="500"/>
                                        <p:tgtEl>
                                          <p:spTgt spid="9">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animEffect transition="in" filter="fade">
                                      <p:cBhvr>
                                        <p:cTn id="27" dur="500"/>
                                        <p:tgtEl>
                                          <p:spTgt spid="9">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7" end="7"/>
                                            </p:txEl>
                                          </p:spTgt>
                                        </p:tgtEl>
                                        <p:attrNameLst>
                                          <p:attrName>style.visibility</p:attrName>
                                        </p:attrNameLst>
                                      </p:cBhvr>
                                      <p:to>
                                        <p:strVal val="visible"/>
                                      </p:to>
                                    </p:set>
                                    <p:animEffect transition="in" filter="fade">
                                      <p:cBhvr>
                                        <p:cTn id="32" dur="500"/>
                                        <p:tgtEl>
                                          <p:spTgt spid="9">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8" end="8"/>
                                            </p:txEl>
                                          </p:spTgt>
                                        </p:tgtEl>
                                        <p:attrNameLst>
                                          <p:attrName>style.visibility</p:attrName>
                                        </p:attrNameLst>
                                      </p:cBhvr>
                                      <p:to>
                                        <p:strVal val="visible"/>
                                      </p:to>
                                    </p:set>
                                    <p:animEffect transition="in" filter="fade">
                                      <p:cBhvr>
                                        <p:cTn id="37" dur="500"/>
                                        <p:tgtEl>
                                          <p:spTgt spid="9">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
                                            <p:txEl>
                                              <p:pRg st="9" end="9"/>
                                            </p:txEl>
                                          </p:spTgt>
                                        </p:tgtEl>
                                        <p:attrNameLst>
                                          <p:attrName>style.visibility</p:attrName>
                                        </p:attrNameLst>
                                      </p:cBhvr>
                                      <p:to>
                                        <p:strVal val="visible"/>
                                      </p:to>
                                    </p:set>
                                    <p:animEffect transition="in" filter="fade">
                                      <p:cBhvr>
                                        <p:cTn id="42" dur="500"/>
                                        <p:tgtEl>
                                          <p:spTgt spid="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Configuration</a:t>
            </a:r>
          </a:p>
        </p:txBody>
      </p:sp>
      <p:sp>
        <p:nvSpPr>
          <p:cNvPr id="9" name="Content Placeholder 8"/>
          <p:cNvSpPr>
            <a:spLocks noGrp="1"/>
          </p:cNvSpPr>
          <p:nvPr>
            <p:ph sz="half" idx="1"/>
          </p:nvPr>
        </p:nvSpPr>
        <p:spPr>
          <a:xfrm>
            <a:off x="754602" y="1146328"/>
            <a:ext cx="5031280" cy="4525963"/>
          </a:xfrm>
        </p:spPr>
        <p:txBody>
          <a:bodyPr/>
          <a:lstStyle/>
          <a:p>
            <a:pPr>
              <a:lnSpc>
                <a:spcPct val="150000"/>
              </a:lnSpc>
            </a:pPr>
            <a:r>
              <a:rPr lang="en-US" dirty="0"/>
              <a:t>Planogram naming convention</a:t>
            </a:r>
          </a:p>
          <a:p>
            <a:pPr>
              <a:lnSpc>
                <a:spcPct val="150000"/>
              </a:lnSpc>
            </a:pPr>
            <a:r>
              <a:rPr lang="en-US" dirty="0"/>
              <a:t>Distribution</a:t>
            </a:r>
          </a:p>
          <a:p>
            <a:pPr lvl="1">
              <a:lnSpc>
                <a:spcPct val="150000"/>
              </a:lnSpc>
            </a:pPr>
            <a:r>
              <a:rPr lang="en-US" sz="1800" dirty="0"/>
              <a:t>Print Layouts</a:t>
            </a:r>
          </a:p>
          <a:p>
            <a:pPr lvl="1">
              <a:lnSpc>
                <a:spcPct val="150000"/>
              </a:lnSpc>
            </a:pPr>
            <a:r>
              <a:rPr lang="en-US" sz="1800" dirty="0"/>
              <a:t>Tables &amp; Highlights</a:t>
            </a:r>
          </a:p>
          <a:p>
            <a:pPr>
              <a:lnSpc>
                <a:spcPct val="150000"/>
              </a:lnSpc>
            </a:pPr>
            <a:r>
              <a:rPr lang="en-US" dirty="0"/>
              <a:t>Shared file location for team use</a:t>
            </a:r>
          </a:p>
          <a:p>
            <a:pPr lvl="1">
              <a:lnSpc>
                <a:spcPct val="150000"/>
              </a:lnSpc>
            </a:pPr>
            <a:r>
              <a:rPr lang="en-US" sz="1800" dirty="0"/>
              <a:t>Separate for publishing server</a:t>
            </a:r>
          </a:p>
          <a:p>
            <a:pPr lvl="1">
              <a:lnSpc>
                <a:spcPct val="150000"/>
              </a:lnSpc>
            </a:pPr>
            <a:r>
              <a:rPr lang="en-US" sz="1800" dirty="0"/>
              <a:t>Fixture library</a:t>
            </a:r>
          </a:p>
          <a:p>
            <a:pPr lvl="1">
              <a:lnSpc>
                <a:spcPct val="150000"/>
              </a:lnSpc>
            </a:pPr>
            <a:r>
              <a:rPr lang="en-US" sz="1800" dirty="0"/>
              <a:t>Tables &amp; Highlights</a:t>
            </a:r>
          </a:p>
          <a:p>
            <a:pPr lvl="1">
              <a:lnSpc>
                <a:spcPct val="150000"/>
              </a:lnSpc>
            </a:pPr>
            <a:r>
              <a:rPr lang="en-US" sz="1800" dirty="0"/>
              <a:t>PMD, INI, AUX</a:t>
            </a:r>
          </a:p>
          <a:p>
            <a:pPr lvl="1">
              <a:lnSpc>
                <a:spcPct val="150000"/>
              </a:lnSpc>
            </a:pPr>
            <a:r>
              <a:rPr lang="en-US" sz="1800" dirty="0"/>
              <a:t>Images</a:t>
            </a:r>
          </a:p>
          <a:p>
            <a:pPr>
              <a:lnSpc>
                <a:spcPct val="150000"/>
              </a:lnSpc>
            </a:pPr>
            <a:r>
              <a:rPr lang="en-US" dirty="0"/>
              <a:t>User role determination</a:t>
            </a:r>
          </a:p>
          <a:p>
            <a:pPr>
              <a:lnSpc>
                <a:spcPct val="150000"/>
              </a:lnSpc>
            </a:pPr>
            <a:endParaRPr lang="en-US" dirty="0"/>
          </a:p>
          <a:p>
            <a:pPr lvl="1">
              <a:lnSpc>
                <a:spcPct val="150000"/>
              </a:lnSpc>
            </a:pPr>
            <a:endParaRPr lang="en-US" dirty="0"/>
          </a:p>
        </p:txBody>
      </p:sp>
      <p:sp>
        <p:nvSpPr>
          <p:cNvPr id="2" name="Content Placeholder 1"/>
          <p:cNvSpPr>
            <a:spLocks noGrp="1"/>
          </p:cNvSpPr>
          <p:nvPr>
            <p:ph sz="half" idx="2"/>
          </p:nvPr>
        </p:nvSpPr>
        <p:spPr>
          <a:xfrm>
            <a:off x="5532475" y="1146328"/>
            <a:ext cx="4678326" cy="4525963"/>
          </a:xfrm>
        </p:spPr>
        <p:txBody>
          <a:bodyPr/>
          <a:lstStyle/>
          <a:p>
            <a:pPr>
              <a:lnSpc>
                <a:spcPct val="150000"/>
              </a:lnSpc>
            </a:pPr>
            <a:r>
              <a:rPr lang="en-US" dirty="0"/>
              <a:t>Object Mapping</a:t>
            </a:r>
          </a:p>
          <a:p>
            <a:pPr lvl="1">
              <a:lnSpc>
                <a:spcPct val="150000"/>
              </a:lnSpc>
            </a:pPr>
            <a:r>
              <a:rPr lang="en-US" dirty="0"/>
              <a:t>Field name overrides (PMD)</a:t>
            </a:r>
          </a:p>
          <a:p>
            <a:pPr lvl="1">
              <a:lnSpc>
                <a:spcPct val="150000"/>
              </a:lnSpc>
            </a:pPr>
            <a:r>
              <a:rPr lang="en-US" dirty="0"/>
              <a:t>Add comments to define exactly what the field represents</a:t>
            </a:r>
          </a:p>
          <a:p>
            <a:pPr lvl="1">
              <a:lnSpc>
                <a:spcPct val="150000"/>
              </a:lnSpc>
            </a:pPr>
            <a:r>
              <a:rPr lang="en-US" dirty="0"/>
              <a:t>Security settings (read and modify) based on user role (AUT)</a:t>
            </a:r>
          </a:p>
          <a:p>
            <a:pPr lvl="2">
              <a:lnSpc>
                <a:spcPct val="150000"/>
              </a:lnSpc>
            </a:pPr>
            <a:r>
              <a:rPr lang="en-US" dirty="0"/>
              <a:t>Field level</a:t>
            </a:r>
          </a:p>
          <a:p>
            <a:pPr lvl="2">
              <a:lnSpc>
                <a:spcPct val="150000"/>
              </a:lnSpc>
            </a:pPr>
            <a:r>
              <a:rPr lang="en-US" dirty="0"/>
              <a:t>Application functionality</a:t>
            </a:r>
          </a:p>
        </p:txBody>
      </p:sp>
    </p:spTree>
    <p:extLst>
      <p:ext uri="{BB962C8B-B14F-4D97-AF65-F5344CB8AC3E}">
        <p14:creationId xmlns:p14="http://schemas.microsoft.com/office/powerpoint/2010/main" val="136878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xEl>
                                              <p:pRg st="3" end="3"/>
                                            </p:txEl>
                                          </p:spTgt>
                                        </p:tgtEl>
                                        <p:attrNameLst>
                                          <p:attrName>style.visibility</p:attrName>
                                        </p:attrNameLst>
                                      </p:cBhvr>
                                      <p:to>
                                        <p:strVal val="visible"/>
                                      </p:to>
                                    </p:set>
                                    <p:animEffect transition="in" filter="fade">
                                      <p:cBhvr>
                                        <p:cTn id="20" dur="500"/>
                                        <p:tgtEl>
                                          <p:spTgt spid="9">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animEffect transition="in" filter="fade">
                                      <p:cBhvr>
                                        <p:cTn id="25" dur="500"/>
                                        <p:tgtEl>
                                          <p:spTgt spid="9">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txEl>
                                              <p:pRg st="5" end="5"/>
                                            </p:txEl>
                                          </p:spTgt>
                                        </p:tgtEl>
                                        <p:attrNameLst>
                                          <p:attrName>style.visibility</p:attrName>
                                        </p:attrNameLst>
                                      </p:cBhvr>
                                      <p:to>
                                        <p:strVal val="visible"/>
                                      </p:to>
                                    </p:set>
                                    <p:animEffect transition="in" filter="fade">
                                      <p:cBhvr>
                                        <p:cTn id="30" dur="500"/>
                                        <p:tgtEl>
                                          <p:spTgt spid="9">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6" end="6"/>
                                            </p:txEl>
                                          </p:spTgt>
                                        </p:tgtEl>
                                        <p:attrNameLst>
                                          <p:attrName>style.visibility</p:attrName>
                                        </p:attrNameLst>
                                      </p:cBhvr>
                                      <p:to>
                                        <p:strVal val="visible"/>
                                      </p:to>
                                    </p:set>
                                    <p:animEffect transition="in" filter="fade">
                                      <p:cBhvr>
                                        <p:cTn id="33" dur="500"/>
                                        <p:tgtEl>
                                          <p:spTgt spid="9">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7" end="7"/>
                                            </p:txEl>
                                          </p:spTgt>
                                        </p:tgtEl>
                                        <p:attrNameLst>
                                          <p:attrName>style.visibility</p:attrName>
                                        </p:attrNameLst>
                                      </p:cBhvr>
                                      <p:to>
                                        <p:strVal val="visible"/>
                                      </p:to>
                                    </p:set>
                                    <p:animEffect transition="in" filter="fade">
                                      <p:cBhvr>
                                        <p:cTn id="36" dur="500"/>
                                        <p:tgtEl>
                                          <p:spTgt spid="9">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8" end="8"/>
                                            </p:txEl>
                                          </p:spTgt>
                                        </p:tgtEl>
                                        <p:attrNameLst>
                                          <p:attrName>style.visibility</p:attrName>
                                        </p:attrNameLst>
                                      </p:cBhvr>
                                      <p:to>
                                        <p:strVal val="visible"/>
                                      </p:to>
                                    </p:set>
                                    <p:animEffect transition="in" filter="fade">
                                      <p:cBhvr>
                                        <p:cTn id="39" dur="500"/>
                                        <p:tgtEl>
                                          <p:spTgt spid="9">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9">
                                            <p:txEl>
                                              <p:pRg st="9" end="9"/>
                                            </p:txEl>
                                          </p:spTgt>
                                        </p:tgtEl>
                                        <p:attrNameLst>
                                          <p:attrName>style.visibility</p:attrName>
                                        </p:attrNameLst>
                                      </p:cBhvr>
                                      <p:to>
                                        <p:strVal val="visible"/>
                                      </p:to>
                                    </p:set>
                                    <p:animEffect transition="in" filter="fade">
                                      <p:cBhvr>
                                        <p:cTn id="42" dur="500"/>
                                        <p:tgtEl>
                                          <p:spTgt spid="9">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9">
                                            <p:txEl>
                                              <p:pRg st="10" end="10"/>
                                            </p:txEl>
                                          </p:spTgt>
                                        </p:tgtEl>
                                        <p:attrNameLst>
                                          <p:attrName>style.visibility</p:attrName>
                                        </p:attrNameLst>
                                      </p:cBhvr>
                                      <p:to>
                                        <p:strVal val="visible"/>
                                      </p:to>
                                    </p:set>
                                    <p:animEffect transition="in" filter="fade">
                                      <p:cBhvr>
                                        <p:cTn id="47" dur="500"/>
                                        <p:tgtEl>
                                          <p:spTgt spid="9">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
                                            <p:txEl>
                                              <p:pRg st="0" end="0"/>
                                            </p:txEl>
                                          </p:spTgt>
                                        </p:tgtEl>
                                        <p:attrNameLst>
                                          <p:attrName>style.visibility</p:attrName>
                                        </p:attrNameLst>
                                      </p:cBhvr>
                                      <p:to>
                                        <p:strVal val="visible"/>
                                      </p:to>
                                    </p:set>
                                    <p:animEffect transition="in" filter="fade">
                                      <p:cBhvr>
                                        <p:cTn id="52" dur="500"/>
                                        <p:tgtEl>
                                          <p:spTgt spid="2">
                                            <p:txEl>
                                              <p:pRg st="0" end="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
                                            <p:txEl>
                                              <p:pRg st="1" end="1"/>
                                            </p:txEl>
                                          </p:spTgt>
                                        </p:tgtEl>
                                        <p:attrNameLst>
                                          <p:attrName>style.visibility</p:attrName>
                                        </p:attrNameLst>
                                      </p:cBhvr>
                                      <p:to>
                                        <p:strVal val="visible"/>
                                      </p:to>
                                    </p:set>
                                    <p:animEffect transition="in" filter="fade">
                                      <p:cBhvr>
                                        <p:cTn id="57" dur="500"/>
                                        <p:tgtEl>
                                          <p:spTgt spid="2">
                                            <p:txEl>
                                              <p:pRg st="1" end="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
                                            <p:txEl>
                                              <p:pRg st="2" end="2"/>
                                            </p:txEl>
                                          </p:spTgt>
                                        </p:tgtEl>
                                        <p:attrNameLst>
                                          <p:attrName>style.visibility</p:attrName>
                                        </p:attrNameLst>
                                      </p:cBhvr>
                                      <p:to>
                                        <p:strVal val="visible"/>
                                      </p:to>
                                    </p:set>
                                    <p:animEffect transition="in" filter="fade">
                                      <p:cBhvr>
                                        <p:cTn id="62" dur="500"/>
                                        <p:tgtEl>
                                          <p:spTgt spid="2">
                                            <p:txEl>
                                              <p:pRg st="2" end="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
                                            <p:txEl>
                                              <p:pRg st="3" end="3"/>
                                            </p:txEl>
                                          </p:spTgt>
                                        </p:tgtEl>
                                        <p:attrNameLst>
                                          <p:attrName>style.visibility</p:attrName>
                                        </p:attrNameLst>
                                      </p:cBhvr>
                                      <p:to>
                                        <p:strVal val="visible"/>
                                      </p:to>
                                    </p:set>
                                    <p:animEffect transition="in" filter="fade">
                                      <p:cBhvr>
                                        <p:cTn id="67" dur="500"/>
                                        <p:tgtEl>
                                          <p:spTgt spid="2">
                                            <p:txEl>
                                              <p:pRg st="3" end="3"/>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2">
                                            <p:txEl>
                                              <p:pRg st="4" end="4"/>
                                            </p:txEl>
                                          </p:spTgt>
                                        </p:tgtEl>
                                        <p:attrNameLst>
                                          <p:attrName>style.visibility</p:attrName>
                                        </p:attrNameLst>
                                      </p:cBhvr>
                                      <p:to>
                                        <p:strVal val="visible"/>
                                      </p:to>
                                    </p:set>
                                    <p:animEffect transition="in" filter="fade">
                                      <p:cBhvr>
                                        <p:cTn id="72" dur="500"/>
                                        <p:tgtEl>
                                          <p:spTgt spid="2">
                                            <p:txEl>
                                              <p:pRg st="4" end="4"/>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
                                            <p:txEl>
                                              <p:pRg st="5" end="5"/>
                                            </p:txEl>
                                          </p:spTgt>
                                        </p:tgtEl>
                                        <p:attrNameLst>
                                          <p:attrName>style.visibility</p:attrName>
                                        </p:attrNameLst>
                                      </p:cBhvr>
                                      <p:to>
                                        <p:strVal val="visible"/>
                                      </p:to>
                                    </p:set>
                                    <p:animEffect transition="in" filter="fade">
                                      <p:cBhvr>
                                        <p:cTn id="75"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P spid="2"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a:t>XYZ Company Profile</a:t>
            </a:r>
          </a:p>
        </p:txBody>
      </p:sp>
      <p:sp>
        <p:nvSpPr>
          <p:cNvPr id="21507" name="Rectangle 3"/>
          <p:cNvSpPr>
            <a:spLocks noGrp="1" noChangeArrowheads="1"/>
          </p:cNvSpPr>
          <p:nvPr>
            <p:ph type="body" idx="1"/>
          </p:nvPr>
        </p:nvSpPr>
        <p:spPr>
          <a:xfrm>
            <a:off x="1524000" y="1371601"/>
            <a:ext cx="8686800" cy="4754563"/>
          </a:xfrm>
          <a:noFill/>
          <a:ln/>
        </p:spPr>
        <p:txBody>
          <a:bodyPr/>
          <a:lstStyle/>
          <a:p>
            <a:pPr lvl="1">
              <a:buFont typeface="Wingdings" pitchFamily="2" charset="2"/>
              <a:buChar char="Ø"/>
            </a:pPr>
            <a:r>
              <a:rPr lang="en-US" sz="2400" dirty="0">
                <a:solidFill>
                  <a:schemeClr val="accent2"/>
                </a:solidFill>
              </a:rPr>
              <a:t>Current State</a:t>
            </a:r>
          </a:p>
          <a:p>
            <a:pPr lvl="2">
              <a:buFont typeface="Wingdings" pitchFamily="2" charset="2"/>
              <a:buChar char="§"/>
            </a:pPr>
            <a:r>
              <a:rPr lang="en-US" dirty="0">
                <a:solidFill>
                  <a:schemeClr val="accent2"/>
                </a:solidFill>
              </a:rPr>
              <a:t>Organization</a:t>
            </a:r>
          </a:p>
          <a:p>
            <a:pPr lvl="3">
              <a:buFontTx/>
              <a:buChar char="•"/>
            </a:pPr>
            <a:r>
              <a:rPr lang="en-US" sz="2400" dirty="0">
                <a:solidFill>
                  <a:schemeClr val="accent2"/>
                </a:solidFill>
              </a:rPr>
              <a:t>Hierarchy</a:t>
            </a:r>
          </a:p>
          <a:p>
            <a:pPr lvl="3">
              <a:buFontTx/>
              <a:buChar char="•"/>
            </a:pPr>
            <a:r>
              <a:rPr lang="en-US" sz="2400" dirty="0">
                <a:solidFill>
                  <a:schemeClr val="accent2"/>
                </a:solidFill>
              </a:rPr>
              <a:t>Store Configurations</a:t>
            </a:r>
          </a:p>
          <a:p>
            <a:pPr lvl="3">
              <a:buFontTx/>
              <a:buChar char="•"/>
            </a:pPr>
            <a:r>
              <a:rPr lang="en-US" sz="2400" dirty="0">
                <a:solidFill>
                  <a:schemeClr val="accent2"/>
                </a:solidFill>
              </a:rPr>
              <a:t>Category Coverage</a:t>
            </a:r>
          </a:p>
          <a:p>
            <a:pPr lvl="3">
              <a:buFontTx/>
              <a:buChar char="•"/>
            </a:pPr>
            <a:r>
              <a:rPr lang="en-US" sz="2400" dirty="0">
                <a:solidFill>
                  <a:schemeClr val="accent2"/>
                </a:solidFill>
              </a:rPr>
              <a:t>Vendor Base / Support</a:t>
            </a:r>
          </a:p>
          <a:p>
            <a:pPr lvl="2">
              <a:buFont typeface="Wingdings" pitchFamily="2" charset="2"/>
              <a:buChar char="§"/>
            </a:pPr>
            <a:r>
              <a:rPr lang="en-US" dirty="0">
                <a:solidFill>
                  <a:schemeClr val="accent2"/>
                </a:solidFill>
              </a:rPr>
              <a:t>Organization Structure</a:t>
            </a:r>
          </a:p>
          <a:p>
            <a:pPr lvl="3">
              <a:buFontTx/>
              <a:buChar char="•"/>
            </a:pPr>
            <a:r>
              <a:rPr lang="en-US" sz="2400" dirty="0">
                <a:solidFill>
                  <a:schemeClr val="accent2"/>
                </a:solidFill>
              </a:rPr>
              <a:t>Internal Departments </a:t>
            </a:r>
          </a:p>
          <a:p>
            <a:pPr lvl="3">
              <a:buFontTx/>
              <a:buChar char="•"/>
            </a:pPr>
            <a:r>
              <a:rPr lang="en-US" sz="2400" dirty="0">
                <a:solidFill>
                  <a:schemeClr val="accent2"/>
                </a:solidFill>
              </a:rPr>
              <a:t>Roles</a:t>
            </a:r>
          </a:p>
          <a:p>
            <a:pPr lvl="3">
              <a:buFontTx/>
              <a:buChar char="•"/>
            </a:pPr>
            <a:r>
              <a:rPr lang="en-US" sz="2400" dirty="0">
                <a:solidFill>
                  <a:schemeClr val="accent2"/>
                </a:solidFill>
              </a:rPr>
              <a:t>Support Groups</a:t>
            </a:r>
          </a:p>
        </p:txBody>
      </p:sp>
      <p:graphicFrame>
        <p:nvGraphicFramePr>
          <p:cNvPr id="2" name="Diagram 1"/>
          <p:cNvGraphicFramePr/>
          <p:nvPr/>
        </p:nvGraphicFramePr>
        <p:xfrm>
          <a:off x="5833241" y="1629104"/>
          <a:ext cx="4614042" cy="4593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flipH="1">
            <a:off x="5833241" y="3615559"/>
            <a:ext cx="1797268" cy="646331"/>
          </a:xfrm>
          <a:prstGeom prst="rect">
            <a:avLst/>
          </a:prstGeom>
          <a:noFill/>
        </p:spPr>
        <p:txBody>
          <a:bodyPr wrap="square" rtlCol="0">
            <a:spAutoFit/>
          </a:bodyPr>
          <a:lstStyle/>
          <a:p>
            <a:r>
              <a:rPr lang="en-US" dirty="0"/>
              <a:t>Category Management </a:t>
            </a:r>
          </a:p>
        </p:txBody>
      </p:sp>
    </p:spTree>
    <p:extLst>
      <p:ext uri="{BB962C8B-B14F-4D97-AF65-F5344CB8AC3E}">
        <p14:creationId xmlns:p14="http://schemas.microsoft.com/office/powerpoint/2010/main" val="462670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pace Planning Configuration</a:t>
            </a:r>
          </a:p>
        </p:txBody>
      </p:sp>
      <p:sp>
        <p:nvSpPr>
          <p:cNvPr id="9" name="Content Placeholder 8"/>
          <p:cNvSpPr>
            <a:spLocks noGrp="1"/>
          </p:cNvSpPr>
          <p:nvPr>
            <p:ph idx="1"/>
          </p:nvPr>
        </p:nvSpPr>
        <p:spPr/>
        <p:txBody>
          <a:bodyPr/>
          <a:lstStyle/>
          <a:p>
            <a:pPr>
              <a:lnSpc>
                <a:spcPct val="150000"/>
              </a:lnSpc>
            </a:pPr>
            <a:r>
              <a:rPr lang="en-US" dirty="0"/>
              <a:t>Initial application settings (INI)</a:t>
            </a:r>
          </a:p>
          <a:p>
            <a:pPr lvl="1">
              <a:lnSpc>
                <a:spcPct val="150000"/>
              </a:lnSpc>
            </a:pPr>
            <a:r>
              <a:rPr lang="en-US" dirty="0"/>
              <a:t>Default library locations (picture, fixture, product)</a:t>
            </a:r>
          </a:p>
          <a:p>
            <a:pPr lvl="1">
              <a:lnSpc>
                <a:spcPct val="150000"/>
              </a:lnSpc>
            </a:pPr>
            <a:r>
              <a:rPr lang="en-US" dirty="0"/>
              <a:t>Custom menu dropdowns (table, chart, highlight, label)</a:t>
            </a:r>
          </a:p>
          <a:p>
            <a:pPr lvl="1">
              <a:lnSpc>
                <a:spcPct val="150000"/>
              </a:lnSpc>
            </a:pPr>
            <a:r>
              <a:rPr lang="en-US" dirty="0"/>
              <a:t>Custom data views (status bar, title bar)</a:t>
            </a:r>
          </a:p>
          <a:p>
            <a:pPr lvl="1">
              <a:lnSpc>
                <a:spcPct val="150000"/>
              </a:lnSpc>
            </a:pPr>
            <a:r>
              <a:rPr lang="en-US" dirty="0"/>
              <a:t>SP behavior (location IDs, manipulation, warnings, etc.)</a:t>
            </a:r>
          </a:p>
          <a:p>
            <a:pPr>
              <a:lnSpc>
                <a:spcPct val="150000"/>
              </a:lnSpc>
            </a:pPr>
            <a:r>
              <a:rPr lang="en-US" dirty="0"/>
              <a:t>Non-standard tables, charts, and highlights</a:t>
            </a:r>
          </a:p>
          <a:p>
            <a:pPr lvl="1">
              <a:lnSpc>
                <a:spcPct val="150000"/>
              </a:lnSpc>
            </a:pPr>
            <a:endParaRPr lang="en-US" dirty="0"/>
          </a:p>
        </p:txBody>
      </p:sp>
    </p:spTree>
    <p:extLst>
      <p:ext uri="{BB962C8B-B14F-4D97-AF65-F5344CB8AC3E}">
        <p14:creationId xmlns:p14="http://schemas.microsoft.com/office/powerpoint/2010/main" val="218416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Planning Roadblocks</a:t>
            </a:r>
          </a:p>
        </p:txBody>
      </p:sp>
      <p:sp>
        <p:nvSpPr>
          <p:cNvPr id="3" name="Content Placeholder 2"/>
          <p:cNvSpPr>
            <a:spLocks noGrp="1"/>
          </p:cNvSpPr>
          <p:nvPr>
            <p:ph idx="1"/>
          </p:nvPr>
        </p:nvSpPr>
        <p:spPr/>
        <p:txBody>
          <a:bodyPr/>
          <a:lstStyle/>
          <a:p>
            <a:r>
              <a:rPr lang="en-US" dirty="0"/>
              <a:t>Space Planning Field Differences between versions</a:t>
            </a:r>
          </a:p>
          <a:p>
            <a:r>
              <a:rPr lang="en-US" dirty="0"/>
              <a:t>Sample Analysis Files- save with proper file sharing extension</a:t>
            </a:r>
          </a:p>
          <a:p>
            <a:r>
              <a:rPr lang="en-US" dirty="0"/>
              <a:t>Dirty data</a:t>
            </a:r>
          </a:p>
          <a:p>
            <a:r>
              <a:rPr lang="en-US" dirty="0"/>
              <a:t>Zero’s being stripped from Excel (use text or Custom format)</a:t>
            </a:r>
          </a:p>
          <a:p>
            <a:r>
              <a:rPr lang="en-US" dirty="0"/>
              <a:t>Planogram cleanup</a:t>
            </a:r>
          </a:p>
          <a:p>
            <a:endParaRPr lang="en-US" dirty="0"/>
          </a:p>
        </p:txBody>
      </p:sp>
    </p:spTree>
    <p:extLst>
      <p:ext uri="{BB962C8B-B14F-4D97-AF65-F5344CB8AC3E}">
        <p14:creationId xmlns:p14="http://schemas.microsoft.com/office/powerpoint/2010/main" val="38014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Inputs / Outputs</a:t>
            </a:r>
          </a:p>
        </p:txBody>
      </p:sp>
      <p:sp>
        <p:nvSpPr>
          <p:cNvPr id="8"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pyright © 2015 BY Software Group, Inc. Confidential</a:t>
            </a:r>
          </a:p>
        </p:txBody>
      </p:sp>
    </p:spTree>
    <p:extLst>
      <p:ext uri="{BB962C8B-B14F-4D97-AF65-F5344CB8AC3E}">
        <p14:creationId xmlns:p14="http://schemas.microsoft.com/office/powerpoint/2010/main" val="226158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ta Best Practice</a:t>
            </a:r>
          </a:p>
        </p:txBody>
      </p:sp>
      <p:sp>
        <p:nvSpPr>
          <p:cNvPr id="9" name="Content Placeholder 8"/>
          <p:cNvSpPr>
            <a:spLocks noGrp="1"/>
          </p:cNvSpPr>
          <p:nvPr>
            <p:ph idx="1"/>
          </p:nvPr>
        </p:nvSpPr>
        <p:spPr>
          <a:xfrm>
            <a:off x="417249" y="1139902"/>
            <a:ext cx="11390051" cy="5167891"/>
          </a:xfrm>
        </p:spPr>
        <p:txBody>
          <a:bodyPr/>
          <a:lstStyle/>
          <a:p>
            <a:pPr lvl="1" indent="-228600">
              <a:lnSpc>
                <a:spcPct val="80000"/>
              </a:lnSpc>
              <a:buSzPct val="100000"/>
              <a:buFont typeface="Lucida Grande"/>
              <a:buChar char="&gt;"/>
            </a:pPr>
            <a:r>
              <a:rPr lang="en-CA" sz="2400" dirty="0"/>
              <a:t>Product data will include necessary information to form the hierarchy within CKB.</a:t>
            </a:r>
          </a:p>
          <a:p>
            <a:pPr lvl="1" indent="-228600">
              <a:lnSpc>
                <a:spcPct val="80000"/>
              </a:lnSpc>
              <a:buSzPct val="100000"/>
              <a:buFont typeface="Lucida Grande"/>
              <a:buChar char="&gt;"/>
            </a:pPr>
            <a:endParaRPr lang="en-CA" sz="2400" dirty="0"/>
          </a:p>
          <a:p>
            <a:pPr lvl="1" indent="-228600">
              <a:lnSpc>
                <a:spcPct val="80000"/>
              </a:lnSpc>
              <a:buSzPct val="100000"/>
              <a:buFont typeface="Lucida Grande"/>
              <a:buChar char="&gt;"/>
            </a:pPr>
            <a:r>
              <a:rPr lang="en-CA" sz="2400" dirty="0"/>
              <a:t>Standardized method of capturing and validating new product information, such as dimensions.</a:t>
            </a:r>
          </a:p>
          <a:p>
            <a:pPr lvl="1" indent="-228600">
              <a:lnSpc>
                <a:spcPct val="80000"/>
              </a:lnSpc>
              <a:buSzPct val="100000"/>
              <a:buFont typeface="Lucida Grande"/>
              <a:buChar char="&gt;"/>
            </a:pPr>
            <a:endParaRPr lang="en-CA" sz="2400" dirty="0"/>
          </a:p>
          <a:p>
            <a:pPr lvl="1" indent="-228600">
              <a:lnSpc>
                <a:spcPct val="80000"/>
              </a:lnSpc>
              <a:buSzPct val="100000"/>
              <a:buFont typeface="Lucida Grande"/>
              <a:buChar char="&gt;"/>
            </a:pPr>
            <a:r>
              <a:rPr lang="en-CA" sz="2400" dirty="0"/>
              <a:t>Product costing requirement is the net/net cost to ensure proper profitability analyses are done.</a:t>
            </a:r>
          </a:p>
          <a:p>
            <a:pPr lvl="1" indent="-228600">
              <a:lnSpc>
                <a:spcPct val="80000"/>
              </a:lnSpc>
              <a:buSzPct val="100000"/>
              <a:buFont typeface="Lucida Grande"/>
              <a:buChar char="&gt;"/>
            </a:pPr>
            <a:endParaRPr lang="en-CA" sz="2400" dirty="0"/>
          </a:p>
          <a:p>
            <a:pPr lvl="1" indent="-228600">
              <a:lnSpc>
                <a:spcPct val="80000"/>
              </a:lnSpc>
              <a:buSzPct val="100000"/>
              <a:buFont typeface="Lucida Grande"/>
              <a:buChar char="&gt;"/>
            </a:pPr>
            <a:r>
              <a:rPr lang="en-CA" sz="2400" dirty="0"/>
              <a:t>Include store data in CKB to associate planograms (through floorplans) to stores</a:t>
            </a:r>
            <a:r>
              <a:rPr lang="en-US" sz="2400" dirty="0"/>
              <a:t> </a:t>
            </a:r>
          </a:p>
          <a:p>
            <a:pPr lvl="1" indent="-228600">
              <a:lnSpc>
                <a:spcPct val="80000"/>
              </a:lnSpc>
              <a:buSzPct val="100000"/>
              <a:buFont typeface="Lucida Grande"/>
              <a:buChar char="&gt;"/>
            </a:pPr>
            <a:r>
              <a:rPr lang="en-CA" sz="2400" dirty="0"/>
              <a:t>Input data on sales performance, normalized properly.  </a:t>
            </a:r>
          </a:p>
          <a:p>
            <a:pPr lvl="2">
              <a:lnSpc>
                <a:spcPct val="90000"/>
              </a:lnSpc>
              <a:buFont typeface="Wingdings" pitchFamily="2" charset="2"/>
              <a:buChar char="§"/>
            </a:pPr>
            <a:r>
              <a:rPr lang="en-CA" dirty="0"/>
              <a:t>Standard time series are for the latest 13 weeks, latest 26 weeks and latest 52 weeks.  </a:t>
            </a:r>
          </a:p>
          <a:p>
            <a:pPr lvl="2">
              <a:lnSpc>
                <a:spcPct val="90000"/>
              </a:lnSpc>
              <a:buFont typeface="Wingdings" pitchFamily="2" charset="2"/>
              <a:buChar char="§"/>
            </a:pPr>
            <a:r>
              <a:rPr lang="en-CA" dirty="0"/>
              <a:t>Include primary metrics on comp sales, margin rate and margin dollars.</a:t>
            </a:r>
          </a:p>
          <a:p>
            <a:pPr lvl="2">
              <a:lnSpc>
                <a:spcPct val="90000"/>
              </a:lnSpc>
              <a:buFont typeface="Wingdings" pitchFamily="2" charset="2"/>
              <a:buChar char="§"/>
            </a:pPr>
            <a:r>
              <a:rPr lang="en-CA" dirty="0"/>
              <a:t>Normalization for average weekly numbers.</a:t>
            </a:r>
          </a:p>
          <a:p>
            <a:pPr marL="0" lvl="1" indent="0">
              <a:lnSpc>
                <a:spcPct val="80000"/>
              </a:lnSpc>
              <a:buSzPct val="100000"/>
              <a:buNone/>
            </a:pPr>
            <a:endParaRPr lang="en-US" dirty="0"/>
          </a:p>
          <a:p>
            <a:pPr lvl="1" indent="-228600">
              <a:lnSpc>
                <a:spcPct val="80000"/>
              </a:lnSpc>
              <a:buSzPct val="100000"/>
              <a:buFont typeface="Lucida Grande"/>
              <a:buChar char="&gt;"/>
            </a:pPr>
            <a:endParaRPr lang="en-US" dirty="0"/>
          </a:p>
          <a:p>
            <a:endParaRPr lang="en-US" dirty="0"/>
          </a:p>
        </p:txBody>
      </p:sp>
    </p:spTree>
    <p:extLst>
      <p:ext uri="{BB962C8B-B14F-4D97-AF65-F5344CB8AC3E}">
        <p14:creationId xmlns:p14="http://schemas.microsoft.com/office/powerpoint/2010/main" val="376846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ta Inputs</a:t>
            </a:r>
          </a:p>
        </p:txBody>
      </p:sp>
      <p:sp>
        <p:nvSpPr>
          <p:cNvPr id="9" name="Content Placeholder 8"/>
          <p:cNvSpPr>
            <a:spLocks noGrp="1"/>
          </p:cNvSpPr>
          <p:nvPr>
            <p:ph idx="1"/>
          </p:nvPr>
        </p:nvSpPr>
        <p:spPr>
          <a:xfrm>
            <a:off x="941033" y="1260630"/>
            <a:ext cx="9269767" cy="5047163"/>
          </a:xfrm>
        </p:spPr>
        <p:txBody>
          <a:bodyPr/>
          <a:lstStyle/>
          <a:p>
            <a:pPr lvl="1" indent="-228600">
              <a:buSzPct val="100000"/>
              <a:buFont typeface="Lucida Grande"/>
              <a:buChar char="&gt;"/>
            </a:pPr>
            <a:r>
              <a:rPr lang="en-US" dirty="0"/>
              <a:t>Existing Planogram Data</a:t>
            </a:r>
          </a:p>
          <a:p>
            <a:pPr lvl="1" indent="-228600">
              <a:buSzPct val="100000"/>
              <a:buFont typeface="Lucida Grande"/>
              <a:buChar char="&gt;"/>
            </a:pPr>
            <a:r>
              <a:rPr lang="en-US" dirty="0"/>
              <a:t>Product Data</a:t>
            </a:r>
          </a:p>
          <a:p>
            <a:pPr lvl="1" indent="-228600">
              <a:buSzPct val="100000"/>
              <a:buFont typeface="Lucida Grande"/>
              <a:buChar char="&gt;"/>
            </a:pPr>
            <a:r>
              <a:rPr lang="en-US" dirty="0"/>
              <a:t>Cluster/Assortment Data</a:t>
            </a:r>
          </a:p>
          <a:p>
            <a:pPr lvl="1" indent="-228600">
              <a:buSzPct val="100000"/>
              <a:buFont typeface="Lucida Grande"/>
              <a:buChar char="&gt;"/>
            </a:pPr>
            <a:r>
              <a:rPr lang="en-US" b="1" dirty="0"/>
              <a:t>Fixture</a:t>
            </a:r>
            <a:r>
              <a:rPr lang="en-US" dirty="0"/>
              <a:t> Data</a:t>
            </a:r>
          </a:p>
          <a:p>
            <a:pPr lvl="1" indent="-228600">
              <a:buSzPct val="100000"/>
              <a:buFont typeface="Lucida Grande"/>
              <a:buChar char="&gt;"/>
            </a:pPr>
            <a:r>
              <a:rPr lang="en-US" dirty="0"/>
              <a:t>Store Performance Data</a:t>
            </a:r>
          </a:p>
          <a:p>
            <a:pPr lvl="1" indent="-228600">
              <a:buSzPct val="100000"/>
              <a:buFont typeface="Lucida Grande"/>
              <a:buChar char="&gt;"/>
            </a:pPr>
            <a:r>
              <a:rPr lang="en-US" dirty="0"/>
              <a:t>Market Performance Data</a:t>
            </a:r>
          </a:p>
          <a:p>
            <a:pPr lvl="1" indent="-228600">
              <a:buSzPct val="100000"/>
              <a:buFont typeface="Lucida Grande"/>
              <a:buChar char="&gt;"/>
            </a:pPr>
            <a:r>
              <a:rPr lang="en-US" dirty="0"/>
              <a:t>Forecast Data</a:t>
            </a:r>
          </a:p>
          <a:p>
            <a:pPr lvl="1" indent="-228600">
              <a:buSzPct val="100000"/>
              <a:buFont typeface="Lucida Grande"/>
              <a:buChar char="&gt;"/>
            </a:pPr>
            <a:r>
              <a:rPr lang="en-US" dirty="0"/>
              <a:t>Store / Region / Zone / Group Data</a:t>
            </a:r>
          </a:p>
          <a:p>
            <a:pPr lvl="1" indent="-228600">
              <a:buSzPct val="100000"/>
              <a:buFont typeface="Lucida Grande"/>
              <a:buChar char="&gt;"/>
            </a:pPr>
            <a:r>
              <a:rPr lang="en-US" dirty="0"/>
              <a:t>Other Data</a:t>
            </a:r>
          </a:p>
          <a:p>
            <a:pPr lvl="1" indent="-228600">
              <a:buSzPct val="100000"/>
              <a:buFont typeface="Lucida Grande"/>
              <a:buChar char="&gt;"/>
            </a:pPr>
            <a:endParaRPr lang="en-US" dirty="0"/>
          </a:p>
          <a:p>
            <a:pPr lvl="1" indent="-228600">
              <a:lnSpc>
                <a:spcPct val="80000"/>
              </a:lnSpc>
              <a:buSzPct val="100000"/>
              <a:buFont typeface="Lucida Grande"/>
              <a:buChar char="&gt;"/>
            </a:pPr>
            <a:endParaRPr lang="en-US" dirty="0"/>
          </a:p>
          <a:p>
            <a:endParaRPr lang="en-US" dirty="0"/>
          </a:p>
        </p:txBody>
      </p:sp>
    </p:spTree>
    <p:extLst>
      <p:ext uri="{BB962C8B-B14F-4D97-AF65-F5344CB8AC3E}">
        <p14:creationId xmlns:p14="http://schemas.microsoft.com/office/powerpoint/2010/main" val="21180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ta Best Practice</a:t>
            </a:r>
          </a:p>
        </p:txBody>
      </p:sp>
      <p:sp>
        <p:nvSpPr>
          <p:cNvPr id="9" name="Content Placeholder 8"/>
          <p:cNvSpPr>
            <a:spLocks noGrp="1"/>
          </p:cNvSpPr>
          <p:nvPr>
            <p:ph idx="1"/>
          </p:nvPr>
        </p:nvSpPr>
        <p:spPr>
          <a:xfrm>
            <a:off x="592369" y="1139902"/>
            <a:ext cx="9618431" cy="5167891"/>
          </a:xfrm>
        </p:spPr>
        <p:txBody>
          <a:bodyPr/>
          <a:lstStyle/>
          <a:p>
            <a:pPr lvl="1" indent="-228600">
              <a:lnSpc>
                <a:spcPct val="80000"/>
              </a:lnSpc>
              <a:buSzPct val="100000"/>
              <a:buFont typeface="Lucida Grande"/>
              <a:buChar char="&gt;"/>
            </a:pPr>
            <a:r>
              <a:rPr lang="en-CA" dirty="0"/>
              <a:t>Product data will include necessary information to form the hierarchy within IKB.</a:t>
            </a:r>
          </a:p>
          <a:p>
            <a:pPr lvl="1" indent="-228600">
              <a:lnSpc>
                <a:spcPct val="80000"/>
              </a:lnSpc>
              <a:buSzPct val="100000"/>
              <a:buFont typeface="Lucida Grande"/>
              <a:buChar char="&gt;"/>
            </a:pPr>
            <a:r>
              <a:rPr lang="en-CA" dirty="0"/>
              <a:t>Standardized method of capturing and validating new product information, such as dimensions.</a:t>
            </a:r>
          </a:p>
          <a:p>
            <a:pPr lvl="1" indent="-228600">
              <a:lnSpc>
                <a:spcPct val="80000"/>
              </a:lnSpc>
              <a:buSzPct val="100000"/>
              <a:buFont typeface="Lucida Grande"/>
              <a:buChar char="&gt;"/>
            </a:pPr>
            <a:r>
              <a:rPr lang="en-CA" dirty="0"/>
              <a:t>Product costing requirement is the net/net cost to ensure proper profitability analyses are done.</a:t>
            </a:r>
          </a:p>
          <a:p>
            <a:pPr lvl="1" indent="-228600">
              <a:lnSpc>
                <a:spcPct val="80000"/>
              </a:lnSpc>
              <a:buSzPct val="100000"/>
              <a:buFont typeface="Lucida Grande"/>
              <a:buChar char="&gt;"/>
            </a:pPr>
            <a:r>
              <a:rPr lang="en-CA" dirty="0"/>
              <a:t>Include store data in CKB to associate planograms (through floorplans) to stores</a:t>
            </a:r>
            <a:r>
              <a:rPr lang="en-US" dirty="0"/>
              <a:t> </a:t>
            </a:r>
          </a:p>
          <a:p>
            <a:pPr lvl="1" indent="-228600">
              <a:lnSpc>
                <a:spcPct val="80000"/>
              </a:lnSpc>
              <a:buSzPct val="100000"/>
              <a:buFont typeface="Lucida Grande"/>
              <a:buChar char="&gt;"/>
            </a:pPr>
            <a:r>
              <a:rPr lang="en-CA" dirty="0"/>
              <a:t>Input data on sales performance, normalized properly.  </a:t>
            </a:r>
          </a:p>
          <a:p>
            <a:pPr lvl="2">
              <a:lnSpc>
                <a:spcPct val="90000"/>
              </a:lnSpc>
              <a:buFont typeface="Wingdings" pitchFamily="2" charset="2"/>
              <a:buChar char="§"/>
            </a:pPr>
            <a:r>
              <a:rPr lang="en-CA" dirty="0"/>
              <a:t>Standard time series are for the latest 13 weeks, latest 26 weeks and latest 52 weeks.  </a:t>
            </a:r>
          </a:p>
          <a:p>
            <a:pPr lvl="2">
              <a:lnSpc>
                <a:spcPct val="90000"/>
              </a:lnSpc>
              <a:buFont typeface="Wingdings" pitchFamily="2" charset="2"/>
              <a:buChar char="§"/>
            </a:pPr>
            <a:r>
              <a:rPr lang="en-CA" dirty="0"/>
              <a:t>Include primary metrics on comp sales, margin rate and margin dollars.</a:t>
            </a:r>
          </a:p>
          <a:p>
            <a:pPr lvl="2">
              <a:lnSpc>
                <a:spcPct val="90000"/>
              </a:lnSpc>
              <a:buFont typeface="Wingdings" pitchFamily="2" charset="2"/>
              <a:buChar char="§"/>
            </a:pPr>
            <a:r>
              <a:rPr lang="en-CA" dirty="0"/>
              <a:t>Normalization for average weekly numbers.</a:t>
            </a:r>
          </a:p>
          <a:p>
            <a:pPr marL="0" lvl="1" indent="0">
              <a:lnSpc>
                <a:spcPct val="80000"/>
              </a:lnSpc>
              <a:buSzPct val="100000"/>
              <a:buNone/>
            </a:pPr>
            <a:endParaRPr lang="en-US" dirty="0"/>
          </a:p>
          <a:p>
            <a:pPr lvl="1" indent="-228600">
              <a:lnSpc>
                <a:spcPct val="80000"/>
              </a:lnSpc>
              <a:buSzPct val="100000"/>
              <a:buFont typeface="Lucida Grande"/>
              <a:buChar char="&gt;"/>
            </a:pPr>
            <a:endParaRPr lang="en-US" dirty="0"/>
          </a:p>
          <a:p>
            <a:endParaRPr lang="en-US" dirty="0"/>
          </a:p>
        </p:txBody>
      </p:sp>
    </p:spTree>
    <p:extLst>
      <p:ext uri="{BB962C8B-B14F-4D97-AF65-F5344CB8AC3E}">
        <p14:creationId xmlns:p14="http://schemas.microsoft.com/office/powerpoint/2010/main" val="388822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1E451-2367-4E30-8832-F0FA47DA3B61}"/>
              </a:ext>
            </a:extLst>
          </p:cNvPr>
          <p:cNvSpPr>
            <a:spLocks noGrp="1"/>
          </p:cNvSpPr>
          <p:nvPr>
            <p:ph type="title"/>
          </p:nvPr>
        </p:nvSpPr>
        <p:spPr/>
        <p:txBody>
          <a:bodyPr/>
          <a:lstStyle/>
          <a:p>
            <a:r>
              <a:rPr lang="en-US" dirty="0"/>
              <a:t>Syndicated Data</a:t>
            </a:r>
          </a:p>
        </p:txBody>
      </p:sp>
      <p:sp>
        <p:nvSpPr>
          <p:cNvPr id="3" name="Content Placeholder 2">
            <a:extLst>
              <a:ext uri="{FF2B5EF4-FFF2-40B4-BE49-F238E27FC236}">
                <a16:creationId xmlns:a16="http://schemas.microsoft.com/office/drawing/2014/main" id="{E3816559-630E-4E5C-A402-92322B28526E}"/>
              </a:ext>
            </a:extLst>
          </p:cNvPr>
          <p:cNvSpPr>
            <a:spLocks noGrp="1"/>
          </p:cNvSpPr>
          <p:nvPr>
            <p:ph idx="1"/>
          </p:nvPr>
        </p:nvSpPr>
        <p:spPr>
          <a:xfrm>
            <a:off x="1127464" y="1376040"/>
            <a:ext cx="9083336" cy="4931753"/>
          </a:xfrm>
        </p:spPr>
        <p:txBody>
          <a:bodyPr/>
          <a:lstStyle/>
          <a:p>
            <a:r>
              <a:rPr lang="en-US" b="0" dirty="0"/>
              <a:t>The story behind the sales numbers </a:t>
            </a:r>
          </a:p>
          <a:p>
            <a:r>
              <a:rPr lang="en-US" b="0" dirty="0"/>
              <a:t>Source of volume - % of sales by channel</a:t>
            </a:r>
          </a:p>
          <a:p>
            <a:r>
              <a:rPr lang="en-US" b="0" dirty="0"/>
              <a:t>Household penetration -% of household buying</a:t>
            </a:r>
          </a:p>
          <a:p>
            <a:r>
              <a:rPr lang="en-US" b="0" dirty="0"/>
              <a:t>Purchase Cycle – Days between purchase</a:t>
            </a:r>
          </a:p>
          <a:p>
            <a:r>
              <a:rPr lang="en-US" b="0" dirty="0"/>
              <a:t>Volume per purchase- # product per purchase</a:t>
            </a:r>
          </a:p>
          <a:p>
            <a:r>
              <a:rPr lang="en-US" b="0" dirty="0"/>
              <a:t>Loyalty- Shoppers purchases to a certain sub category</a:t>
            </a:r>
          </a:p>
          <a:p>
            <a:r>
              <a:rPr lang="en-US" b="0" dirty="0"/>
              <a:t>% volume from promotion -  % of purchase on price reduction</a:t>
            </a:r>
          </a:p>
          <a:p>
            <a:r>
              <a:rPr lang="en-US" b="0" dirty="0"/>
              <a:t>Market Basket- Total amount spent per shopping trip</a:t>
            </a:r>
          </a:p>
          <a:p>
            <a:r>
              <a:rPr lang="en-US" b="0" dirty="0"/>
              <a:t>Brand Switching- what brand customer switch between and how often</a:t>
            </a:r>
          </a:p>
          <a:p>
            <a:r>
              <a:rPr lang="en-US" b="0" dirty="0"/>
              <a:t>Product interaction – when one product is bought what else </a:t>
            </a:r>
          </a:p>
          <a:p>
            <a:r>
              <a:rPr lang="en-US" b="0" dirty="0"/>
              <a:t>Buyer demographics – type of customers</a:t>
            </a:r>
          </a:p>
        </p:txBody>
      </p:sp>
    </p:spTree>
    <p:extLst>
      <p:ext uri="{BB962C8B-B14F-4D97-AF65-F5344CB8AC3E}">
        <p14:creationId xmlns:p14="http://schemas.microsoft.com/office/powerpoint/2010/main" val="265775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ta Outputs</a:t>
            </a:r>
          </a:p>
        </p:txBody>
      </p:sp>
      <p:sp>
        <p:nvSpPr>
          <p:cNvPr id="9" name="Content Placeholder 8"/>
          <p:cNvSpPr>
            <a:spLocks noGrp="1"/>
          </p:cNvSpPr>
          <p:nvPr>
            <p:ph idx="1"/>
          </p:nvPr>
        </p:nvSpPr>
        <p:spPr/>
        <p:txBody>
          <a:bodyPr/>
          <a:lstStyle/>
          <a:p>
            <a:pPr lvl="1" indent="-228600">
              <a:lnSpc>
                <a:spcPct val="80000"/>
              </a:lnSpc>
              <a:buSzPct val="100000"/>
              <a:buFont typeface="Lucida Grande"/>
              <a:buChar char="&gt;"/>
            </a:pPr>
            <a:r>
              <a:rPr lang="en-US" dirty="0"/>
              <a:t>Planogram Printing / Distribution</a:t>
            </a:r>
          </a:p>
          <a:p>
            <a:pPr lvl="2">
              <a:lnSpc>
                <a:spcPct val="90000"/>
              </a:lnSpc>
              <a:buFont typeface="Wingdings" pitchFamily="2" charset="2"/>
              <a:buChar char="§"/>
            </a:pPr>
            <a:r>
              <a:rPr lang="en-US" dirty="0"/>
              <a:t>Electronic / Web Publisher </a:t>
            </a:r>
            <a:r>
              <a:rPr lang="en-US" dirty="0" err="1"/>
              <a:t>Conten</a:t>
            </a:r>
            <a:endParaRPr lang="en-US" dirty="0"/>
          </a:p>
          <a:p>
            <a:pPr lvl="1" indent="-228600">
              <a:lnSpc>
                <a:spcPct val="80000"/>
              </a:lnSpc>
              <a:buSzPct val="100000"/>
              <a:buFont typeface="Lucida Grande"/>
              <a:buChar char="&gt;"/>
            </a:pPr>
            <a:r>
              <a:rPr lang="en-US" dirty="0"/>
              <a:t>Images</a:t>
            </a:r>
          </a:p>
          <a:p>
            <a:pPr lvl="1" indent="-228600">
              <a:lnSpc>
                <a:spcPct val="80000"/>
              </a:lnSpc>
              <a:buSzPct val="100000"/>
              <a:buFont typeface="Lucida Grande"/>
              <a:buChar char="&gt;"/>
            </a:pPr>
            <a:endParaRPr lang="en-US" dirty="0"/>
          </a:p>
          <a:p>
            <a:pPr lvl="1" indent="-228600">
              <a:lnSpc>
                <a:spcPct val="80000"/>
              </a:lnSpc>
              <a:buSzPct val="100000"/>
              <a:buFont typeface="Lucida Grande"/>
              <a:buChar char="&gt;"/>
            </a:pPr>
            <a:r>
              <a:rPr lang="en-US" dirty="0"/>
              <a:t>Communications</a:t>
            </a:r>
          </a:p>
          <a:p>
            <a:pPr lvl="1" indent="-228600">
              <a:lnSpc>
                <a:spcPct val="80000"/>
              </a:lnSpc>
              <a:buSzPct val="100000"/>
              <a:buFont typeface="Lucida Grande"/>
              <a:buChar char="&gt;"/>
            </a:pPr>
            <a:endParaRPr lang="en-US" dirty="0"/>
          </a:p>
          <a:p>
            <a:pPr lvl="1" indent="-228600">
              <a:lnSpc>
                <a:spcPct val="80000"/>
              </a:lnSpc>
              <a:buSzPct val="100000"/>
              <a:buFont typeface="Lucida Grande"/>
              <a:buChar char="&gt;"/>
            </a:pPr>
            <a:r>
              <a:rPr lang="en-US" dirty="0"/>
              <a:t>Shelf Strips/Labels</a:t>
            </a:r>
          </a:p>
          <a:p>
            <a:pPr lvl="1" indent="-228600">
              <a:lnSpc>
                <a:spcPct val="80000"/>
              </a:lnSpc>
              <a:buSzPct val="100000"/>
              <a:buFont typeface="Lucida Grande"/>
              <a:buChar char="&gt;"/>
            </a:pPr>
            <a:endParaRPr lang="en-US" dirty="0"/>
          </a:p>
          <a:p>
            <a:pPr lvl="1" indent="-228600">
              <a:lnSpc>
                <a:spcPct val="80000"/>
              </a:lnSpc>
              <a:buSzPct val="100000"/>
              <a:buFont typeface="Lucida Grande"/>
              <a:buChar char="&gt;"/>
            </a:pPr>
            <a:r>
              <a:rPr lang="en-US" dirty="0"/>
              <a:t>Product/Planogram/Store space metrics</a:t>
            </a:r>
          </a:p>
          <a:p>
            <a:pPr lvl="1" indent="-228600">
              <a:lnSpc>
                <a:spcPct val="80000"/>
              </a:lnSpc>
              <a:buSzPct val="100000"/>
              <a:buFont typeface="Lucida Grande"/>
              <a:buChar char="&gt;"/>
            </a:pPr>
            <a:endParaRPr lang="en-US" dirty="0"/>
          </a:p>
          <a:p>
            <a:pPr lvl="1" indent="-228600">
              <a:lnSpc>
                <a:spcPct val="80000"/>
              </a:lnSpc>
              <a:buSzPct val="100000"/>
              <a:buFont typeface="Lucida Grande"/>
              <a:buChar char="&gt;"/>
            </a:pPr>
            <a:r>
              <a:rPr lang="en-US" dirty="0"/>
              <a:t>Any current supplemental materials or processes</a:t>
            </a:r>
          </a:p>
          <a:p>
            <a:pPr marL="0" lvl="1" indent="0">
              <a:lnSpc>
                <a:spcPct val="80000"/>
              </a:lnSpc>
              <a:buSzPct val="100000"/>
              <a:buNone/>
            </a:pPr>
            <a:endParaRPr lang="en-US" dirty="0"/>
          </a:p>
          <a:p>
            <a:pPr lvl="1" indent="-228600">
              <a:lnSpc>
                <a:spcPct val="80000"/>
              </a:lnSpc>
              <a:buSzPct val="100000"/>
              <a:buFont typeface="Lucida Grande"/>
              <a:buChar char="&gt;"/>
            </a:pPr>
            <a:endParaRPr lang="en-US" dirty="0"/>
          </a:p>
          <a:p>
            <a:endParaRPr lang="en-US" dirty="0"/>
          </a:p>
        </p:txBody>
      </p:sp>
    </p:spTree>
    <p:extLst>
      <p:ext uri="{BB962C8B-B14F-4D97-AF65-F5344CB8AC3E}">
        <p14:creationId xmlns:p14="http://schemas.microsoft.com/office/powerpoint/2010/main" val="307750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ogram Analysis</a:t>
            </a:r>
          </a:p>
        </p:txBody>
      </p:sp>
      <p:sp>
        <p:nvSpPr>
          <p:cNvPr id="8" name="Footer Placeholder 7"/>
          <p:cNvSpPr txBox="1">
            <a:spLocks/>
          </p:cNvSpPr>
          <p:nvPr/>
        </p:nvSpPr>
        <p:spPr>
          <a:xfrm>
            <a:off x="6845301" y="6501385"/>
            <a:ext cx="2952750" cy="261083"/>
          </a:xfrm>
          <a:prstGeom prst="rect">
            <a:avLst/>
          </a:prstGeom>
        </p:spPr>
        <p:txBody>
          <a:bodyPr vert="horz" lIns="0" tIns="45720" rIns="0" bIns="45720" rtlCol="0" anchor="t" anchorCtr="0"/>
          <a:lstStyle>
            <a:defPPr>
              <a:defRPr lang="en-US"/>
            </a:defPPr>
            <a:lvl1pPr marL="0" algn="l" defTabSz="457200" rtl="0" eaLnBrk="1" latinLnBrk="0" hangingPunct="1">
              <a:defRPr lang="en-US" sz="900" b="0" i="0" u="none" strike="noStrike" kern="1200"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pyright © 2014 BY Software Group, Inc. Confidential</a:t>
            </a:r>
          </a:p>
        </p:txBody>
      </p:sp>
    </p:spTree>
    <p:extLst>
      <p:ext uri="{BB962C8B-B14F-4D97-AF65-F5344CB8AC3E}">
        <p14:creationId xmlns:p14="http://schemas.microsoft.com/office/powerpoint/2010/main" val="74508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lanogram Analysis</a:t>
            </a:r>
          </a:p>
        </p:txBody>
      </p:sp>
      <p:sp>
        <p:nvSpPr>
          <p:cNvPr id="9" name="Content Placeholder 8"/>
          <p:cNvSpPr>
            <a:spLocks noGrp="1"/>
          </p:cNvSpPr>
          <p:nvPr>
            <p:ph idx="1"/>
          </p:nvPr>
        </p:nvSpPr>
        <p:spPr/>
        <p:txBody>
          <a:bodyPr/>
          <a:lstStyle/>
          <a:p>
            <a:pPr lvl="1" indent="-228600">
              <a:lnSpc>
                <a:spcPct val="80000"/>
              </a:lnSpc>
              <a:buSzPct val="100000"/>
              <a:buFont typeface="Lucida Grande"/>
              <a:buChar char="&gt;"/>
            </a:pPr>
            <a:r>
              <a:rPr lang="en-US" dirty="0"/>
              <a:t>Planogram Layouts</a:t>
            </a:r>
          </a:p>
          <a:p>
            <a:pPr lvl="1" indent="-228600">
              <a:lnSpc>
                <a:spcPct val="80000"/>
              </a:lnSpc>
              <a:buSzPct val="100000"/>
              <a:buFont typeface="Lucida Grande"/>
              <a:buChar char="&gt;"/>
            </a:pPr>
            <a:r>
              <a:rPr lang="en-US" dirty="0"/>
              <a:t>Tables / Reports</a:t>
            </a:r>
          </a:p>
          <a:p>
            <a:pPr lvl="1" indent="-228600">
              <a:lnSpc>
                <a:spcPct val="80000"/>
              </a:lnSpc>
              <a:buSzPct val="100000"/>
              <a:buFont typeface="Lucida Grande"/>
              <a:buChar char="&gt;"/>
            </a:pPr>
            <a:r>
              <a:rPr lang="en-US" dirty="0"/>
              <a:t>Highlighting</a:t>
            </a:r>
          </a:p>
          <a:p>
            <a:pPr lvl="1" indent="-228600">
              <a:lnSpc>
                <a:spcPct val="80000"/>
              </a:lnSpc>
              <a:buSzPct val="100000"/>
              <a:buFont typeface="Lucida Grande"/>
              <a:buChar char="&gt;"/>
            </a:pPr>
            <a:r>
              <a:rPr lang="en-US" dirty="0"/>
              <a:t>Outbound data</a:t>
            </a:r>
          </a:p>
          <a:p>
            <a:pPr lvl="2">
              <a:buFont typeface="Wingdings" pitchFamily="2" charset="2"/>
              <a:buChar char="§"/>
            </a:pPr>
            <a:r>
              <a:rPr lang="en-US" dirty="0"/>
              <a:t>Space to Sales</a:t>
            </a:r>
          </a:p>
          <a:p>
            <a:pPr lvl="2">
              <a:buFont typeface="Wingdings" pitchFamily="2" charset="2"/>
              <a:buChar char="§"/>
            </a:pPr>
            <a:r>
              <a:rPr lang="en-US" dirty="0"/>
              <a:t>Days of Supply</a:t>
            </a:r>
          </a:p>
          <a:p>
            <a:pPr lvl="2">
              <a:buFont typeface="Wingdings" pitchFamily="2" charset="2"/>
              <a:buChar char="§"/>
            </a:pPr>
            <a:r>
              <a:rPr lang="en-US" dirty="0"/>
              <a:t>Key Performance Indicators</a:t>
            </a:r>
          </a:p>
          <a:p>
            <a:pPr lvl="1" indent="-228600">
              <a:lnSpc>
                <a:spcPct val="80000"/>
              </a:lnSpc>
              <a:buSzPct val="100000"/>
              <a:buFont typeface="Lucida Grande"/>
              <a:buChar char="&gt;"/>
            </a:pPr>
            <a:r>
              <a:rPr lang="en-US" dirty="0"/>
              <a:t>External Customer Data Requirements</a:t>
            </a:r>
          </a:p>
          <a:p>
            <a:pPr lvl="1" indent="-228600">
              <a:lnSpc>
                <a:spcPct val="80000"/>
              </a:lnSpc>
              <a:buSzPct val="100000"/>
              <a:buFont typeface="Lucida Grande"/>
              <a:buChar char="&gt;"/>
            </a:pPr>
            <a:r>
              <a:rPr lang="en-US" dirty="0"/>
              <a:t>Inventory Modeling</a:t>
            </a:r>
          </a:p>
          <a:p>
            <a:pPr lvl="1" indent="-228600">
              <a:lnSpc>
                <a:spcPct val="80000"/>
              </a:lnSpc>
              <a:buSzPct val="100000"/>
              <a:buFont typeface="Lucida Grande"/>
              <a:buChar char="&gt;"/>
            </a:pPr>
            <a:endParaRPr lang="en-US" dirty="0"/>
          </a:p>
          <a:p>
            <a:pPr marL="0" lvl="1" indent="0">
              <a:lnSpc>
                <a:spcPct val="80000"/>
              </a:lnSpc>
              <a:buSzPct val="100000"/>
              <a:buNone/>
            </a:pPr>
            <a:endParaRPr lang="en-US" dirty="0"/>
          </a:p>
          <a:p>
            <a:endParaRPr lang="en-US" dirty="0"/>
          </a:p>
        </p:txBody>
      </p:sp>
      <p:pic>
        <p:nvPicPr>
          <p:cNvPr id="4" name="Picture 3">
            <a:extLst>
              <a:ext uri="{FF2B5EF4-FFF2-40B4-BE49-F238E27FC236}">
                <a16:creationId xmlns:a16="http://schemas.microsoft.com/office/drawing/2014/main" id="{8A64811A-3B6A-4EC2-881A-2265BEB984F4}"/>
              </a:ext>
            </a:extLst>
          </p:cNvPr>
          <p:cNvPicPr>
            <a:picLocks noChangeAspect="1"/>
          </p:cNvPicPr>
          <p:nvPr/>
        </p:nvPicPr>
        <p:blipFill>
          <a:blip r:embed="rId2"/>
          <a:stretch>
            <a:fillRect/>
          </a:stretch>
        </p:blipFill>
        <p:spPr>
          <a:xfrm>
            <a:off x="4860169" y="1763596"/>
            <a:ext cx="6555491" cy="35097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425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en-US"/>
              <a:t>XYZ Company Profile</a:t>
            </a:r>
          </a:p>
        </p:txBody>
      </p:sp>
      <p:sp>
        <p:nvSpPr>
          <p:cNvPr id="24579" name="Rectangle 3"/>
          <p:cNvSpPr>
            <a:spLocks noGrp="1" noChangeArrowheads="1"/>
          </p:cNvSpPr>
          <p:nvPr>
            <p:ph type="body" idx="1"/>
          </p:nvPr>
        </p:nvSpPr>
        <p:spPr>
          <a:xfrm>
            <a:off x="1524000" y="1371601"/>
            <a:ext cx="8686800" cy="4564063"/>
          </a:xfrm>
          <a:noFill/>
          <a:ln/>
        </p:spPr>
        <p:txBody>
          <a:bodyPr/>
          <a:lstStyle/>
          <a:p>
            <a:pPr lvl="1">
              <a:buFont typeface="Wingdings" pitchFamily="2" charset="2"/>
              <a:buChar char="Ø"/>
            </a:pPr>
            <a:r>
              <a:rPr lang="en-US" sz="2400">
                <a:solidFill>
                  <a:schemeClr val="accent2"/>
                </a:solidFill>
              </a:rPr>
              <a:t>Current Processes</a:t>
            </a:r>
          </a:p>
          <a:p>
            <a:pPr lvl="2">
              <a:buFont typeface="Wingdings" pitchFamily="2" charset="2"/>
              <a:buChar char="§"/>
            </a:pPr>
            <a:r>
              <a:rPr lang="en-US">
                <a:solidFill>
                  <a:schemeClr val="accent2"/>
                </a:solidFill>
              </a:rPr>
              <a:t>Assortment</a:t>
            </a:r>
          </a:p>
          <a:p>
            <a:pPr lvl="2">
              <a:buFont typeface="Wingdings" pitchFamily="2" charset="2"/>
              <a:buChar char="§"/>
            </a:pPr>
            <a:r>
              <a:rPr lang="en-US">
                <a:solidFill>
                  <a:schemeClr val="accent2"/>
                </a:solidFill>
              </a:rPr>
              <a:t>Planogram Creation</a:t>
            </a:r>
          </a:p>
          <a:p>
            <a:pPr lvl="2">
              <a:buFont typeface="Wingdings" pitchFamily="2" charset="2"/>
              <a:buChar char="§"/>
            </a:pPr>
            <a:r>
              <a:rPr lang="en-US">
                <a:solidFill>
                  <a:schemeClr val="accent2"/>
                </a:solidFill>
              </a:rPr>
              <a:t>Changes / Modification / Reviews</a:t>
            </a:r>
          </a:p>
          <a:p>
            <a:pPr lvl="2">
              <a:buFont typeface="Wingdings" pitchFamily="2" charset="2"/>
              <a:buChar char="§"/>
            </a:pPr>
            <a:r>
              <a:rPr lang="en-US">
                <a:solidFill>
                  <a:schemeClr val="accent2"/>
                </a:solidFill>
              </a:rPr>
              <a:t>Distribution / Physical Resets</a:t>
            </a:r>
          </a:p>
          <a:p>
            <a:pPr lvl="2">
              <a:buFont typeface="Wingdings" pitchFamily="2" charset="2"/>
              <a:buChar char="§"/>
            </a:pPr>
            <a:r>
              <a:rPr lang="en-US">
                <a:solidFill>
                  <a:schemeClr val="accent2"/>
                </a:solidFill>
              </a:rPr>
              <a:t>Analysis</a:t>
            </a:r>
          </a:p>
          <a:p>
            <a:pPr lvl="1">
              <a:buFont typeface="Wingdings" pitchFamily="2" charset="2"/>
              <a:buChar char="Ø"/>
            </a:pPr>
            <a:r>
              <a:rPr lang="en-US" sz="2400">
                <a:solidFill>
                  <a:schemeClr val="accent2"/>
                </a:solidFill>
              </a:rPr>
              <a:t>Current Data</a:t>
            </a:r>
          </a:p>
          <a:p>
            <a:pPr lvl="2">
              <a:buFont typeface="Wingdings" pitchFamily="2" charset="2"/>
              <a:buChar char="§"/>
            </a:pPr>
            <a:r>
              <a:rPr lang="en-US">
                <a:solidFill>
                  <a:schemeClr val="accent2"/>
                </a:solidFill>
              </a:rPr>
              <a:t>Existing Planograms</a:t>
            </a:r>
          </a:p>
          <a:p>
            <a:pPr lvl="2">
              <a:buFont typeface="Wingdings" pitchFamily="2" charset="2"/>
              <a:buChar char="§"/>
            </a:pPr>
            <a:r>
              <a:rPr lang="en-US">
                <a:solidFill>
                  <a:schemeClr val="accent2"/>
                </a:solidFill>
              </a:rPr>
              <a:t>Sales Performance Data</a:t>
            </a:r>
          </a:p>
          <a:p>
            <a:pPr lvl="2">
              <a:buFont typeface="Wingdings" pitchFamily="2" charset="2"/>
              <a:buChar char="§"/>
            </a:pPr>
            <a:r>
              <a:rPr lang="en-US">
                <a:solidFill>
                  <a:schemeClr val="accent2"/>
                </a:solidFill>
              </a:rPr>
              <a:t>Reports</a:t>
            </a:r>
          </a:p>
          <a:p>
            <a:pPr lvl="1">
              <a:buFont typeface="Wingdings" pitchFamily="2" charset="2"/>
              <a:buChar char="Ø"/>
            </a:pPr>
            <a:r>
              <a:rPr lang="en-US" sz="2400">
                <a:solidFill>
                  <a:schemeClr val="accent2"/>
                </a:solidFill>
              </a:rPr>
              <a:t>Technical Environment</a:t>
            </a:r>
          </a:p>
          <a:p>
            <a:pPr lvl="1"/>
            <a:endParaRPr lang="en-US" sz="2400"/>
          </a:p>
        </p:txBody>
      </p:sp>
    </p:spTree>
    <p:extLst>
      <p:ext uri="{BB962C8B-B14F-4D97-AF65-F5344CB8AC3E}">
        <p14:creationId xmlns:p14="http://schemas.microsoft.com/office/powerpoint/2010/main" val="30362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lanogram Analysis Best Practice</a:t>
            </a:r>
          </a:p>
        </p:txBody>
      </p:sp>
      <p:sp>
        <p:nvSpPr>
          <p:cNvPr id="9" name="Content Placeholder 8"/>
          <p:cNvSpPr>
            <a:spLocks noGrp="1"/>
          </p:cNvSpPr>
          <p:nvPr>
            <p:ph idx="1"/>
          </p:nvPr>
        </p:nvSpPr>
        <p:spPr>
          <a:xfrm>
            <a:off x="319595" y="1139903"/>
            <a:ext cx="11212497" cy="5622565"/>
          </a:xfrm>
        </p:spPr>
        <p:txBody>
          <a:bodyPr/>
          <a:lstStyle/>
          <a:p>
            <a:pPr lvl="1" indent="-228600">
              <a:lnSpc>
                <a:spcPct val="80000"/>
              </a:lnSpc>
              <a:buSzPct val="100000"/>
              <a:buFont typeface="Lucida Grande"/>
              <a:buChar char="&gt;"/>
            </a:pPr>
            <a:r>
              <a:rPr lang="en-CA" dirty="0"/>
              <a:t>Periodic, scheduled review of planograms and item performance within a planogram.</a:t>
            </a:r>
          </a:p>
          <a:p>
            <a:pPr lvl="2">
              <a:lnSpc>
                <a:spcPct val="90000"/>
              </a:lnSpc>
              <a:buFont typeface="Wingdings" pitchFamily="2" charset="2"/>
              <a:buChar char="§"/>
            </a:pPr>
            <a:r>
              <a:rPr lang="en-CA" sz="1400" dirty="0"/>
              <a:t>Preferred metrics would employ space to sales, Days of Supply (DOS) and GMROII in analyzing item performance and assortment.  </a:t>
            </a:r>
          </a:p>
          <a:p>
            <a:pPr lvl="2">
              <a:lnSpc>
                <a:spcPct val="90000"/>
              </a:lnSpc>
              <a:buFont typeface="Wingdings" pitchFamily="2" charset="2"/>
              <a:buChar char="§"/>
            </a:pPr>
            <a:r>
              <a:rPr lang="en-CA" sz="1400" dirty="0"/>
              <a:t>Incorporate market information, consumer preferences and vendor support in identifying correct assortment.</a:t>
            </a:r>
            <a:r>
              <a:rPr lang="en-CA" sz="1600" dirty="0"/>
              <a:t> </a:t>
            </a:r>
          </a:p>
          <a:p>
            <a:pPr lvl="1" indent="-228600">
              <a:lnSpc>
                <a:spcPct val="80000"/>
              </a:lnSpc>
              <a:buSzPct val="100000"/>
              <a:buFont typeface="Lucida Grande"/>
              <a:buChar char="&gt;"/>
            </a:pPr>
            <a:r>
              <a:rPr lang="en-CA" dirty="0"/>
              <a:t>Integration with category management process</a:t>
            </a:r>
          </a:p>
          <a:p>
            <a:pPr lvl="1" indent="-228600">
              <a:lnSpc>
                <a:spcPct val="80000"/>
              </a:lnSpc>
              <a:buSzPct val="100000"/>
              <a:buFont typeface="Lucida Grande"/>
              <a:buChar char="&gt;"/>
            </a:pPr>
            <a:endParaRPr lang="en-CA" dirty="0"/>
          </a:p>
          <a:p>
            <a:pPr lvl="1" indent="-228600">
              <a:lnSpc>
                <a:spcPct val="80000"/>
              </a:lnSpc>
              <a:buSzPct val="100000"/>
              <a:buFont typeface="Lucida Grande"/>
              <a:buChar char="&gt;"/>
            </a:pPr>
            <a:r>
              <a:rPr lang="en-CA" dirty="0"/>
              <a:t>Checklist procedures to ensure standards are met and quality is the same across all planograms</a:t>
            </a:r>
          </a:p>
          <a:p>
            <a:pPr lvl="1" indent="-228600">
              <a:lnSpc>
                <a:spcPct val="80000"/>
              </a:lnSpc>
              <a:buSzPct val="100000"/>
              <a:buFont typeface="Lucida Grande"/>
              <a:buChar char="&gt;"/>
            </a:pPr>
            <a:endParaRPr lang="en-US" dirty="0"/>
          </a:p>
          <a:p>
            <a:pPr lvl="1" indent="-228600">
              <a:lnSpc>
                <a:spcPct val="80000"/>
              </a:lnSpc>
              <a:buSzPct val="100000"/>
              <a:buFont typeface="Lucida Grande"/>
              <a:buChar char="&gt;"/>
            </a:pPr>
            <a:r>
              <a:rPr lang="en-CA" dirty="0"/>
              <a:t>Utilize sales performance and inventory requirements by product to assist in purchasing, space requirements and profitability of the category.  </a:t>
            </a:r>
          </a:p>
          <a:p>
            <a:pPr lvl="2">
              <a:lnSpc>
                <a:spcPct val="90000"/>
              </a:lnSpc>
            </a:pPr>
            <a:r>
              <a:rPr lang="en-CA" sz="1400" dirty="0"/>
              <a:t>Analyze holding power of product, sales, demand, growth potential, etc… to determine how much space is required for each product</a:t>
            </a:r>
          </a:p>
          <a:p>
            <a:pPr lvl="2">
              <a:lnSpc>
                <a:spcPct val="90000"/>
              </a:lnSpc>
            </a:pPr>
            <a:endParaRPr lang="en-CA" sz="1400" dirty="0"/>
          </a:p>
          <a:p>
            <a:pPr lvl="1" indent="-228600">
              <a:lnSpc>
                <a:spcPct val="80000"/>
              </a:lnSpc>
              <a:buSzPct val="100000"/>
              <a:buFont typeface="Lucida Grande"/>
              <a:buChar char="&gt;"/>
            </a:pPr>
            <a:r>
              <a:rPr lang="en-CA" dirty="0"/>
              <a:t>Product costing requirement is the net/net cost to ensure proper profitability analyses are done.</a:t>
            </a:r>
          </a:p>
          <a:p>
            <a:pPr marL="0" lvl="1" indent="0">
              <a:lnSpc>
                <a:spcPct val="80000"/>
              </a:lnSpc>
              <a:buSzPct val="100000"/>
              <a:buNone/>
            </a:pPr>
            <a:endParaRPr lang="en-CA" dirty="0"/>
          </a:p>
          <a:p>
            <a:pPr lvl="1" indent="-228600">
              <a:lnSpc>
                <a:spcPct val="80000"/>
              </a:lnSpc>
              <a:buSzPct val="100000"/>
              <a:buFont typeface="Lucida Grande"/>
              <a:buChar char="&gt;"/>
            </a:pPr>
            <a:r>
              <a:rPr lang="en-CA" dirty="0"/>
              <a:t>Requirement for planogram performance data is to ensure it is normalized properly (i.e., if an item has only scanned for 10 weeks during a 26 week period, the divisor is 10 and not 26</a:t>
            </a:r>
            <a:endParaRPr lang="en-US" dirty="0"/>
          </a:p>
          <a:p>
            <a:pPr lvl="1" indent="-228600">
              <a:lnSpc>
                <a:spcPct val="80000"/>
              </a:lnSpc>
              <a:buSzPct val="100000"/>
              <a:buFont typeface="Lucida Grande"/>
              <a:buChar char="&gt;"/>
            </a:pPr>
            <a:endParaRPr lang="en-CA" dirty="0"/>
          </a:p>
          <a:p>
            <a:pPr lvl="1">
              <a:lnSpc>
                <a:spcPct val="90000"/>
              </a:lnSpc>
            </a:pPr>
            <a:endParaRPr lang="en-CA" dirty="0"/>
          </a:p>
          <a:p>
            <a:pPr marL="0" lvl="1" indent="0">
              <a:lnSpc>
                <a:spcPct val="80000"/>
              </a:lnSpc>
              <a:buSzPct val="100000"/>
              <a:buNone/>
            </a:pPr>
            <a:endParaRPr lang="en-US" dirty="0"/>
          </a:p>
          <a:p>
            <a:endParaRPr lang="en-US" dirty="0"/>
          </a:p>
        </p:txBody>
      </p:sp>
    </p:spTree>
    <p:extLst>
      <p:ext uri="{BB962C8B-B14F-4D97-AF65-F5344CB8AC3E}">
        <p14:creationId xmlns:p14="http://schemas.microsoft.com/office/powerpoint/2010/main" val="307712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4CB1C-06B4-4370-8CD2-8F0D1C8FC553}"/>
              </a:ext>
            </a:extLst>
          </p:cNvPr>
          <p:cNvSpPr>
            <a:spLocks noGrp="1"/>
          </p:cNvSpPr>
          <p:nvPr>
            <p:ph type="title"/>
          </p:nvPr>
        </p:nvSpPr>
        <p:spPr/>
        <p:txBody>
          <a:bodyPr/>
          <a:lstStyle/>
          <a:p>
            <a:r>
              <a:rPr lang="en-US" dirty="0"/>
              <a:t>Financial Data</a:t>
            </a:r>
          </a:p>
        </p:txBody>
      </p:sp>
      <p:sp>
        <p:nvSpPr>
          <p:cNvPr id="3" name="Content Placeholder 2">
            <a:extLst>
              <a:ext uri="{FF2B5EF4-FFF2-40B4-BE49-F238E27FC236}">
                <a16:creationId xmlns:a16="http://schemas.microsoft.com/office/drawing/2014/main" id="{8B58913E-BD50-4E46-8746-F0CE9FBFCAB5}"/>
              </a:ext>
            </a:extLst>
          </p:cNvPr>
          <p:cNvSpPr>
            <a:spLocks noGrp="1"/>
          </p:cNvSpPr>
          <p:nvPr>
            <p:ph idx="1"/>
          </p:nvPr>
        </p:nvSpPr>
        <p:spPr>
          <a:xfrm>
            <a:off x="470517" y="1278385"/>
            <a:ext cx="9740283" cy="5029408"/>
          </a:xfrm>
        </p:spPr>
        <p:txBody>
          <a:bodyPr/>
          <a:lstStyle/>
          <a:p>
            <a:r>
              <a:rPr lang="en-US" dirty="0"/>
              <a:t>Unit movement</a:t>
            </a:r>
          </a:p>
          <a:p>
            <a:pPr lvl="1"/>
            <a:r>
              <a:rPr lang="en-US" dirty="0"/>
              <a:t> reducing out of stocks and excess idle inventory  by balancing the facings and Days of supply</a:t>
            </a:r>
          </a:p>
          <a:p>
            <a:pPr lvl="1"/>
            <a:r>
              <a:rPr lang="en-US" dirty="0"/>
              <a:t>Increases sales and profits and happier customers by the reduction of out of stocks</a:t>
            </a:r>
          </a:p>
          <a:p>
            <a:pPr lvl="1"/>
            <a:r>
              <a:rPr lang="en-US" dirty="0"/>
              <a:t>Helps with positioning of items to stimulate more impulse and multiple purchases</a:t>
            </a:r>
          </a:p>
          <a:p>
            <a:pPr lvl="1"/>
            <a:r>
              <a:rPr lang="en-US" dirty="0"/>
              <a:t>Saves labor in store, restocking more efficient</a:t>
            </a:r>
          </a:p>
          <a:p>
            <a:r>
              <a:rPr lang="en-US" dirty="0"/>
              <a:t>Movement per store per week is the most accurate measure</a:t>
            </a:r>
          </a:p>
          <a:p>
            <a:r>
              <a:rPr lang="en-US" dirty="0"/>
              <a:t>Price and Cost</a:t>
            </a:r>
          </a:p>
          <a:p>
            <a:pPr lvl="1"/>
            <a:r>
              <a:rPr lang="en-US" dirty="0"/>
              <a:t>In conjunction with Unit movement,  calculation for Sales, Profit,  inventory cost, Return on Inventory investment , sales per foot, and other KPIs can be used to make the best decisions.</a:t>
            </a:r>
          </a:p>
          <a:p>
            <a:pPr lvl="1"/>
            <a:r>
              <a:rPr lang="en-US" dirty="0"/>
              <a:t>Current Pricing and cost </a:t>
            </a:r>
          </a:p>
          <a:p>
            <a:pPr marL="287338" lvl="1" indent="0">
              <a:buNone/>
            </a:pPr>
            <a:r>
              <a:rPr lang="en-US" dirty="0"/>
              <a:t> </a:t>
            </a:r>
          </a:p>
        </p:txBody>
      </p:sp>
    </p:spTree>
    <p:extLst>
      <p:ext uri="{BB962C8B-B14F-4D97-AF65-F5344CB8AC3E}">
        <p14:creationId xmlns:p14="http://schemas.microsoft.com/office/powerpoint/2010/main" val="263021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A4CFE7-0C80-4D3A-93FE-CD9F263F9ABA}"/>
              </a:ext>
            </a:extLst>
          </p:cNvPr>
          <p:cNvPicPr>
            <a:picLocks noChangeAspect="1"/>
          </p:cNvPicPr>
          <p:nvPr/>
        </p:nvPicPr>
        <p:blipFill>
          <a:blip r:embed="rId2"/>
          <a:stretch>
            <a:fillRect/>
          </a:stretch>
        </p:blipFill>
        <p:spPr>
          <a:xfrm>
            <a:off x="6021934" y="4446096"/>
            <a:ext cx="3029873" cy="2398007"/>
          </a:xfrm>
          <a:prstGeom prst="rect">
            <a:avLst/>
          </a:prstGeom>
          <a:ln>
            <a:noFill/>
          </a:ln>
          <a:effectLst>
            <a:outerShdw blurRad="292100" dist="139700" dir="2700000" algn="tl" rotWithShape="0">
              <a:srgbClr val="333333">
                <a:alpha val="65000"/>
              </a:srgbClr>
            </a:outerShdw>
          </a:effectLst>
        </p:spPr>
      </p:pic>
      <p:sp>
        <p:nvSpPr>
          <p:cNvPr id="7" name="Title 6"/>
          <p:cNvSpPr>
            <a:spLocks noGrp="1"/>
          </p:cNvSpPr>
          <p:nvPr>
            <p:ph type="title"/>
          </p:nvPr>
        </p:nvSpPr>
        <p:spPr/>
        <p:txBody>
          <a:bodyPr/>
          <a:lstStyle/>
          <a:p>
            <a:r>
              <a:rPr lang="en-US" dirty="0"/>
              <a:t>Highlighting Best Practice</a:t>
            </a:r>
          </a:p>
        </p:txBody>
      </p:sp>
      <p:sp>
        <p:nvSpPr>
          <p:cNvPr id="9" name="Content Placeholder 8"/>
          <p:cNvSpPr>
            <a:spLocks noGrp="1"/>
          </p:cNvSpPr>
          <p:nvPr>
            <p:ph idx="1"/>
          </p:nvPr>
        </p:nvSpPr>
        <p:spPr>
          <a:xfrm>
            <a:off x="594515" y="1340324"/>
            <a:ext cx="10902068" cy="4804444"/>
          </a:xfrm>
        </p:spPr>
        <p:txBody>
          <a:bodyPr/>
          <a:lstStyle/>
          <a:p>
            <a:pPr lvl="1" indent="-228600">
              <a:lnSpc>
                <a:spcPct val="80000"/>
              </a:lnSpc>
              <a:buSzPct val="100000"/>
              <a:buFont typeface="Lucida Grande"/>
              <a:buChar char="&gt;"/>
            </a:pPr>
            <a:r>
              <a:rPr lang="en-CA" dirty="0"/>
              <a:t>Since users tend to be predominantly visual, highlighting within planograms is one of the single biggest labor saving functions available.  </a:t>
            </a:r>
          </a:p>
          <a:p>
            <a:pPr lvl="1">
              <a:buFont typeface="Arial" pitchFamily="34" charset="0"/>
              <a:buChar char="•"/>
            </a:pPr>
            <a:endParaRPr lang="en-CA" dirty="0"/>
          </a:p>
          <a:p>
            <a:pPr lvl="1" indent="-228600">
              <a:lnSpc>
                <a:spcPct val="80000"/>
              </a:lnSpc>
              <a:buSzPct val="100000"/>
              <a:buFont typeface="Lucida Grande"/>
              <a:buChar char="&gt;"/>
            </a:pPr>
            <a:r>
              <a:rPr lang="en-CA" dirty="0"/>
              <a:t>Use layout files printed with Highlight feature in Space Planning to identify various business information / opportunities / issues for a specific planogram, including:</a:t>
            </a:r>
          </a:p>
          <a:p>
            <a:pPr lvl="2">
              <a:buFont typeface="Wingdings" pitchFamily="2" charset="2"/>
              <a:buChar char="§"/>
            </a:pPr>
            <a:r>
              <a:rPr lang="en-CA" dirty="0"/>
              <a:t>Discontinued products</a:t>
            </a:r>
          </a:p>
          <a:p>
            <a:pPr lvl="2">
              <a:buFont typeface="Wingdings" pitchFamily="2" charset="2"/>
              <a:buChar char="§"/>
            </a:pPr>
            <a:r>
              <a:rPr lang="en-CA" dirty="0"/>
              <a:t>Profitability analysis</a:t>
            </a:r>
          </a:p>
          <a:p>
            <a:pPr lvl="2">
              <a:buFont typeface="Wingdings" pitchFamily="2" charset="2"/>
              <a:buChar char="§"/>
            </a:pPr>
            <a:r>
              <a:rPr lang="en-CA" dirty="0"/>
              <a:t>Movement</a:t>
            </a:r>
          </a:p>
          <a:p>
            <a:pPr lvl="2">
              <a:buFont typeface="Wingdings" pitchFamily="2" charset="2"/>
              <a:buChar char="§"/>
            </a:pPr>
            <a:r>
              <a:rPr lang="en-CA" dirty="0"/>
              <a:t>Space to Sales/Profit/Movement (based on category goals)</a:t>
            </a:r>
          </a:p>
          <a:p>
            <a:pPr lvl="2">
              <a:buFont typeface="Wingdings" pitchFamily="2" charset="2"/>
              <a:buChar char="§"/>
            </a:pPr>
            <a:r>
              <a:rPr lang="en-CA" dirty="0"/>
              <a:t>Combined performance index</a:t>
            </a:r>
            <a:endParaRPr lang="en-US" dirty="0"/>
          </a:p>
          <a:p>
            <a:pPr marL="0" lvl="1" indent="0">
              <a:lnSpc>
                <a:spcPct val="80000"/>
              </a:lnSpc>
              <a:buSzPct val="100000"/>
              <a:buNone/>
            </a:pPr>
            <a:endParaRPr lang="en-US" dirty="0"/>
          </a:p>
          <a:p>
            <a:pPr lvl="1" indent="-228600">
              <a:lnSpc>
                <a:spcPct val="80000"/>
              </a:lnSpc>
              <a:buSzPct val="100000"/>
              <a:buFont typeface="Lucida Grande"/>
              <a:buChar char="&gt;"/>
            </a:pPr>
            <a:endParaRPr lang="en-US" dirty="0"/>
          </a:p>
          <a:p>
            <a:pPr marL="0" lvl="1" indent="0">
              <a:lnSpc>
                <a:spcPct val="80000"/>
              </a:lnSpc>
              <a:buSzPct val="100000"/>
              <a:buNone/>
            </a:pPr>
            <a:endParaRPr lang="en-US" dirty="0"/>
          </a:p>
          <a:p>
            <a:endParaRPr lang="en-US" dirty="0"/>
          </a:p>
        </p:txBody>
      </p:sp>
      <p:pic>
        <p:nvPicPr>
          <p:cNvPr id="4" name="Picture 3">
            <a:extLst>
              <a:ext uri="{FF2B5EF4-FFF2-40B4-BE49-F238E27FC236}">
                <a16:creationId xmlns:a16="http://schemas.microsoft.com/office/drawing/2014/main" id="{A99F10FF-41E8-426A-840E-751701B49996}"/>
              </a:ext>
            </a:extLst>
          </p:cNvPr>
          <p:cNvPicPr>
            <a:picLocks noChangeAspect="1"/>
          </p:cNvPicPr>
          <p:nvPr/>
        </p:nvPicPr>
        <p:blipFill>
          <a:blip r:embed="rId3"/>
          <a:stretch>
            <a:fillRect/>
          </a:stretch>
        </p:blipFill>
        <p:spPr>
          <a:xfrm>
            <a:off x="9069710" y="2731298"/>
            <a:ext cx="2909692" cy="2294612"/>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03FAF142-6EC3-4C65-A324-35CBA7625484}"/>
              </a:ext>
            </a:extLst>
          </p:cNvPr>
          <p:cNvPicPr>
            <a:picLocks noChangeAspect="1"/>
          </p:cNvPicPr>
          <p:nvPr/>
        </p:nvPicPr>
        <p:blipFill rotWithShape="1">
          <a:blip r:embed="rId4"/>
          <a:srcRect r="23643" b="9770"/>
          <a:stretch/>
        </p:blipFill>
        <p:spPr>
          <a:xfrm>
            <a:off x="8215230" y="2904445"/>
            <a:ext cx="942080" cy="90831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6E6617E6-C702-4464-8935-18D0F2052F43}"/>
              </a:ext>
            </a:extLst>
          </p:cNvPr>
          <p:cNvPicPr>
            <a:picLocks noChangeAspect="1"/>
          </p:cNvPicPr>
          <p:nvPr/>
        </p:nvPicPr>
        <p:blipFill rotWithShape="1">
          <a:blip r:embed="rId5"/>
          <a:srcRect r="31694"/>
          <a:stretch/>
        </p:blipFill>
        <p:spPr>
          <a:xfrm>
            <a:off x="9051807" y="5712763"/>
            <a:ext cx="965637" cy="11188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0235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Next Steps</a:t>
            </a:r>
            <a:br>
              <a:rPr lang="en-US" dirty="0"/>
            </a:br>
            <a:endParaRPr lang="en-US" dirty="0"/>
          </a:p>
        </p:txBody>
      </p:sp>
      <p:sp>
        <p:nvSpPr>
          <p:cNvPr id="9" name="Content Placeholder 8"/>
          <p:cNvSpPr>
            <a:spLocks noGrp="1"/>
          </p:cNvSpPr>
          <p:nvPr>
            <p:ph idx="1"/>
          </p:nvPr>
        </p:nvSpPr>
        <p:spPr>
          <a:xfrm>
            <a:off x="1981201" y="1738924"/>
            <a:ext cx="5378465" cy="4568869"/>
          </a:xfrm>
        </p:spPr>
        <p:txBody>
          <a:bodyPr/>
          <a:lstStyle/>
          <a:p>
            <a:pPr>
              <a:lnSpc>
                <a:spcPct val="150000"/>
              </a:lnSpc>
            </a:pPr>
            <a:r>
              <a:rPr lang="en-US" dirty="0"/>
              <a:t>Product Specific Presentations</a:t>
            </a:r>
          </a:p>
          <a:p>
            <a:pPr>
              <a:lnSpc>
                <a:spcPct val="150000"/>
              </a:lnSpc>
            </a:pPr>
            <a:r>
              <a:rPr lang="en-US" dirty="0"/>
              <a:t>Design Documentation</a:t>
            </a:r>
          </a:p>
          <a:p>
            <a:pPr>
              <a:lnSpc>
                <a:spcPct val="150000"/>
              </a:lnSpc>
            </a:pPr>
            <a:r>
              <a:rPr lang="en-US" dirty="0"/>
              <a:t>JEM Implementation Phases</a:t>
            </a:r>
          </a:p>
          <a:p>
            <a:pPr>
              <a:lnSpc>
                <a:spcPct val="150000"/>
              </a:lnSpc>
            </a:pPr>
            <a:r>
              <a:rPr lang="en-US" dirty="0"/>
              <a:t>Beyond Design</a:t>
            </a:r>
          </a:p>
        </p:txBody>
      </p:sp>
      <p:grpSp>
        <p:nvGrpSpPr>
          <p:cNvPr id="5" name="Group 4"/>
          <p:cNvGrpSpPr>
            <a:grpSpLocks noChangeAspect="1"/>
          </p:cNvGrpSpPr>
          <p:nvPr/>
        </p:nvGrpSpPr>
        <p:grpSpPr>
          <a:xfrm>
            <a:off x="7359665" y="1875791"/>
            <a:ext cx="2125664" cy="2080276"/>
            <a:chOff x="8385176" y="4341813"/>
            <a:chExt cx="446088" cy="436563"/>
          </a:xfrm>
          <a:solidFill>
            <a:srgbClr val="8F1A95"/>
          </a:solidFill>
        </p:grpSpPr>
        <p:sp>
          <p:nvSpPr>
            <p:cNvPr id="8" name="Freeform 604"/>
            <p:cNvSpPr>
              <a:spLocks/>
            </p:cNvSpPr>
            <p:nvPr/>
          </p:nvSpPr>
          <p:spPr bwMode="auto">
            <a:xfrm>
              <a:off x="8437563" y="4394200"/>
              <a:ext cx="127000" cy="38100"/>
            </a:xfrm>
            <a:custGeom>
              <a:avLst/>
              <a:gdLst>
                <a:gd name="T0" fmla="*/ 80 w 80"/>
                <a:gd name="T1" fmla="*/ 24 h 24"/>
                <a:gd name="T2" fmla="*/ 80 w 80"/>
                <a:gd name="T3" fmla="*/ 10 h 24"/>
                <a:gd name="T4" fmla="*/ 80 w 80"/>
                <a:gd name="T5" fmla="*/ 10 h 24"/>
                <a:gd name="T6" fmla="*/ 68 w 80"/>
                <a:gd name="T7" fmla="*/ 4 h 24"/>
                <a:gd name="T8" fmla="*/ 57 w 80"/>
                <a:gd name="T9" fmla="*/ 2 h 24"/>
                <a:gd name="T10" fmla="*/ 45 w 80"/>
                <a:gd name="T11" fmla="*/ 0 h 24"/>
                <a:gd name="T12" fmla="*/ 35 w 80"/>
                <a:gd name="T13" fmla="*/ 0 h 24"/>
                <a:gd name="T14" fmla="*/ 14 w 80"/>
                <a:gd name="T15" fmla="*/ 4 h 24"/>
                <a:gd name="T16" fmla="*/ 0 w 80"/>
                <a:gd name="T17" fmla="*/ 8 h 24"/>
                <a:gd name="T18" fmla="*/ 0 w 80"/>
                <a:gd name="T19" fmla="*/ 24 h 24"/>
                <a:gd name="T20" fmla="*/ 0 w 80"/>
                <a:gd name="T21" fmla="*/ 24 h 24"/>
                <a:gd name="T22" fmla="*/ 12 w 80"/>
                <a:gd name="T23" fmla="*/ 20 h 24"/>
                <a:gd name="T24" fmla="*/ 31 w 80"/>
                <a:gd name="T25" fmla="*/ 14 h 24"/>
                <a:gd name="T26" fmla="*/ 43 w 80"/>
                <a:gd name="T27" fmla="*/ 14 h 24"/>
                <a:gd name="T28" fmla="*/ 55 w 80"/>
                <a:gd name="T29" fmla="*/ 16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10"/>
                  </a:ln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6"/>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0" name="Freeform 605"/>
            <p:cNvSpPr>
              <a:spLocks/>
            </p:cNvSpPr>
            <p:nvPr/>
          </p:nvSpPr>
          <p:spPr bwMode="auto">
            <a:xfrm>
              <a:off x="8437563" y="4462463"/>
              <a:ext cx="127000" cy="38100"/>
            </a:xfrm>
            <a:custGeom>
              <a:avLst/>
              <a:gdLst>
                <a:gd name="T0" fmla="*/ 80 w 80"/>
                <a:gd name="T1" fmla="*/ 24 h 24"/>
                <a:gd name="T2" fmla="*/ 80 w 80"/>
                <a:gd name="T3" fmla="*/ 8 h 24"/>
                <a:gd name="T4" fmla="*/ 80 w 80"/>
                <a:gd name="T5" fmla="*/ 8 h 24"/>
                <a:gd name="T6" fmla="*/ 68 w 80"/>
                <a:gd name="T7" fmla="*/ 4 h 24"/>
                <a:gd name="T8" fmla="*/ 57 w 80"/>
                <a:gd name="T9" fmla="*/ 0 h 24"/>
                <a:gd name="T10" fmla="*/ 45 w 80"/>
                <a:gd name="T11" fmla="*/ 0 h 24"/>
                <a:gd name="T12" fmla="*/ 35 w 80"/>
                <a:gd name="T13" fmla="*/ 0 h 24"/>
                <a:gd name="T14" fmla="*/ 14 w 80"/>
                <a:gd name="T15" fmla="*/ 4 h 24"/>
                <a:gd name="T16" fmla="*/ 0 w 80"/>
                <a:gd name="T17" fmla="*/ 8 h 24"/>
                <a:gd name="T18" fmla="*/ 0 w 80"/>
                <a:gd name="T19" fmla="*/ 22 h 24"/>
                <a:gd name="T20" fmla="*/ 0 w 80"/>
                <a:gd name="T21" fmla="*/ 22 h 24"/>
                <a:gd name="T22" fmla="*/ 12 w 80"/>
                <a:gd name="T23" fmla="*/ 18 h 24"/>
                <a:gd name="T24" fmla="*/ 31 w 80"/>
                <a:gd name="T25" fmla="*/ 14 h 24"/>
                <a:gd name="T26" fmla="*/ 43 w 80"/>
                <a:gd name="T27" fmla="*/ 14 h 24"/>
                <a:gd name="T28" fmla="*/ 55 w 80"/>
                <a:gd name="T29" fmla="*/ 14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8" y="4"/>
                  </a:lnTo>
                  <a:lnTo>
                    <a:pt x="57" y="0"/>
                  </a:lnTo>
                  <a:lnTo>
                    <a:pt x="45" y="0"/>
                  </a:lnTo>
                  <a:lnTo>
                    <a:pt x="35" y="0"/>
                  </a:lnTo>
                  <a:lnTo>
                    <a:pt x="14" y="4"/>
                  </a:lnTo>
                  <a:lnTo>
                    <a:pt x="0" y="8"/>
                  </a:lnTo>
                  <a:lnTo>
                    <a:pt x="0" y="22"/>
                  </a:lnTo>
                  <a:lnTo>
                    <a:pt x="0" y="22"/>
                  </a:lnTo>
                  <a:lnTo>
                    <a:pt x="12" y="18"/>
                  </a:lnTo>
                  <a:lnTo>
                    <a:pt x="31" y="14"/>
                  </a:lnTo>
                  <a:lnTo>
                    <a:pt x="43" y="14"/>
                  </a:lnTo>
                  <a:lnTo>
                    <a:pt x="55" y="14"/>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Freeform 606"/>
            <p:cNvSpPr>
              <a:spLocks/>
            </p:cNvSpPr>
            <p:nvPr/>
          </p:nvSpPr>
          <p:spPr bwMode="auto">
            <a:xfrm>
              <a:off x="8437563" y="4527550"/>
              <a:ext cx="127000" cy="41275"/>
            </a:xfrm>
            <a:custGeom>
              <a:avLst/>
              <a:gdLst>
                <a:gd name="T0" fmla="*/ 80 w 80"/>
                <a:gd name="T1" fmla="*/ 26 h 26"/>
                <a:gd name="T2" fmla="*/ 80 w 80"/>
                <a:gd name="T3" fmla="*/ 10 h 26"/>
                <a:gd name="T4" fmla="*/ 80 w 80"/>
                <a:gd name="T5" fmla="*/ 10 h 26"/>
                <a:gd name="T6" fmla="*/ 68 w 80"/>
                <a:gd name="T7" fmla="*/ 4 h 26"/>
                <a:gd name="T8" fmla="*/ 57 w 80"/>
                <a:gd name="T9" fmla="*/ 2 h 26"/>
                <a:gd name="T10" fmla="*/ 45 w 80"/>
                <a:gd name="T11" fmla="*/ 0 h 26"/>
                <a:gd name="T12" fmla="*/ 35 w 80"/>
                <a:gd name="T13" fmla="*/ 2 h 26"/>
                <a:gd name="T14" fmla="*/ 14 w 80"/>
                <a:gd name="T15" fmla="*/ 4 h 26"/>
                <a:gd name="T16" fmla="*/ 0 w 80"/>
                <a:gd name="T17" fmla="*/ 10 h 26"/>
                <a:gd name="T18" fmla="*/ 0 w 80"/>
                <a:gd name="T19" fmla="*/ 24 h 26"/>
                <a:gd name="T20" fmla="*/ 0 w 80"/>
                <a:gd name="T21" fmla="*/ 24 h 26"/>
                <a:gd name="T22" fmla="*/ 12 w 80"/>
                <a:gd name="T23" fmla="*/ 20 h 26"/>
                <a:gd name="T24" fmla="*/ 31 w 80"/>
                <a:gd name="T25" fmla="*/ 16 h 26"/>
                <a:gd name="T26" fmla="*/ 43 w 80"/>
                <a:gd name="T27" fmla="*/ 14 h 26"/>
                <a:gd name="T28" fmla="*/ 55 w 80"/>
                <a:gd name="T29" fmla="*/ 16 h 26"/>
                <a:gd name="T30" fmla="*/ 68 w 80"/>
                <a:gd name="T31" fmla="*/ 20 h 26"/>
                <a:gd name="T32" fmla="*/ 80 w 80"/>
                <a:gd name="T33" fmla="*/ 26 h 26"/>
                <a:gd name="T34" fmla="*/ 80 w 80"/>
                <a:gd name="T3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6"/>
                  </a:moveTo>
                  <a:lnTo>
                    <a:pt x="80" y="10"/>
                  </a:lnTo>
                  <a:lnTo>
                    <a:pt x="80" y="10"/>
                  </a:lnTo>
                  <a:lnTo>
                    <a:pt x="68" y="4"/>
                  </a:lnTo>
                  <a:lnTo>
                    <a:pt x="57" y="2"/>
                  </a:lnTo>
                  <a:lnTo>
                    <a:pt x="45" y="0"/>
                  </a:lnTo>
                  <a:lnTo>
                    <a:pt x="35" y="2"/>
                  </a:lnTo>
                  <a:lnTo>
                    <a:pt x="14" y="4"/>
                  </a:lnTo>
                  <a:lnTo>
                    <a:pt x="0" y="10"/>
                  </a:lnTo>
                  <a:lnTo>
                    <a:pt x="0" y="24"/>
                  </a:lnTo>
                  <a:lnTo>
                    <a:pt x="0" y="24"/>
                  </a:lnTo>
                  <a:lnTo>
                    <a:pt x="12" y="20"/>
                  </a:lnTo>
                  <a:lnTo>
                    <a:pt x="31" y="16"/>
                  </a:lnTo>
                  <a:lnTo>
                    <a:pt x="43" y="14"/>
                  </a:lnTo>
                  <a:lnTo>
                    <a:pt x="55" y="16"/>
                  </a:lnTo>
                  <a:lnTo>
                    <a:pt x="68" y="20"/>
                  </a:lnTo>
                  <a:lnTo>
                    <a:pt x="80" y="26"/>
                  </a:lnTo>
                  <a:lnTo>
                    <a:pt x="8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607"/>
            <p:cNvSpPr>
              <a:spLocks/>
            </p:cNvSpPr>
            <p:nvPr/>
          </p:nvSpPr>
          <p:spPr bwMode="auto">
            <a:xfrm>
              <a:off x="8437563" y="4595813"/>
              <a:ext cx="127000" cy="38100"/>
            </a:xfrm>
            <a:custGeom>
              <a:avLst/>
              <a:gdLst>
                <a:gd name="T0" fmla="*/ 80 w 80"/>
                <a:gd name="T1" fmla="*/ 10 h 24"/>
                <a:gd name="T2" fmla="*/ 80 w 80"/>
                <a:gd name="T3" fmla="*/ 10 h 24"/>
                <a:gd name="T4" fmla="*/ 68 w 80"/>
                <a:gd name="T5" fmla="*/ 4 h 24"/>
                <a:gd name="T6" fmla="*/ 57 w 80"/>
                <a:gd name="T7" fmla="*/ 2 h 24"/>
                <a:gd name="T8" fmla="*/ 45 w 80"/>
                <a:gd name="T9" fmla="*/ 0 h 24"/>
                <a:gd name="T10" fmla="*/ 35 w 80"/>
                <a:gd name="T11" fmla="*/ 0 h 24"/>
                <a:gd name="T12" fmla="*/ 14 w 80"/>
                <a:gd name="T13" fmla="*/ 4 h 24"/>
                <a:gd name="T14" fmla="*/ 0 w 80"/>
                <a:gd name="T15" fmla="*/ 8 h 24"/>
                <a:gd name="T16" fmla="*/ 0 w 80"/>
                <a:gd name="T17" fmla="*/ 24 h 24"/>
                <a:gd name="T18" fmla="*/ 0 w 80"/>
                <a:gd name="T19" fmla="*/ 24 h 24"/>
                <a:gd name="T20" fmla="*/ 12 w 80"/>
                <a:gd name="T21" fmla="*/ 20 h 24"/>
                <a:gd name="T22" fmla="*/ 31 w 80"/>
                <a:gd name="T23" fmla="*/ 14 h 24"/>
                <a:gd name="T24" fmla="*/ 43 w 80"/>
                <a:gd name="T25" fmla="*/ 14 h 24"/>
                <a:gd name="T26" fmla="*/ 55 w 80"/>
                <a:gd name="T27" fmla="*/ 14 h 24"/>
                <a:gd name="T28" fmla="*/ 68 w 80"/>
                <a:gd name="T29" fmla="*/ 18 h 24"/>
                <a:gd name="T30" fmla="*/ 80 w 80"/>
                <a:gd name="T31" fmla="*/ 24 h 24"/>
                <a:gd name="T32" fmla="*/ 80 w 80"/>
                <a:gd name="T3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4">
                  <a:moveTo>
                    <a:pt x="80" y="10"/>
                  </a:move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4"/>
                  </a:lnTo>
                  <a:lnTo>
                    <a:pt x="68" y="18"/>
                  </a:lnTo>
                  <a:lnTo>
                    <a:pt x="80" y="24"/>
                  </a:lnTo>
                  <a:lnTo>
                    <a:pt x="8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608"/>
            <p:cNvSpPr>
              <a:spLocks/>
            </p:cNvSpPr>
            <p:nvPr/>
          </p:nvSpPr>
          <p:spPr bwMode="auto">
            <a:xfrm>
              <a:off x="8648701" y="4394200"/>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6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6"/>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609"/>
            <p:cNvSpPr>
              <a:spLocks/>
            </p:cNvSpPr>
            <p:nvPr/>
          </p:nvSpPr>
          <p:spPr bwMode="auto">
            <a:xfrm>
              <a:off x="8648701" y="4462463"/>
              <a:ext cx="127000" cy="38100"/>
            </a:xfrm>
            <a:custGeom>
              <a:avLst/>
              <a:gdLst>
                <a:gd name="T0" fmla="*/ 80 w 80"/>
                <a:gd name="T1" fmla="*/ 22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0 h 24"/>
                <a:gd name="T14" fmla="*/ 11 w 80"/>
                <a:gd name="T15" fmla="*/ 4 h 24"/>
                <a:gd name="T16" fmla="*/ 0 w 80"/>
                <a:gd name="T17" fmla="*/ 8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18 h 24"/>
                <a:gd name="T32" fmla="*/ 80 w 80"/>
                <a:gd name="T33" fmla="*/ 22 h 24"/>
                <a:gd name="T34" fmla="*/ 80 w 80"/>
                <a:gd name="T3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2"/>
                  </a:moveTo>
                  <a:lnTo>
                    <a:pt x="80" y="8"/>
                  </a:lnTo>
                  <a:lnTo>
                    <a:pt x="80" y="8"/>
                  </a:lnTo>
                  <a:lnTo>
                    <a:pt x="66" y="4"/>
                  </a:lnTo>
                  <a:lnTo>
                    <a:pt x="47" y="0"/>
                  </a:lnTo>
                  <a:lnTo>
                    <a:pt x="35" y="0"/>
                  </a:lnTo>
                  <a:lnTo>
                    <a:pt x="23" y="0"/>
                  </a:lnTo>
                  <a:lnTo>
                    <a:pt x="11" y="4"/>
                  </a:lnTo>
                  <a:lnTo>
                    <a:pt x="0" y="8"/>
                  </a:lnTo>
                  <a:lnTo>
                    <a:pt x="0" y="24"/>
                  </a:lnTo>
                  <a:lnTo>
                    <a:pt x="0" y="24"/>
                  </a:lnTo>
                  <a:lnTo>
                    <a:pt x="13" y="18"/>
                  </a:lnTo>
                  <a:lnTo>
                    <a:pt x="25" y="14"/>
                  </a:lnTo>
                  <a:lnTo>
                    <a:pt x="39" y="14"/>
                  </a:lnTo>
                  <a:lnTo>
                    <a:pt x="50" y="14"/>
                  </a:lnTo>
                  <a:lnTo>
                    <a:pt x="70" y="18"/>
                  </a:lnTo>
                  <a:lnTo>
                    <a:pt x="80" y="22"/>
                  </a:lnTo>
                  <a:lnTo>
                    <a:pt x="8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610"/>
            <p:cNvSpPr>
              <a:spLocks/>
            </p:cNvSpPr>
            <p:nvPr/>
          </p:nvSpPr>
          <p:spPr bwMode="auto">
            <a:xfrm>
              <a:off x="8648701" y="4527550"/>
              <a:ext cx="127000" cy="41275"/>
            </a:xfrm>
            <a:custGeom>
              <a:avLst/>
              <a:gdLst>
                <a:gd name="T0" fmla="*/ 80 w 80"/>
                <a:gd name="T1" fmla="*/ 24 h 26"/>
                <a:gd name="T2" fmla="*/ 80 w 80"/>
                <a:gd name="T3" fmla="*/ 10 h 26"/>
                <a:gd name="T4" fmla="*/ 80 w 80"/>
                <a:gd name="T5" fmla="*/ 10 h 26"/>
                <a:gd name="T6" fmla="*/ 66 w 80"/>
                <a:gd name="T7" fmla="*/ 4 h 26"/>
                <a:gd name="T8" fmla="*/ 47 w 80"/>
                <a:gd name="T9" fmla="*/ 2 h 26"/>
                <a:gd name="T10" fmla="*/ 35 w 80"/>
                <a:gd name="T11" fmla="*/ 0 h 26"/>
                <a:gd name="T12" fmla="*/ 23 w 80"/>
                <a:gd name="T13" fmla="*/ 2 h 26"/>
                <a:gd name="T14" fmla="*/ 11 w 80"/>
                <a:gd name="T15" fmla="*/ 4 h 26"/>
                <a:gd name="T16" fmla="*/ 0 w 80"/>
                <a:gd name="T17" fmla="*/ 10 h 26"/>
                <a:gd name="T18" fmla="*/ 0 w 80"/>
                <a:gd name="T19" fmla="*/ 26 h 26"/>
                <a:gd name="T20" fmla="*/ 0 w 80"/>
                <a:gd name="T21" fmla="*/ 26 h 26"/>
                <a:gd name="T22" fmla="*/ 13 w 80"/>
                <a:gd name="T23" fmla="*/ 20 h 26"/>
                <a:gd name="T24" fmla="*/ 25 w 80"/>
                <a:gd name="T25" fmla="*/ 16 h 26"/>
                <a:gd name="T26" fmla="*/ 39 w 80"/>
                <a:gd name="T27" fmla="*/ 14 h 26"/>
                <a:gd name="T28" fmla="*/ 50 w 80"/>
                <a:gd name="T29" fmla="*/ 16 h 26"/>
                <a:gd name="T30" fmla="*/ 70 w 80"/>
                <a:gd name="T31" fmla="*/ 20 h 26"/>
                <a:gd name="T32" fmla="*/ 80 w 80"/>
                <a:gd name="T33" fmla="*/ 24 h 26"/>
                <a:gd name="T34" fmla="*/ 80 w 80"/>
                <a:gd name="T3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4"/>
                  </a:moveTo>
                  <a:lnTo>
                    <a:pt x="80" y="10"/>
                  </a:lnTo>
                  <a:lnTo>
                    <a:pt x="80" y="10"/>
                  </a:lnTo>
                  <a:lnTo>
                    <a:pt x="66" y="4"/>
                  </a:lnTo>
                  <a:lnTo>
                    <a:pt x="47" y="2"/>
                  </a:lnTo>
                  <a:lnTo>
                    <a:pt x="35" y="0"/>
                  </a:lnTo>
                  <a:lnTo>
                    <a:pt x="23" y="2"/>
                  </a:lnTo>
                  <a:lnTo>
                    <a:pt x="11" y="4"/>
                  </a:lnTo>
                  <a:lnTo>
                    <a:pt x="0" y="10"/>
                  </a:lnTo>
                  <a:lnTo>
                    <a:pt x="0" y="26"/>
                  </a:lnTo>
                  <a:lnTo>
                    <a:pt x="0" y="26"/>
                  </a:lnTo>
                  <a:lnTo>
                    <a:pt x="13" y="20"/>
                  </a:lnTo>
                  <a:lnTo>
                    <a:pt x="25" y="16"/>
                  </a:lnTo>
                  <a:lnTo>
                    <a:pt x="39" y="14"/>
                  </a:lnTo>
                  <a:lnTo>
                    <a:pt x="50" y="16"/>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6" name="Freeform 611"/>
            <p:cNvSpPr>
              <a:spLocks/>
            </p:cNvSpPr>
            <p:nvPr/>
          </p:nvSpPr>
          <p:spPr bwMode="auto">
            <a:xfrm>
              <a:off x="8648701" y="4595813"/>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4"/>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12"/>
            <p:cNvSpPr>
              <a:spLocks/>
            </p:cNvSpPr>
            <p:nvPr/>
          </p:nvSpPr>
          <p:spPr bwMode="auto">
            <a:xfrm>
              <a:off x="8385176" y="4757738"/>
              <a:ext cx="446088" cy="20638"/>
            </a:xfrm>
            <a:custGeom>
              <a:avLst/>
              <a:gdLst>
                <a:gd name="T0" fmla="*/ 0 w 281"/>
                <a:gd name="T1" fmla="*/ 0 h 13"/>
                <a:gd name="T2" fmla="*/ 0 w 281"/>
                <a:gd name="T3" fmla="*/ 0 h 13"/>
                <a:gd name="T4" fmla="*/ 14 w 281"/>
                <a:gd name="T5" fmla="*/ 13 h 13"/>
                <a:gd name="T6" fmla="*/ 265 w 281"/>
                <a:gd name="T7" fmla="*/ 13 h 13"/>
                <a:gd name="T8" fmla="*/ 281 w 281"/>
                <a:gd name="T9" fmla="*/ 0 h 13"/>
                <a:gd name="T10" fmla="*/ 0 w 281"/>
                <a:gd name="T11" fmla="*/ 0 h 13"/>
              </a:gdLst>
              <a:ahLst/>
              <a:cxnLst>
                <a:cxn ang="0">
                  <a:pos x="T0" y="T1"/>
                </a:cxn>
                <a:cxn ang="0">
                  <a:pos x="T2" y="T3"/>
                </a:cxn>
                <a:cxn ang="0">
                  <a:pos x="T4" y="T5"/>
                </a:cxn>
                <a:cxn ang="0">
                  <a:pos x="T6" y="T7"/>
                </a:cxn>
                <a:cxn ang="0">
                  <a:pos x="T8" y="T9"/>
                </a:cxn>
                <a:cxn ang="0">
                  <a:pos x="T10" y="T11"/>
                </a:cxn>
              </a:cxnLst>
              <a:rect l="0" t="0" r="r" b="b"/>
              <a:pathLst>
                <a:path w="281" h="13">
                  <a:moveTo>
                    <a:pt x="0" y="0"/>
                  </a:moveTo>
                  <a:lnTo>
                    <a:pt x="0" y="0"/>
                  </a:lnTo>
                  <a:lnTo>
                    <a:pt x="14" y="13"/>
                  </a:lnTo>
                  <a:lnTo>
                    <a:pt x="265" y="13"/>
                  </a:lnTo>
                  <a:lnTo>
                    <a:pt x="28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13"/>
            <p:cNvSpPr>
              <a:spLocks noEditPoints="1"/>
            </p:cNvSpPr>
            <p:nvPr/>
          </p:nvSpPr>
          <p:spPr bwMode="auto">
            <a:xfrm>
              <a:off x="8385176" y="4341813"/>
              <a:ext cx="442913" cy="393700"/>
            </a:xfrm>
            <a:custGeom>
              <a:avLst/>
              <a:gdLst>
                <a:gd name="T0" fmla="*/ 12 w 279"/>
                <a:gd name="T1" fmla="*/ 242 h 248"/>
                <a:gd name="T2" fmla="*/ 31 w 279"/>
                <a:gd name="T3" fmla="*/ 232 h 248"/>
                <a:gd name="T4" fmla="*/ 62 w 279"/>
                <a:gd name="T5" fmla="*/ 225 h 248"/>
                <a:gd name="T6" fmla="*/ 76 w 279"/>
                <a:gd name="T7" fmla="*/ 225 h 248"/>
                <a:gd name="T8" fmla="*/ 105 w 279"/>
                <a:gd name="T9" fmla="*/ 229 h 248"/>
                <a:gd name="T10" fmla="*/ 133 w 279"/>
                <a:gd name="T11" fmla="*/ 240 h 248"/>
                <a:gd name="T12" fmla="*/ 136 w 279"/>
                <a:gd name="T13" fmla="*/ 242 h 248"/>
                <a:gd name="T14" fmla="*/ 144 w 279"/>
                <a:gd name="T15" fmla="*/ 242 h 248"/>
                <a:gd name="T16" fmla="*/ 148 w 279"/>
                <a:gd name="T17" fmla="*/ 240 h 248"/>
                <a:gd name="T18" fmla="*/ 150 w 279"/>
                <a:gd name="T19" fmla="*/ 238 h 248"/>
                <a:gd name="T20" fmla="*/ 152 w 279"/>
                <a:gd name="T21" fmla="*/ 236 h 248"/>
                <a:gd name="T22" fmla="*/ 156 w 279"/>
                <a:gd name="T23" fmla="*/ 234 h 248"/>
                <a:gd name="T24" fmla="*/ 160 w 279"/>
                <a:gd name="T25" fmla="*/ 234 h 248"/>
                <a:gd name="T26" fmla="*/ 162 w 279"/>
                <a:gd name="T27" fmla="*/ 232 h 248"/>
                <a:gd name="T28" fmla="*/ 166 w 279"/>
                <a:gd name="T29" fmla="*/ 230 h 248"/>
                <a:gd name="T30" fmla="*/ 168 w 279"/>
                <a:gd name="T31" fmla="*/ 230 h 248"/>
                <a:gd name="T32" fmla="*/ 185 w 279"/>
                <a:gd name="T33" fmla="*/ 227 h 248"/>
                <a:gd name="T34" fmla="*/ 205 w 279"/>
                <a:gd name="T35" fmla="*/ 225 h 248"/>
                <a:gd name="T36" fmla="*/ 246 w 279"/>
                <a:gd name="T37" fmla="*/ 232 h 248"/>
                <a:gd name="T38" fmla="*/ 267 w 279"/>
                <a:gd name="T39" fmla="*/ 240 h 248"/>
                <a:gd name="T40" fmla="*/ 267 w 279"/>
                <a:gd name="T41" fmla="*/ 240 h 248"/>
                <a:gd name="T42" fmla="*/ 269 w 279"/>
                <a:gd name="T43" fmla="*/ 240 h 248"/>
                <a:gd name="T44" fmla="*/ 269 w 279"/>
                <a:gd name="T45" fmla="*/ 242 h 248"/>
                <a:gd name="T46" fmla="*/ 279 w 279"/>
                <a:gd name="T47" fmla="*/ 248 h 248"/>
                <a:gd name="T48" fmla="*/ 275 w 279"/>
                <a:gd name="T49" fmla="*/ 16 h 248"/>
                <a:gd name="T50" fmla="*/ 257 w 279"/>
                <a:gd name="T51" fmla="*/ 10 h 248"/>
                <a:gd name="T52" fmla="*/ 222 w 279"/>
                <a:gd name="T53" fmla="*/ 2 h 248"/>
                <a:gd name="T54" fmla="*/ 207 w 279"/>
                <a:gd name="T55" fmla="*/ 0 h 248"/>
                <a:gd name="T56" fmla="*/ 164 w 279"/>
                <a:gd name="T57" fmla="*/ 8 h 248"/>
                <a:gd name="T58" fmla="*/ 140 w 279"/>
                <a:gd name="T59" fmla="*/ 20 h 248"/>
                <a:gd name="T60" fmla="*/ 131 w 279"/>
                <a:gd name="T61" fmla="*/ 14 h 248"/>
                <a:gd name="T62" fmla="*/ 97 w 279"/>
                <a:gd name="T63" fmla="*/ 2 h 248"/>
                <a:gd name="T64" fmla="*/ 74 w 279"/>
                <a:gd name="T65" fmla="*/ 0 h 248"/>
                <a:gd name="T66" fmla="*/ 41 w 279"/>
                <a:gd name="T67" fmla="*/ 4 h 248"/>
                <a:gd name="T68" fmla="*/ 6 w 279"/>
                <a:gd name="T69" fmla="*/ 16 h 248"/>
                <a:gd name="T70" fmla="*/ 0 w 279"/>
                <a:gd name="T71" fmla="*/ 248 h 248"/>
                <a:gd name="T72" fmla="*/ 148 w 279"/>
                <a:gd name="T73" fmla="*/ 225 h 248"/>
                <a:gd name="T74" fmla="*/ 148 w 279"/>
                <a:gd name="T75" fmla="*/ 33 h 248"/>
                <a:gd name="T76" fmla="*/ 168 w 279"/>
                <a:gd name="T77" fmla="*/ 22 h 248"/>
                <a:gd name="T78" fmla="*/ 207 w 279"/>
                <a:gd name="T79" fmla="*/ 14 h 248"/>
                <a:gd name="T80" fmla="*/ 220 w 279"/>
                <a:gd name="T81" fmla="*/ 16 h 248"/>
                <a:gd name="T82" fmla="*/ 250 w 279"/>
                <a:gd name="T83" fmla="*/ 22 h 248"/>
                <a:gd name="T84" fmla="*/ 265 w 279"/>
                <a:gd name="T85" fmla="*/ 223 h 248"/>
                <a:gd name="T86" fmla="*/ 265 w 279"/>
                <a:gd name="T87" fmla="*/ 223 h 248"/>
                <a:gd name="T88" fmla="*/ 240 w 279"/>
                <a:gd name="T89" fmla="*/ 215 h 248"/>
                <a:gd name="T90" fmla="*/ 205 w 279"/>
                <a:gd name="T91" fmla="*/ 211 h 248"/>
                <a:gd name="T92" fmla="*/ 181 w 279"/>
                <a:gd name="T93" fmla="*/ 213 h 248"/>
                <a:gd name="T94" fmla="*/ 160 w 279"/>
                <a:gd name="T95" fmla="*/ 219 h 248"/>
                <a:gd name="T96" fmla="*/ 160 w 279"/>
                <a:gd name="T97" fmla="*/ 219 h 248"/>
                <a:gd name="T98" fmla="*/ 154 w 279"/>
                <a:gd name="T99" fmla="*/ 221 h 248"/>
                <a:gd name="T100" fmla="*/ 154 w 279"/>
                <a:gd name="T101" fmla="*/ 221 h 248"/>
                <a:gd name="T102" fmla="*/ 148 w 279"/>
                <a:gd name="T103" fmla="*/ 225 h 248"/>
                <a:gd name="T104" fmla="*/ 15 w 279"/>
                <a:gd name="T105" fmla="*/ 28 h 248"/>
                <a:gd name="T106" fmla="*/ 45 w 279"/>
                <a:gd name="T107" fmla="*/ 18 h 248"/>
                <a:gd name="T108" fmla="*/ 74 w 279"/>
                <a:gd name="T109" fmla="*/ 14 h 248"/>
                <a:gd name="T110" fmla="*/ 95 w 279"/>
                <a:gd name="T111" fmla="*/ 16 h 248"/>
                <a:gd name="T112" fmla="*/ 125 w 279"/>
                <a:gd name="T113" fmla="*/ 28 h 248"/>
                <a:gd name="T114" fmla="*/ 133 w 279"/>
                <a:gd name="T115" fmla="*/ 225 h 248"/>
                <a:gd name="T116" fmla="*/ 119 w 279"/>
                <a:gd name="T117" fmla="*/ 219 h 248"/>
                <a:gd name="T118" fmla="*/ 92 w 279"/>
                <a:gd name="T119" fmla="*/ 211 h 248"/>
                <a:gd name="T120" fmla="*/ 76 w 279"/>
                <a:gd name="T121" fmla="*/ 211 h 248"/>
                <a:gd name="T122" fmla="*/ 41 w 279"/>
                <a:gd name="T123" fmla="*/ 215 h 248"/>
                <a:gd name="T124" fmla="*/ 15 w 279"/>
                <a:gd name="T125"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248">
                  <a:moveTo>
                    <a:pt x="12" y="242"/>
                  </a:moveTo>
                  <a:lnTo>
                    <a:pt x="12" y="242"/>
                  </a:lnTo>
                  <a:lnTo>
                    <a:pt x="17" y="238"/>
                  </a:lnTo>
                  <a:lnTo>
                    <a:pt x="31" y="232"/>
                  </a:lnTo>
                  <a:lnTo>
                    <a:pt x="51" y="227"/>
                  </a:lnTo>
                  <a:lnTo>
                    <a:pt x="62" y="225"/>
                  </a:lnTo>
                  <a:lnTo>
                    <a:pt x="76" y="225"/>
                  </a:lnTo>
                  <a:lnTo>
                    <a:pt x="76" y="225"/>
                  </a:lnTo>
                  <a:lnTo>
                    <a:pt x="92" y="225"/>
                  </a:lnTo>
                  <a:lnTo>
                    <a:pt x="105" y="229"/>
                  </a:lnTo>
                  <a:lnTo>
                    <a:pt x="119" y="232"/>
                  </a:lnTo>
                  <a:lnTo>
                    <a:pt x="133" y="240"/>
                  </a:lnTo>
                  <a:lnTo>
                    <a:pt x="133" y="240"/>
                  </a:lnTo>
                  <a:lnTo>
                    <a:pt x="136" y="242"/>
                  </a:lnTo>
                  <a:lnTo>
                    <a:pt x="140" y="244"/>
                  </a:lnTo>
                  <a:lnTo>
                    <a:pt x="144" y="242"/>
                  </a:lnTo>
                  <a:lnTo>
                    <a:pt x="144" y="242"/>
                  </a:lnTo>
                  <a:lnTo>
                    <a:pt x="148" y="240"/>
                  </a:lnTo>
                  <a:lnTo>
                    <a:pt x="148" y="240"/>
                  </a:lnTo>
                  <a:lnTo>
                    <a:pt x="150" y="238"/>
                  </a:lnTo>
                  <a:lnTo>
                    <a:pt x="150" y="238"/>
                  </a:lnTo>
                  <a:lnTo>
                    <a:pt x="152" y="236"/>
                  </a:lnTo>
                  <a:lnTo>
                    <a:pt x="152" y="236"/>
                  </a:lnTo>
                  <a:lnTo>
                    <a:pt x="156" y="234"/>
                  </a:lnTo>
                  <a:lnTo>
                    <a:pt x="156" y="234"/>
                  </a:lnTo>
                  <a:lnTo>
                    <a:pt x="160" y="234"/>
                  </a:lnTo>
                  <a:lnTo>
                    <a:pt x="160" y="234"/>
                  </a:lnTo>
                  <a:lnTo>
                    <a:pt x="162" y="232"/>
                  </a:lnTo>
                  <a:lnTo>
                    <a:pt x="162" y="232"/>
                  </a:lnTo>
                  <a:lnTo>
                    <a:pt x="166" y="230"/>
                  </a:lnTo>
                  <a:lnTo>
                    <a:pt x="166" y="230"/>
                  </a:lnTo>
                  <a:lnTo>
                    <a:pt x="168" y="230"/>
                  </a:lnTo>
                  <a:lnTo>
                    <a:pt x="168" y="230"/>
                  </a:lnTo>
                  <a:lnTo>
                    <a:pt x="185" y="227"/>
                  </a:lnTo>
                  <a:lnTo>
                    <a:pt x="205" y="225"/>
                  </a:lnTo>
                  <a:lnTo>
                    <a:pt x="205" y="225"/>
                  </a:lnTo>
                  <a:lnTo>
                    <a:pt x="226" y="227"/>
                  </a:lnTo>
                  <a:lnTo>
                    <a:pt x="246" y="232"/>
                  </a:lnTo>
                  <a:lnTo>
                    <a:pt x="259" y="236"/>
                  </a:lnTo>
                  <a:lnTo>
                    <a:pt x="267" y="240"/>
                  </a:lnTo>
                  <a:lnTo>
                    <a:pt x="267" y="240"/>
                  </a:lnTo>
                  <a:lnTo>
                    <a:pt x="267" y="240"/>
                  </a:lnTo>
                  <a:lnTo>
                    <a:pt x="267" y="240"/>
                  </a:lnTo>
                  <a:lnTo>
                    <a:pt x="269" y="240"/>
                  </a:lnTo>
                  <a:lnTo>
                    <a:pt x="269" y="240"/>
                  </a:lnTo>
                  <a:lnTo>
                    <a:pt x="269" y="242"/>
                  </a:lnTo>
                  <a:lnTo>
                    <a:pt x="269" y="242"/>
                  </a:lnTo>
                  <a:lnTo>
                    <a:pt x="279" y="248"/>
                  </a:lnTo>
                  <a:lnTo>
                    <a:pt x="279" y="18"/>
                  </a:lnTo>
                  <a:lnTo>
                    <a:pt x="275" y="16"/>
                  </a:lnTo>
                  <a:lnTo>
                    <a:pt x="275" y="16"/>
                  </a:lnTo>
                  <a:lnTo>
                    <a:pt x="257" y="10"/>
                  </a:lnTo>
                  <a:lnTo>
                    <a:pt x="240" y="4"/>
                  </a:lnTo>
                  <a:lnTo>
                    <a:pt x="222" y="2"/>
                  </a:lnTo>
                  <a:lnTo>
                    <a:pt x="207" y="0"/>
                  </a:lnTo>
                  <a:lnTo>
                    <a:pt x="207" y="0"/>
                  </a:lnTo>
                  <a:lnTo>
                    <a:pt x="183" y="2"/>
                  </a:lnTo>
                  <a:lnTo>
                    <a:pt x="164" y="8"/>
                  </a:lnTo>
                  <a:lnTo>
                    <a:pt x="150" y="14"/>
                  </a:lnTo>
                  <a:lnTo>
                    <a:pt x="140" y="20"/>
                  </a:lnTo>
                  <a:lnTo>
                    <a:pt x="140" y="20"/>
                  </a:lnTo>
                  <a:lnTo>
                    <a:pt x="131" y="14"/>
                  </a:lnTo>
                  <a:lnTo>
                    <a:pt x="117" y="8"/>
                  </a:lnTo>
                  <a:lnTo>
                    <a:pt x="97" y="2"/>
                  </a:lnTo>
                  <a:lnTo>
                    <a:pt x="74" y="0"/>
                  </a:lnTo>
                  <a:lnTo>
                    <a:pt x="74" y="0"/>
                  </a:lnTo>
                  <a:lnTo>
                    <a:pt x="58" y="2"/>
                  </a:lnTo>
                  <a:lnTo>
                    <a:pt x="41" y="4"/>
                  </a:lnTo>
                  <a:lnTo>
                    <a:pt x="23" y="10"/>
                  </a:lnTo>
                  <a:lnTo>
                    <a:pt x="6" y="16"/>
                  </a:lnTo>
                  <a:lnTo>
                    <a:pt x="0" y="18"/>
                  </a:lnTo>
                  <a:lnTo>
                    <a:pt x="0" y="248"/>
                  </a:lnTo>
                  <a:lnTo>
                    <a:pt x="12" y="242"/>
                  </a:lnTo>
                  <a:close/>
                  <a:moveTo>
                    <a:pt x="148" y="225"/>
                  </a:moveTo>
                  <a:lnTo>
                    <a:pt x="148" y="33"/>
                  </a:lnTo>
                  <a:lnTo>
                    <a:pt x="148" y="33"/>
                  </a:lnTo>
                  <a:lnTo>
                    <a:pt x="154" y="28"/>
                  </a:lnTo>
                  <a:lnTo>
                    <a:pt x="168" y="22"/>
                  </a:lnTo>
                  <a:lnTo>
                    <a:pt x="183" y="16"/>
                  </a:lnTo>
                  <a:lnTo>
                    <a:pt x="207" y="14"/>
                  </a:lnTo>
                  <a:lnTo>
                    <a:pt x="207" y="14"/>
                  </a:lnTo>
                  <a:lnTo>
                    <a:pt x="220" y="16"/>
                  </a:lnTo>
                  <a:lnTo>
                    <a:pt x="234" y="18"/>
                  </a:lnTo>
                  <a:lnTo>
                    <a:pt x="250" y="22"/>
                  </a:lnTo>
                  <a:lnTo>
                    <a:pt x="265" y="28"/>
                  </a:lnTo>
                  <a:lnTo>
                    <a:pt x="265" y="223"/>
                  </a:lnTo>
                  <a:lnTo>
                    <a:pt x="265" y="223"/>
                  </a:lnTo>
                  <a:lnTo>
                    <a:pt x="265" y="223"/>
                  </a:lnTo>
                  <a:lnTo>
                    <a:pt x="254" y="219"/>
                  </a:lnTo>
                  <a:lnTo>
                    <a:pt x="240" y="215"/>
                  </a:lnTo>
                  <a:lnTo>
                    <a:pt x="222" y="211"/>
                  </a:lnTo>
                  <a:lnTo>
                    <a:pt x="205" y="211"/>
                  </a:lnTo>
                  <a:lnTo>
                    <a:pt x="205" y="211"/>
                  </a:lnTo>
                  <a:lnTo>
                    <a:pt x="181" y="213"/>
                  </a:lnTo>
                  <a:lnTo>
                    <a:pt x="160" y="219"/>
                  </a:lnTo>
                  <a:lnTo>
                    <a:pt x="160" y="219"/>
                  </a:lnTo>
                  <a:lnTo>
                    <a:pt x="160" y="219"/>
                  </a:lnTo>
                  <a:lnTo>
                    <a:pt x="160" y="219"/>
                  </a:lnTo>
                  <a:lnTo>
                    <a:pt x="154" y="221"/>
                  </a:lnTo>
                  <a:lnTo>
                    <a:pt x="154" y="221"/>
                  </a:lnTo>
                  <a:lnTo>
                    <a:pt x="154" y="221"/>
                  </a:lnTo>
                  <a:lnTo>
                    <a:pt x="154" y="221"/>
                  </a:lnTo>
                  <a:lnTo>
                    <a:pt x="148" y="225"/>
                  </a:lnTo>
                  <a:lnTo>
                    <a:pt x="148" y="225"/>
                  </a:lnTo>
                  <a:close/>
                  <a:moveTo>
                    <a:pt x="15" y="28"/>
                  </a:moveTo>
                  <a:lnTo>
                    <a:pt x="15" y="28"/>
                  </a:lnTo>
                  <a:lnTo>
                    <a:pt x="31" y="22"/>
                  </a:lnTo>
                  <a:lnTo>
                    <a:pt x="45" y="18"/>
                  </a:lnTo>
                  <a:lnTo>
                    <a:pt x="60" y="16"/>
                  </a:lnTo>
                  <a:lnTo>
                    <a:pt x="74" y="14"/>
                  </a:lnTo>
                  <a:lnTo>
                    <a:pt x="74" y="14"/>
                  </a:lnTo>
                  <a:lnTo>
                    <a:pt x="95" y="16"/>
                  </a:lnTo>
                  <a:lnTo>
                    <a:pt x="113" y="22"/>
                  </a:lnTo>
                  <a:lnTo>
                    <a:pt x="125" y="28"/>
                  </a:lnTo>
                  <a:lnTo>
                    <a:pt x="133" y="33"/>
                  </a:lnTo>
                  <a:lnTo>
                    <a:pt x="133" y="225"/>
                  </a:lnTo>
                  <a:lnTo>
                    <a:pt x="133" y="225"/>
                  </a:lnTo>
                  <a:lnTo>
                    <a:pt x="119" y="219"/>
                  </a:lnTo>
                  <a:lnTo>
                    <a:pt x="105" y="213"/>
                  </a:lnTo>
                  <a:lnTo>
                    <a:pt x="92" y="211"/>
                  </a:lnTo>
                  <a:lnTo>
                    <a:pt x="76" y="211"/>
                  </a:lnTo>
                  <a:lnTo>
                    <a:pt x="76" y="211"/>
                  </a:lnTo>
                  <a:lnTo>
                    <a:pt x="56" y="211"/>
                  </a:lnTo>
                  <a:lnTo>
                    <a:pt x="41" y="215"/>
                  </a:lnTo>
                  <a:lnTo>
                    <a:pt x="25" y="219"/>
                  </a:lnTo>
                  <a:lnTo>
                    <a:pt x="15" y="223"/>
                  </a:lnTo>
                  <a:lnTo>
                    <a:pt x="1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340606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roduct Specific Presentations</a:t>
            </a:r>
          </a:p>
        </p:txBody>
      </p:sp>
      <p:sp>
        <p:nvSpPr>
          <p:cNvPr id="9" name="Content Placeholder 8"/>
          <p:cNvSpPr>
            <a:spLocks noGrp="1"/>
          </p:cNvSpPr>
          <p:nvPr>
            <p:ph idx="1"/>
          </p:nvPr>
        </p:nvSpPr>
        <p:spPr/>
        <p:txBody>
          <a:bodyPr/>
          <a:lstStyle/>
          <a:p>
            <a:pPr>
              <a:lnSpc>
                <a:spcPct val="150000"/>
              </a:lnSpc>
            </a:pPr>
            <a:r>
              <a:rPr lang="en-US" dirty="0"/>
              <a:t>BY Channel Clustering</a:t>
            </a:r>
          </a:p>
          <a:p>
            <a:pPr>
              <a:lnSpc>
                <a:spcPct val="150000"/>
              </a:lnSpc>
            </a:pPr>
            <a:r>
              <a:rPr lang="en-US" dirty="0"/>
              <a:t>BY Assortment Optimization</a:t>
            </a:r>
          </a:p>
          <a:p>
            <a:pPr>
              <a:lnSpc>
                <a:spcPct val="150000"/>
              </a:lnSpc>
            </a:pPr>
            <a:r>
              <a:rPr lang="en-US" dirty="0"/>
              <a:t>BY Space Planning</a:t>
            </a:r>
          </a:p>
          <a:p>
            <a:pPr>
              <a:lnSpc>
                <a:spcPct val="150000"/>
              </a:lnSpc>
            </a:pPr>
            <a:r>
              <a:rPr lang="en-US" dirty="0"/>
              <a:t>BY Floor Planning</a:t>
            </a:r>
          </a:p>
          <a:p>
            <a:pPr>
              <a:lnSpc>
                <a:spcPct val="150000"/>
              </a:lnSpc>
            </a:pPr>
            <a:r>
              <a:rPr lang="en-US" dirty="0"/>
              <a:t>BY Space Automation Professional</a:t>
            </a:r>
          </a:p>
          <a:p>
            <a:pPr>
              <a:lnSpc>
                <a:spcPct val="150000"/>
              </a:lnSpc>
            </a:pPr>
            <a:r>
              <a:rPr lang="en-US" dirty="0"/>
              <a:t>BY Category Knowledge Base</a:t>
            </a:r>
          </a:p>
          <a:p>
            <a:pPr>
              <a:lnSpc>
                <a:spcPct val="150000"/>
              </a:lnSpc>
            </a:pPr>
            <a:r>
              <a:rPr lang="en-US" dirty="0"/>
              <a:t>BY Open Access</a:t>
            </a:r>
          </a:p>
          <a:p>
            <a:pPr>
              <a:lnSpc>
                <a:spcPct val="150000"/>
              </a:lnSpc>
            </a:pPr>
            <a:endParaRPr lang="en-US" dirty="0"/>
          </a:p>
        </p:txBody>
      </p:sp>
      <p:sp>
        <p:nvSpPr>
          <p:cNvPr id="5" name="Rectangle 4"/>
          <p:cNvSpPr/>
          <p:nvPr/>
        </p:nvSpPr>
        <p:spPr>
          <a:xfrm rot="2700000">
            <a:off x="7430155" y="2537477"/>
            <a:ext cx="1783042" cy="178304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6"/>
          <p:cNvSpPr>
            <a:spLocks noEditPoints="1"/>
          </p:cNvSpPr>
          <p:nvPr/>
        </p:nvSpPr>
        <p:spPr bwMode="auto">
          <a:xfrm>
            <a:off x="7676143" y="2805377"/>
            <a:ext cx="1291066" cy="1149966"/>
          </a:xfrm>
          <a:custGeom>
            <a:avLst/>
            <a:gdLst>
              <a:gd name="T0" fmla="*/ 284 w 366"/>
              <a:gd name="T1" fmla="*/ 0 h 326"/>
              <a:gd name="T2" fmla="*/ 144 w 366"/>
              <a:gd name="T3" fmla="*/ 6 h 326"/>
              <a:gd name="T4" fmla="*/ 122 w 366"/>
              <a:gd name="T5" fmla="*/ 60 h 326"/>
              <a:gd name="T6" fmla="*/ 122 w 366"/>
              <a:gd name="T7" fmla="*/ 32 h 326"/>
              <a:gd name="T8" fmla="*/ 100 w 366"/>
              <a:gd name="T9" fmla="*/ 10 h 326"/>
              <a:gd name="T10" fmla="*/ 76 w 366"/>
              <a:gd name="T11" fmla="*/ 8 h 326"/>
              <a:gd name="T12" fmla="*/ 50 w 366"/>
              <a:gd name="T13" fmla="*/ 24 h 326"/>
              <a:gd name="T14" fmla="*/ 42 w 366"/>
              <a:gd name="T15" fmla="*/ 48 h 326"/>
              <a:gd name="T16" fmla="*/ 18 w 366"/>
              <a:gd name="T17" fmla="*/ 88 h 326"/>
              <a:gd name="T18" fmla="*/ 264 w 366"/>
              <a:gd name="T19" fmla="*/ 70 h 326"/>
              <a:gd name="T20" fmla="*/ 208 w 366"/>
              <a:gd name="T21" fmla="*/ 70 h 326"/>
              <a:gd name="T22" fmla="*/ 62 w 366"/>
              <a:gd name="T23" fmla="*/ 48 h 326"/>
              <a:gd name="T24" fmla="*/ 84 w 366"/>
              <a:gd name="T25" fmla="*/ 24 h 326"/>
              <a:gd name="T26" fmla="*/ 104 w 366"/>
              <a:gd name="T27" fmla="*/ 38 h 326"/>
              <a:gd name="T28" fmla="*/ 100 w 366"/>
              <a:gd name="T29" fmla="*/ 64 h 326"/>
              <a:gd name="T30" fmla="*/ 74 w 366"/>
              <a:gd name="T31" fmla="*/ 68 h 326"/>
              <a:gd name="T32" fmla="*/ 62 w 366"/>
              <a:gd name="T33" fmla="*/ 48 h 326"/>
              <a:gd name="T34" fmla="*/ 226 w 366"/>
              <a:gd name="T35" fmla="*/ 244 h 326"/>
              <a:gd name="T36" fmla="*/ 118 w 366"/>
              <a:gd name="T37" fmla="*/ 308 h 326"/>
              <a:gd name="T38" fmla="*/ 124 w 366"/>
              <a:gd name="T39" fmla="*/ 276 h 326"/>
              <a:gd name="T40" fmla="*/ 106 w 366"/>
              <a:gd name="T41" fmla="*/ 252 h 326"/>
              <a:gd name="T42" fmla="*/ 84 w 366"/>
              <a:gd name="T43" fmla="*/ 244 h 326"/>
              <a:gd name="T44" fmla="*/ 54 w 366"/>
              <a:gd name="T45" fmla="*/ 256 h 326"/>
              <a:gd name="T46" fmla="*/ 42 w 366"/>
              <a:gd name="T47" fmla="*/ 286 h 326"/>
              <a:gd name="T48" fmla="*/ 18 w 366"/>
              <a:gd name="T49" fmla="*/ 308 h 326"/>
              <a:gd name="T50" fmla="*/ 324 w 366"/>
              <a:gd name="T51" fmla="*/ 308 h 326"/>
              <a:gd name="T52" fmla="*/ 264 w 366"/>
              <a:gd name="T53" fmla="*/ 308 h 326"/>
              <a:gd name="T54" fmla="*/ 208 w 366"/>
              <a:gd name="T55" fmla="*/ 308 h 326"/>
              <a:gd name="T56" fmla="*/ 84 w 366"/>
              <a:gd name="T57" fmla="*/ 262 h 326"/>
              <a:gd name="T58" fmla="*/ 106 w 366"/>
              <a:gd name="T59" fmla="*/ 286 h 326"/>
              <a:gd name="T60" fmla="*/ 92 w 366"/>
              <a:gd name="T61" fmla="*/ 306 h 326"/>
              <a:gd name="T62" fmla="*/ 68 w 366"/>
              <a:gd name="T63" fmla="*/ 302 h 326"/>
              <a:gd name="T64" fmla="*/ 62 w 366"/>
              <a:gd name="T65" fmla="*/ 276 h 326"/>
              <a:gd name="T66" fmla="*/ 84 w 366"/>
              <a:gd name="T67" fmla="*/ 262 h 326"/>
              <a:gd name="T68" fmla="*/ 226 w 366"/>
              <a:gd name="T69" fmla="*/ 190 h 326"/>
              <a:gd name="T70" fmla="*/ 118 w 366"/>
              <a:gd name="T71" fmla="*/ 190 h 326"/>
              <a:gd name="T72" fmla="*/ 124 w 366"/>
              <a:gd name="T73" fmla="*/ 166 h 326"/>
              <a:gd name="T74" fmla="*/ 112 w 366"/>
              <a:gd name="T75" fmla="*/ 138 h 326"/>
              <a:gd name="T76" fmla="*/ 84 w 366"/>
              <a:gd name="T77" fmla="*/ 126 h 326"/>
              <a:gd name="T78" fmla="*/ 60 w 366"/>
              <a:gd name="T79" fmla="*/ 132 h 326"/>
              <a:gd name="T80" fmla="*/ 44 w 366"/>
              <a:gd name="T81" fmla="*/ 158 h 326"/>
              <a:gd name="T82" fmla="*/ 50 w 366"/>
              <a:gd name="T83" fmla="*/ 190 h 326"/>
              <a:gd name="T84" fmla="*/ 348 w 366"/>
              <a:gd name="T85" fmla="*/ 208 h 326"/>
              <a:gd name="T86" fmla="*/ 284 w 366"/>
              <a:gd name="T87" fmla="*/ 154 h 326"/>
              <a:gd name="T88" fmla="*/ 164 w 366"/>
              <a:gd name="T89" fmla="*/ 144 h 326"/>
              <a:gd name="T90" fmla="*/ 164 w 366"/>
              <a:gd name="T91" fmla="*/ 144 h 326"/>
              <a:gd name="T92" fmla="*/ 100 w 366"/>
              <a:gd name="T93" fmla="*/ 150 h 326"/>
              <a:gd name="T94" fmla="*/ 104 w 366"/>
              <a:gd name="T95" fmla="*/ 176 h 326"/>
              <a:gd name="T96" fmla="*/ 84 w 366"/>
              <a:gd name="T97" fmla="*/ 190 h 326"/>
              <a:gd name="T98" fmla="*/ 62 w 366"/>
              <a:gd name="T99" fmla="*/ 166 h 326"/>
              <a:gd name="T100" fmla="*/ 74 w 366"/>
              <a:gd name="T101" fmla="*/ 14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6" h="326">
                <a:moveTo>
                  <a:pt x="348" y="88"/>
                </a:moveTo>
                <a:lnTo>
                  <a:pt x="348" y="70"/>
                </a:lnTo>
                <a:lnTo>
                  <a:pt x="324" y="70"/>
                </a:lnTo>
                <a:lnTo>
                  <a:pt x="284" y="0"/>
                </a:lnTo>
                <a:lnTo>
                  <a:pt x="242" y="70"/>
                </a:lnTo>
                <a:lnTo>
                  <a:pt x="226" y="70"/>
                </a:lnTo>
                <a:lnTo>
                  <a:pt x="226" y="6"/>
                </a:lnTo>
                <a:lnTo>
                  <a:pt x="144" y="6"/>
                </a:lnTo>
                <a:lnTo>
                  <a:pt x="144" y="70"/>
                </a:lnTo>
                <a:lnTo>
                  <a:pt x="118" y="70"/>
                </a:lnTo>
                <a:lnTo>
                  <a:pt x="118" y="70"/>
                </a:lnTo>
                <a:lnTo>
                  <a:pt x="122" y="60"/>
                </a:lnTo>
                <a:lnTo>
                  <a:pt x="124" y="48"/>
                </a:lnTo>
                <a:lnTo>
                  <a:pt x="124" y="48"/>
                </a:lnTo>
                <a:lnTo>
                  <a:pt x="124" y="40"/>
                </a:lnTo>
                <a:lnTo>
                  <a:pt x="122" y="32"/>
                </a:lnTo>
                <a:lnTo>
                  <a:pt x="118" y="24"/>
                </a:lnTo>
                <a:lnTo>
                  <a:pt x="112" y="18"/>
                </a:lnTo>
                <a:lnTo>
                  <a:pt x="106" y="14"/>
                </a:lnTo>
                <a:lnTo>
                  <a:pt x="100" y="10"/>
                </a:lnTo>
                <a:lnTo>
                  <a:pt x="92" y="8"/>
                </a:lnTo>
                <a:lnTo>
                  <a:pt x="84" y="6"/>
                </a:lnTo>
                <a:lnTo>
                  <a:pt x="84" y="6"/>
                </a:lnTo>
                <a:lnTo>
                  <a:pt x="76" y="8"/>
                </a:lnTo>
                <a:lnTo>
                  <a:pt x="68" y="10"/>
                </a:lnTo>
                <a:lnTo>
                  <a:pt x="60" y="14"/>
                </a:lnTo>
                <a:lnTo>
                  <a:pt x="54" y="18"/>
                </a:lnTo>
                <a:lnTo>
                  <a:pt x="50" y="24"/>
                </a:lnTo>
                <a:lnTo>
                  <a:pt x="46" y="32"/>
                </a:lnTo>
                <a:lnTo>
                  <a:pt x="44" y="40"/>
                </a:lnTo>
                <a:lnTo>
                  <a:pt x="42" y="48"/>
                </a:lnTo>
                <a:lnTo>
                  <a:pt x="42" y="48"/>
                </a:lnTo>
                <a:lnTo>
                  <a:pt x="44" y="60"/>
                </a:lnTo>
                <a:lnTo>
                  <a:pt x="50" y="70"/>
                </a:lnTo>
                <a:lnTo>
                  <a:pt x="18" y="70"/>
                </a:lnTo>
                <a:lnTo>
                  <a:pt x="18" y="88"/>
                </a:lnTo>
                <a:lnTo>
                  <a:pt x="348" y="88"/>
                </a:lnTo>
                <a:close/>
                <a:moveTo>
                  <a:pt x="284" y="36"/>
                </a:moveTo>
                <a:lnTo>
                  <a:pt x="304" y="70"/>
                </a:lnTo>
                <a:lnTo>
                  <a:pt x="264" y="70"/>
                </a:lnTo>
                <a:lnTo>
                  <a:pt x="284" y="36"/>
                </a:lnTo>
                <a:close/>
                <a:moveTo>
                  <a:pt x="164" y="26"/>
                </a:moveTo>
                <a:lnTo>
                  <a:pt x="208" y="26"/>
                </a:lnTo>
                <a:lnTo>
                  <a:pt x="208" y="70"/>
                </a:lnTo>
                <a:lnTo>
                  <a:pt x="164" y="70"/>
                </a:lnTo>
                <a:lnTo>
                  <a:pt x="164" y="26"/>
                </a:lnTo>
                <a:close/>
                <a:moveTo>
                  <a:pt x="62" y="48"/>
                </a:moveTo>
                <a:lnTo>
                  <a:pt x="62" y="48"/>
                </a:lnTo>
                <a:lnTo>
                  <a:pt x="62" y="38"/>
                </a:lnTo>
                <a:lnTo>
                  <a:pt x="68" y="32"/>
                </a:lnTo>
                <a:lnTo>
                  <a:pt x="74" y="26"/>
                </a:lnTo>
                <a:lnTo>
                  <a:pt x="84" y="24"/>
                </a:lnTo>
                <a:lnTo>
                  <a:pt x="84" y="24"/>
                </a:lnTo>
                <a:lnTo>
                  <a:pt x="92" y="26"/>
                </a:lnTo>
                <a:lnTo>
                  <a:pt x="100" y="32"/>
                </a:lnTo>
                <a:lnTo>
                  <a:pt x="104" y="38"/>
                </a:lnTo>
                <a:lnTo>
                  <a:pt x="106" y="48"/>
                </a:lnTo>
                <a:lnTo>
                  <a:pt x="106" y="48"/>
                </a:lnTo>
                <a:lnTo>
                  <a:pt x="104" y="56"/>
                </a:lnTo>
                <a:lnTo>
                  <a:pt x="100" y="64"/>
                </a:lnTo>
                <a:lnTo>
                  <a:pt x="92" y="68"/>
                </a:lnTo>
                <a:lnTo>
                  <a:pt x="84" y="70"/>
                </a:lnTo>
                <a:lnTo>
                  <a:pt x="84" y="70"/>
                </a:lnTo>
                <a:lnTo>
                  <a:pt x="74" y="68"/>
                </a:lnTo>
                <a:lnTo>
                  <a:pt x="68" y="64"/>
                </a:lnTo>
                <a:lnTo>
                  <a:pt x="62" y="56"/>
                </a:lnTo>
                <a:lnTo>
                  <a:pt x="62" y="48"/>
                </a:lnTo>
                <a:lnTo>
                  <a:pt x="62" y="48"/>
                </a:lnTo>
                <a:close/>
                <a:moveTo>
                  <a:pt x="284" y="236"/>
                </a:moveTo>
                <a:lnTo>
                  <a:pt x="242" y="308"/>
                </a:lnTo>
                <a:lnTo>
                  <a:pt x="226" y="308"/>
                </a:lnTo>
                <a:lnTo>
                  <a:pt x="226" y="244"/>
                </a:lnTo>
                <a:lnTo>
                  <a:pt x="144" y="244"/>
                </a:lnTo>
                <a:lnTo>
                  <a:pt x="144" y="308"/>
                </a:lnTo>
                <a:lnTo>
                  <a:pt x="118" y="308"/>
                </a:lnTo>
                <a:lnTo>
                  <a:pt x="118" y="308"/>
                </a:lnTo>
                <a:lnTo>
                  <a:pt x="122" y="298"/>
                </a:lnTo>
                <a:lnTo>
                  <a:pt x="124" y="286"/>
                </a:lnTo>
                <a:lnTo>
                  <a:pt x="124" y="286"/>
                </a:lnTo>
                <a:lnTo>
                  <a:pt x="124" y="276"/>
                </a:lnTo>
                <a:lnTo>
                  <a:pt x="122" y="270"/>
                </a:lnTo>
                <a:lnTo>
                  <a:pt x="118" y="262"/>
                </a:lnTo>
                <a:lnTo>
                  <a:pt x="112" y="256"/>
                </a:lnTo>
                <a:lnTo>
                  <a:pt x="106" y="252"/>
                </a:lnTo>
                <a:lnTo>
                  <a:pt x="100" y="248"/>
                </a:lnTo>
                <a:lnTo>
                  <a:pt x="92" y="246"/>
                </a:lnTo>
                <a:lnTo>
                  <a:pt x="84" y="244"/>
                </a:lnTo>
                <a:lnTo>
                  <a:pt x="84" y="244"/>
                </a:lnTo>
                <a:lnTo>
                  <a:pt x="76" y="246"/>
                </a:lnTo>
                <a:lnTo>
                  <a:pt x="68" y="248"/>
                </a:lnTo>
                <a:lnTo>
                  <a:pt x="60" y="252"/>
                </a:lnTo>
                <a:lnTo>
                  <a:pt x="54" y="256"/>
                </a:lnTo>
                <a:lnTo>
                  <a:pt x="50" y="262"/>
                </a:lnTo>
                <a:lnTo>
                  <a:pt x="46" y="270"/>
                </a:lnTo>
                <a:lnTo>
                  <a:pt x="44" y="276"/>
                </a:lnTo>
                <a:lnTo>
                  <a:pt x="42" y="286"/>
                </a:lnTo>
                <a:lnTo>
                  <a:pt x="42" y="286"/>
                </a:lnTo>
                <a:lnTo>
                  <a:pt x="44" y="298"/>
                </a:lnTo>
                <a:lnTo>
                  <a:pt x="50" y="308"/>
                </a:lnTo>
                <a:lnTo>
                  <a:pt x="18" y="308"/>
                </a:lnTo>
                <a:lnTo>
                  <a:pt x="18" y="326"/>
                </a:lnTo>
                <a:lnTo>
                  <a:pt x="348" y="326"/>
                </a:lnTo>
                <a:lnTo>
                  <a:pt x="348" y="308"/>
                </a:lnTo>
                <a:lnTo>
                  <a:pt x="324" y="308"/>
                </a:lnTo>
                <a:lnTo>
                  <a:pt x="284" y="236"/>
                </a:lnTo>
                <a:close/>
                <a:moveTo>
                  <a:pt x="284" y="274"/>
                </a:moveTo>
                <a:lnTo>
                  <a:pt x="304" y="308"/>
                </a:lnTo>
                <a:lnTo>
                  <a:pt x="264" y="308"/>
                </a:lnTo>
                <a:lnTo>
                  <a:pt x="284" y="274"/>
                </a:lnTo>
                <a:close/>
                <a:moveTo>
                  <a:pt x="164" y="262"/>
                </a:moveTo>
                <a:lnTo>
                  <a:pt x="208" y="262"/>
                </a:lnTo>
                <a:lnTo>
                  <a:pt x="208" y="308"/>
                </a:lnTo>
                <a:lnTo>
                  <a:pt x="164" y="308"/>
                </a:lnTo>
                <a:lnTo>
                  <a:pt x="164" y="262"/>
                </a:lnTo>
                <a:close/>
                <a:moveTo>
                  <a:pt x="84" y="262"/>
                </a:moveTo>
                <a:lnTo>
                  <a:pt x="84" y="262"/>
                </a:lnTo>
                <a:lnTo>
                  <a:pt x="92" y="264"/>
                </a:lnTo>
                <a:lnTo>
                  <a:pt x="100" y="268"/>
                </a:lnTo>
                <a:lnTo>
                  <a:pt x="104" y="276"/>
                </a:lnTo>
                <a:lnTo>
                  <a:pt x="106" y="286"/>
                </a:lnTo>
                <a:lnTo>
                  <a:pt x="106" y="286"/>
                </a:lnTo>
                <a:lnTo>
                  <a:pt x="104" y="294"/>
                </a:lnTo>
                <a:lnTo>
                  <a:pt x="100" y="302"/>
                </a:lnTo>
                <a:lnTo>
                  <a:pt x="92" y="306"/>
                </a:lnTo>
                <a:lnTo>
                  <a:pt x="84" y="308"/>
                </a:lnTo>
                <a:lnTo>
                  <a:pt x="84" y="308"/>
                </a:lnTo>
                <a:lnTo>
                  <a:pt x="74" y="306"/>
                </a:lnTo>
                <a:lnTo>
                  <a:pt x="68" y="302"/>
                </a:lnTo>
                <a:lnTo>
                  <a:pt x="62" y="294"/>
                </a:lnTo>
                <a:lnTo>
                  <a:pt x="62" y="286"/>
                </a:lnTo>
                <a:lnTo>
                  <a:pt x="62" y="286"/>
                </a:lnTo>
                <a:lnTo>
                  <a:pt x="62" y="276"/>
                </a:lnTo>
                <a:lnTo>
                  <a:pt x="68" y="268"/>
                </a:lnTo>
                <a:lnTo>
                  <a:pt x="74" y="264"/>
                </a:lnTo>
                <a:lnTo>
                  <a:pt x="84" y="262"/>
                </a:lnTo>
                <a:lnTo>
                  <a:pt x="84" y="262"/>
                </a:lnTo>
                <a:close/>
                <a:moveTo>
                  <a:pt x="324" y="190"/>
                </a:moveTo>
                <a:lnTo>
                  <a:pt x="284" y="118"/>
                </a:lnTo>
                <a:lnTo>
                  <a:pt x="242" y="190"/>
                </a:lnTo>
                <a:lnTo>
                  <a:pt x="226" y="190"/>
                </a:lnTo>
                <a:lnTo>
                  <a:pt x="226" y="126"/>
                </a:lnTo>
                <a:lnTo>
                  <a:pt x="144" y="126"/>
                </a:lnTo>
                <a:lnTo>
                  <a:pt x="144" y="190"/>
                </a:lnTo>
                <a:lnTo>
                  <a:pt x="118" y="190"/>
                </a:lnTo>
                <a:lnTo>
                  <a:pt x="118" y="190"/>
                </a:lnTo>
                <a:lnTo>
                  <a:pt x="122" y="178"/>
                </a:lnTo>
                <a:lnTo>
                  <a:pt x="124" y="166"/>
                </a:lnTo>
                <a:lnTo>
                  <a:pt x="124" y="166"/>
                </a:lnTo>
                <a:lnTo>
                  <a:pt x="124" y="158"/>
                </a:lnTo>
                <a:lnTo>
                  <a:pt x="122" y="150"/>
                </a:lnTo>
                <a:lnTo>
                  <a:pt x="118" y="144"/>
                </a:lnTo>
                <a:lnTo>
                  <a:pt x="112" y="138"/>
                </a:lnTo>
                <a:lnTo>
                  <a:pt x="106" y="132"/>
                </a:lnTo>
                <a:lnTo>
                  <a:pt x="100" y="128"/>
                </a:lnTo>
                <a:lnTo>
                  <a:pt x="92" y="126"/>
                </a:lnTo>
                <a:lnTo>
                  <a:pt x="84" y="126"/>
                </a:lnTo>
                <a:lnTo>
                  <a:pt x="84" y="126"/>
                </a:lnTo>
                <a:lnTo>
                  <a:pt x="76" y="126"/>
                </a:lnTo>
                <a:lnTo>
                  <a:pt x="68" y="128"/>
                </a:lnTo>
                <a:lnTo>
                  <a:pt x="60" y="132"/>
                </a:lnTo>
                <a:lnTo>
                  <a:pt x="54" y="138"/>
                </a:lnTo>
                <a:lnTo>
                  <a:pt x="50" y="144"/>
                </a:lnTo>
                <a:lnTo>
                  <a:pt x="46" y="150"/>
                </a:lnTo>
                <a:lnTo>
                  <a:pt x="44" y="158"/>
                </a:lnTo>
                <a:lnTo>
                  <a:pt x="42" y="166"/>
                </a:lnTo>
                <a:lnTo>
                  <a:pt x="42" y="166"/>
                </a:lnTo>
                <a:lnTo>
                  <a:pt x="44" y="178"/>
                </a:lnTo>
                <a:lnTo>
                  <a:pt x="50" y="190"/>
                </a:lnTo>
                <a:lnTo>
                  <a:pt x="0" y="190"/>
                </a:lnTo>
                <a:lnTo>
                  <a:pt x="0" y="190"/>
                </a:lnTo>
                <a:lnTo>
                  <a:pt x="18" y="208"/>
                </a:lnTo>
                <a:lnTo>
                  <a:pt x="348" y="208"/>
                </a:lnTo>
                <a:lnTo>
                  <a:pt x="366" y="190"/>
                </a:lnTo>
                <a:lnTo>
                  <a:pt x="366" y="190"/>
                </a:lnTo>
                <a:lnTo>
                  <a:pt x="324" y="190"/>
                </a:lnTo>
                <a:close/>
                <a:moveTo>
                  <a:pt x="284" y="154"/>
                </a:moveTo>
                <a:lnTo>
                  <a:pt x="304" y="190"/>
                </a:lnTo>
                <a:lnTo>
                  <a:pt x="264" y="190"/>
                </a:lnTo>
                <a:lnTo>
                  <a:pt x="284" y="154"/>
                </a:lnTo>
                <a:close/>
                <a:moveTo>
                  <a:pt x="164" y="144"/>
                </a:moveTo>
                <a:lnTo>
                  <a:pt x="208" y="144"/>
                </a:lnTo>
                <a:lnTo>
                  <a:pt x="208" y="190"/>
                </a:lnTo>
                <a:lnTo>
                  <a:pt x="164" y="190"/>
                </a:lnTo>
                <a:lnTo>
                  <a:pt x="164" y="144"/>
                </a:lnTo>
                <a:close/>
                <a:moveTo>
                  <a:pt x="84" y="144"/>
                </a:moveTo>
                <a:lnTo>
                  <a:pt x="84" y="144"/>
                </a:lnTo>
                <a:lnTo>
                  <a:pt x="92" y="146"/>
                </a:lnTo>
                <a:lnTo>
                  <a:pt x="100" y="150"/>
                </a:lnTo>
                <a:lnTo>
                  <a:pt x="104" y="158"/>
                </a:lnTo>
                <a:lnTo>
                  <a:pt x="106" y="166"/>
                </a:lnTo>
                <a:lnTo>
                  <a:pt x="106" y="166"/>
                </a:lnTo>
                <a:lnTo>
                  <a:pt x="104" y="176"/>
                </a:lnTo>
                <a:lnTo>
                  <a:pt x="100" y="182"/>
                </a:lnTo>
                <a:lnTo>
                  <a:pt x="92" y="188"/>
                </a:lnTo>
                <a:lnTo>
                  <a:pt x="84" y="190"/>
                </a:lnTo>
                <a:lnTo>
                  <a:pt x="84" y="190"/>
                </a:lnTo>
                <a:lnTo>
                  <a:pt x="74" y="188"/>
                </a:lnTo>
                <a:lnTo>
                  <a:pt x="68" y="182"/>
                </a:lnTo>
                <a:lnTo>
                  <a:pt x="62" y="176"/>
                </a:lnTo>
                <a:lnTo>
                  <a:pt x="62" y="166"/>
                </a:lnTo>
                <a:lnTo>
                  <a:pt x="62" y="166"/>
                </a:lnTo>
                <a:lnTo>
                  <a:pt x="62" y="158"/>
                </a:lnTo>
                <a:lnTo>
                  <a:pt x="68" y="150"/>
                </a:lnTo>
                <a:lnTo>
                  <a:pt x="74" y="146"/>
                </a:lnTo>
                <a:lnTo>
                  <a:pt x="84" y="144"/>
                </a:lnTo>
                <a:lnTo>
                  <a:pt x="84" y="1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226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sign Documentation</a:t>
            </a:r>
          </a:p>
        </p:txBody>
      </p:sp>
      <p:sp>
        <p:nvSpPr>
          <p:cNvPr id="9" name="Content Placeholder 8"/>
          <p:cNvSpPr>
            <a:spLocks noGrp="1"/>
          </p:cNvSpPr>
          <p:nvPr>
            <p:ph idx="1"/>
          </p:nvPr>
        </p:nvSpPr>
        <p:spPr>
          <a:xfrm>
            <a:off x="1981200" y="1455154"/>
            <a:ext cx="8229600" cy="4568869"/>
          </a:xfrm>
        </p:spPr>
        <p:txBody>
          <a:bodyPr/>
          <a:lstStyle/>
          <a:p>
            <a:pPr>
              <a:lnSpc>
                <a:spcPct val="150000"/>
              </a:lnSpc>
            </a:pPr>
            <a:r>
              <a:rPr lang="en-US" sz="2400" dirty="0"/>
              <a:t>Documentation of</a:t>
            </a:r>
          </a:p>
          <a:p>
            <a:pPr lvl="1">
              <a:lnSpc>
                <a:spcPct val="150000"/>
              </a:lnSpc>
            </a:pPr>
            <a:r>
              <a:rPr lang="en-US" dirty="0"/>
              <a:t>Requirements</a:t>
            </a:r>
          </a:p>
          <a:p>
            <a:pPr lvl="1">
              <a:lnSpc>
                <a:spcPct val="150000"/>
              </a:lnSpc>
            </a:pPr>
            <a:r>
              <a:rPr lang="en-US" dirty="0"/>
              <a:t>Key Decisions</a:t>
            </a:r>
          </a:p>
          <a:p>
            <a:pPr lvl="1">
              <a:lnSpc>
                <a:spcPct val="150000"/>
              </a:lnSpc>
            </a:pPr>
            <a:r>
              <a:rPr lang="en-US" dirty="0"/>
              <a:t>Processes</a:t>
            </a:r>
          </a:p>
          <a:p>
            <a:pPr lvl="1">
              <a:lnSpc>
                <a:spcPct val="150000"/>
              </a:lnSpc>
            </a:pPr>
            <a:r>
              <a:rPr lang="en-US" dirty="0"/>
              <a:t>Gaps &amp; Gap Alternatives</a:t>
            </a:r>
          </a:p>
          <a:p>
            <a:pPr lvl="1">
              <a:lnSpc>
                <a:spcPct val="150000"/>
              </a:lnSpc>
            </a:pPr>
            <a:r>
              <a:rPr lang="en-US" dirty="0"/>
              <a:t>Configurations</a:t>
            </a:r>
          </a:p>
          <a:p>
            <a:pPr>
              <a:lnSpc>
                <a:spcPct val="150000"/>
              </a:lnSpc>
            </a:pPr>
            <a:r>
              <a:rPr lang="en-US" dirty="0"/>
              <a:t>BY internal review</a:t>
            </a:r>
          </a:p>
          <a:p>
            <a:pPr>
              <a:lnSpc>
                <a:spcPct val="150000"/>
              </a:lnSpc>
            </a:pPr>
            <a:r>
              <a:rPr lang="en-US" dirty="0"/>
              <a:t>Review and approval with sign-off</a:t>
            </a:r>
          </a:p>
        </p:txBody>
      </p:sp>
      <p:grpSp>
        <p:nvGrpSpPr>
          <p:cNvPr id="5" name="Group 4"/>
          <p:cNvGrpSpPr>
            <a:grpSpLocks noChangeAspect="1"/>
          </p:cNvGrpSpPr>
          <p:nvPr/>
        </p:nvGrpSpPr>
        <p:grpSpPr>
          <a:xfrm>
            <a:off x="7491679" y="1812307"/>
            <a:ext cx="1663281" cy="2158397"/>
            <a:chOff x="3989389" y="3595688"/>
            <a:chExt cx="341313" cy="442913"/>
          </a:xfrm>
          <a:solidFill>
            <a:schemeClr val="accent6"/>
          </a:solidFill>
        </p:grpSpPr>
        <p:sp>
          <p:nvSpPr>
            <p:cNvPr id="8" name="Rectangle 535"/>
            <p:cNvSpPr>
              <a:spLocks noChangeArrowheads="1"/>
            </p:cNvSpPr>
            <p:nvPr/>
          </p:nvSpPr>
          <p:spPr bwMode="auto">
            <a:xfrm>
              <a:off x="4138614" y="3800475"/>
              <a:ext cx="1397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0" name="Rectangle 536"/>
            <p:cNvSpPr>
              <a:spLocks noChangeArrowheads="1"/>
            </p:cNvSpPr>
            <p:nvPr/>
          </p:nvSpPr>
          <p:spPr bwMode="auto">
            <a:xfrm>
              <a:off x="4138614" y="3862388"/>
              <a:ext cx="1397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Rectangle 537"/>
            <p:cNvSpPr>
              <a:spLocks noChangeArrowheads="1"/>
            </p:cNvSpPr>
            <p:nvPr/>
          </p:nvSpPr>
          <p:spPr bwMode="auto">
            <a:xfrm>
              <a:off x="4138614" y="3924300"/>
              <a:ext cx="1397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538"/>
            <p:cNvSpPr>
              <a:spLocks noEditPoints="1"/>
            </p:cNvSpPr>
            <p:nvPr/>
          </p:nvSpPr>
          <p:spPr bwMode="auto">
            <a:xfrm>
              <a:off x="3989389" y="3595688"/>
              <a:ext cx="341313" cy="442913"/>
            </a:xfrm>
            <a:custGeom>
              <a:avLst/>
              <a:gdLst>
                <a:gd name="T0" fmla="*/ 63 w 215"/>
                <a:gd name="T1" fmla="*/ 0 h 279"/>
                <a:gd name="T2" fmla="*/ 0 w 215"/>
                <a:gd name="T3" fmla="*/ 64 h 279"/>
                <a:gd name="T4" fmla="*/ 0 w 215"/>
                <a:gd name="T5" fmla="*/ 279 h 279"/>
                <a:gd name="T6" fmla="*/ 215 w 215"/>
                <a:gd name="T7" fmla="*/ 279 h 279"/>
                <a:gd name="T8" fmla="*/ 215 w 215"/>
                <a:gd name="T9" fmla="*/ 0 h 279"/>
                <a:gd name="T10" fmla="*/ 63 w 215"/>
                <a:gd name="T11" fmla="*/ 0 h 279"/>
                <a:gd name="T12" fmla="*/ 197 w 215"/>
                <a:gd name="T13" fmla="*/ 261 h 279"/>
                <a:gd name="T14" fmla="*/ 18 w 215"/>
                <a:gd name="T15" fmla="*/ 261 h 279"/>
                <a:gd name="T16" fmla="*/ 18 w 215"/>
                <a:gd name="T17" fmla="*/ 70 h 279"/>
                <a:gd name="T18" fmla="*/ 70 w 215"/>
                <a:gd name="T19" fmla="*/ 18 h 279"/>
                <a:gd name="T20" fmla="*/ 70 w 215"/>
                <a:gd name="T21" fmla="*/ 18 h 279"/>
                <a:gd name="T22" fmla="*/ 70 w 215"/>
                <a:gd name="T23" fmla="*/ 70 h 279"/>
                <a:gd name="T24" fmla="*/ 53 w 215"/>
                <a:gd name="T25" fmla="*/ 70 h 279"/>
                <a:gd name="T26" fmla="*/ 35 w 215"/>
                <a:gd name="T27" fmla="*/ 88 h 279"/>
                <a:gd name="T28" fmla="*/ 90 w 215"/>
                <a:gd name="T29" fmla="*/ 88 h 279"/>
                <a:gd name="T30" fmla="*/ 90 w 215"/>
                <a:gd name="T31" fmla="*/ 18 h 279"/>
                <a:gd name="T32" fmla="*/ 197 w 215"/>
                <a:gd name="T33" fmla="*/ 18 h 279"/>
                <a:gd name="T34" fmla="*/ 197 w 215"/>
                <a:gd name="T35" fmla="*/ 2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79">
                  <a:moveTo>
                    <a:pt x="63" y="0"/>
                  </a:moveTo>
                  <a:lnTo>
                    <a:pt x="0" y="64"/>
                  </a:lnTo>
                  <a:lnTo>
                    <a:pt x="0" y="279"/>
                  </a:lnTo>
                  <a:lnTo>
                    <a:pt x="215" y="279"/>
                  </a:lnTo>
                  <a:lnTo>
                    <a:pt x="215" y="0"/>
                  </a:lnTo>
                  <a:lnTo>
                    <a:pt x="63" y="0"/>
                  </a:lnTo>
                  <a:close/>
                  <a:moveTo>
                    <a:pt x="197" y="261"/>
                  </a:moveTo>
                  <a:lnTo>
                    <a:pt x="18" y="261"/>
                  </a:lnTo>
                  <a:lnTo>
                    <a:pt x="18" y="70"/>
                  </a:lnTo>
                  <a:lnTo>
                    <a:pt x="70" y="18"/>
                  </a:lnTo>
                  <a:lnTo>
                    <a:pt x="70" y="18"/>
                  </a:lnTo>
                  <a:lnTo>
                    <a:pt x="70" y="70"/>
                  </a:lnTo>
                  <a:lnTo>
                    <a:pt x="53" y="70"/>
                  </a:lnTo>
                  <a:lnTo>
                    <a:pt x="35" y="88"/>
                  </a:lnTo>
                  <a:lnTo>
                    <a:pt x="90" y="88"/>
                  </a:lnTo>
                  <a:lnTo>
                    <a:pt x="90" y="18"/>
                  </a:lnTo>
                  <a:lnTo>
                    <a:pt x="197" y="18"/>
                  </a:lnTo>
                  <a:lnTo>
                    <a:pt x="197"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539"/>
            <p:cNvSpPr>
              <a:spLocks/>
            </p:cNvSpPr>
            <p:nvPr/>
          </p:nvSpPr>
          <p:spPr bwMode="auto">
            <a:xfrm>
              <a:off x="4044951" y="3765550"/>
              <a:ext cx="77788" cy="65088"/>
            </a:xfrm>
            <a:custGeom>
              <a:avLst/>
              <a:gdLst>
                <a:gd name="T0" fmla="*/ 20 w 49"/>
                <a:gd name="T1" fmla="*/ 14 h 41"/>
                <a:gd name="T2" fmla="*/ 12 w 49"/>
                <a:gd name="T3" fmla="*/ 6 h 41"/>
                <a:gd name="T4" fmla="*/ 0 w 49"/>
                <a:gd name="T5" fmla="*/ 20 h 41"/>
                <a:gd name="T6" fmla="*/ 20 w 49"/>
                <a:gd name="T7" fmla="*/ 41 h 41"/>
                <a:gd name="T8" fmla="*/ 49 w 49"/>
                <a:gd name="T9" fmla="*/ 12 h 41"/>
                <a:gd name="T10" fmla="*/ 35 w 49"/>
                <a:gd name="T11" fmla="*/ 0 h 41"/>
                <a:gd name="T12" fmla="*/ 20 w 49"/>
                <a:gd name="T13" fmla="*/ 14 h 41"/>
              </a:gdLst>
              <a:ahLst/>
              <a:cxnLst>
                <a:cxn ang="0">
                  <a:pos x="T0" y="T1"/>
                </a:cxn>
                <a:cxn ang="0">
                  <a:pos x="T2" y="T3"/>
                </a:cxn>
                <a:cxn ang="0">
                  <a:pos x="T4" y="T5"/>
                </a:cxn>
                <a:cxn ang="0">
                  <a:pos x="T6" y="T7"/>
                </a:cxn>
                <a:cxn ang="0">
                  <a:pos x="T8" y="T9"/>
                </a:cxn>
                <a:cxn ang="0">
                  <a:pos x="T10" y="T11"/>
                </a:cxn>
                <a:cxn ang="0">
                  <a:pos x="T12" y="T13"/>
                </a:cxn>
              </a:cxnLst>
              <a:rect l="0" t="0" r="r" b="b"/>
              <a:pathLst>
                <a:path w="49" h="41">
                  <a:moveTo>
                    <a:pt x="20" y="14"/>
                  </a:moveTo>
                  <a:lnTo>
                    <a:pt x="12" y="6"/>
                  </a:lnTo>
                  <a:lnTo>
                    <a:pt x="0" y="20"/>
                  </a:lnTo>
                  <a:lnTo>
                    <a:pt x="20" y="41"/>
                  </a:lnTo>
                  <a:lnTo>
                    <a:pt x="49" y="12"/>
                  </a:lnTo>
                  <a:lnTo>
                    <a:pt x="35" y="0"/>
                  </a:lnTo>
                  <a:lnTo>
                    <a:pt x="2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540"/>
            <p:cNvSpPr>
              <a:spLocks/>
            </p:cNvSpPr>
            <p:nvPr/>
          </p:nvSpPr>
          <p:spPr bwMode="auto">
            <a:xfrm>
              <a:off x="4044951" y="3827463"/>
              <a:ext cx="77788" cy="65088"/>
            </a:xfrm>
            <a:custGeom>
              <a:avLst/>
              <a:gdLst>
                <a:gd name="T0" fmla="*/ 20 w 49"/>
                <a:gd name="T1" fmla="*/ 16 h 41"/>
                <a:gd name="T2" fmla="*/ 12 w 49"/>
                <a:gd name="T3" fmla="*/ 8 h 41"/>
                <a:gd name="T4" fmla="*/ 0 w 49"/>
                <a:gd name="T5" fmla="*/ 20 h 41"/>
                <a:gd name="T6" fmla="*/ 20 w 49"/>
                <a:gd name="T7" fmla="*/ 41 h 41"/>
                <a:gd name="T8" fmla="*/ 49 w 49"/>
                <a:gd name="T9" fmla="*/ 12 h 41"/>
                <a:gd name="T10" fmla="*/ 35 w 49"/>
                <a:gd name="T11" fmla="*/ 0 h 41"/>
                <a:gd name="T12" fmla="*/ 20 w 49"/>
                <a:gd name="T13" fmla="*/ 16 h 41"/>
              </a:gdLst>
              <a:ahLst/>
              <a:cxnLst>
                <a:cxn ang="0">
                  <a:pos x="T0" y="T1"/>
                </a:cxn>
                <a:cxn ang="0">
                  <a:pos x="T2" y="T3"/>
                </a:cxn>
                <a:cxn ang="0">
                  <a:pos x="T4" y="T5"/>
                </a:cxn>
                <a:cxn ang="0">
                  <a:pos x="T6" y="T7"/>
                </a:cxn>
                <a:cxn ang="0">
                  <a:pos x="T8" y="T9"/>
                </a:cxn>
                <a:cxn ang="0">
                  <a:pos x="T10" y="T11"/>
                </a:cxn>
                <a:cxn ang="0">
                  <a:pos x="T12" y="T13"/>
                </a:cxn>
              </a:cxnLst>
              <a:rect l="0" t="0" r="r" b="b"/>
              <a:pathLst>
                <a:path w="49" h="41">
                  <a:moveTo>
                    <a:pt x="20" y="16"/>
                  </a:moveTo>
                  <a:lnTo>
                    <a:pt x="12" y="8"/>
                  </a:lnTo>
                  <a:lnTo>
                    <a:pt x="0" y="20"/>
                  </a:lnTo>
                  <a:lnTo>
                    <a:pt x="20" y="41"/>
                  </a:lnTo>
                  <a:lnTo>
                    <a:pt x="49" y="12"/>
                  </a:lnTo>
                  <a:lnTo>
                    <a:pt x="35" y="0"/>
                  </a:lnTo>
                  <a:lnTo>
                    <a:pt x="2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541"/>
            <p:cNvSpPr>
              <a:spLocks/>
            </p:cNvSpPr>
            <p:nvPr/>
          </p:nvSpPr>
          <p:spPr bwMode="auto">
            <a:xfrm>
              <a:off x="4044951" y="3889375"/>
              <a:ext cx="77788" cy="65088"/>
            </a:xfrm>
            <a:custGeom>
              <a:avLst/>
              <a:gdLst>
                <a:gd name="T0" fmla="*/ 20 w 49"/>
                <a:gd name="T1" fmla="*/ 16 h 41"/>
                <a:gd name="T2" fmla="*/ 12 w 49"/>
                <a:gd name="T3" fmla="*/ 8 h 41"/>
                <a:gd name="T4" fmla="*/ 0 w 49"/>
                <a:gd name="T5" fmla="*/ 20 h 41"/>
                <a:gd name="T6" fmla="*/ 20 w 49"/>
                <a:gd name="T7" fmla="*/ 41 h 41"/>
                <a:gd name="T8" fmla="*/ 49 w 49"/>
                <a:gd name="T9" fmla="*/ 14 h 41"/>
                <a:gd name="T10" fmla="*/ 35 w 49"/>
                <a:gd name="T11" fmla="*/ 0 h 41"/>
                <a:gd name="T12" fmla="*/ 20 w 49"/>
                <a:gd name="T13" fmla="*/ 16 h 41"/>
              </a:gdLst>
              <a:ahLst/>
              <a:cxnLst>
                <a:cxn ang="0">
                  <a:pos x="T0" y="T1"/>
                </a:cxn>
                <a:cxn ang="0">
                  <a:pos x="T2" y="T3"/>
                </a:cxn>
                <a:cxn ang="0">
                  <a:pos x="T4" y="T5"/>
                </a:cxn>
                <a:cxn ang="0">
                  <a:pos x="T6" y="T7"/>
                </a:cxn>
                <a:cxn ang="0">
                  <a:pos x="T8" y="T9"/>
                </a:cxn>
                <a:cxn ang="0">
                  <a:pos x="T10" y="T11"/>
                </a:cxn>
                <a:cxn ang="0">
                  <a:pos x="T12" y="T13"/>
                </a:cxn>
              </a:cxnLst>
              <a:rect l="0" t="0" r="r" b="b"/>
              <a:pathLst>
                <a:path w="49" h="41">
                  <a:moveTo>
                    <a:pt x="20" y="16"/>
                  </a:moveTo>
                  <a:lnTo>
                    <a:pt x="12" y="8"/>
                  </a:lnTo>
                  <a:lnTo>
                    <a:pt x="0" y="20"/>
                  </a:lnTo>
                  <a:lnTo>
                    <a:pt x="20" y="41"/>
                  </a:lnTo>
                  <a:lnTo>
                    <a:pt x="49" y="14"/>
                  </a:lnTo>
                  <a:lnTo>
                    <a:pt x="35" y="0"/>
                  </a:lnTo>
                  <a:lnTo>
                    <a:pt x="2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7136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
                                            <p:txEl>
                                              <p:pRg st="7" end="7"/>
                                            </p:txEl>
                                          </p:spTgt>
                                        </p:tgtEl>
                                        <p:attrNameLst>
                                          <p:attrName>style.visibility</p:attrName>
                                        </p:attrNameLst>
                                      </p:cBhvr>
                                      <p:to>
                                        <p:strVal val="visible"/>
                                      </p:to>
                                    </p:set>
                                    <p:animEffect transition="in" filter="fade">
                                      <p:cBhvr>
                                        <p:cTn id="42" dur="5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JEM Implementation Phases</a:t>
            </a:r>
            <a:br>
              <a:rPr lang="en-US" dirty="0"/>
            </a:br>
            <a:endParaRPr lang="en-US" dirty="0"/>
          </a:p>
        </p:txBody>
      </p:sp>
      <p:sp>
        <p:nvSpPr>
          <p:cNvPr id="8" name="Rounded Rectangle 7"/>
          <p:cNvSpPr/>
          <p:nvPr/>
        </p:nvSpPr>
        <p:spPr>
          <a:xfrm>
            <a:off x="1676400" y="1371600"/>
            <a:ext cx="1524000" cy="7620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schemeClr val="bg1"/>
                </a:solidFill>
              </a:rPr>
              <a:t>Prepare</a:t>
            </a:r>
          </a:p>
        </p:txBody>
      </p:sp>
      <p:sp>
        <p:nvSpPr>
          <p:cNvPr id="10" name="Rounded Rectangle 9"/>
          <p:cNvSpPr/>
          <p:nvPr/>
        </p:nvSpPr>
        <p:spPr>
          <a:xfrm>
            <a:off x="2667000" y="2286000"/>
            <a:ext cx="1524000" cy="762000"/>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Design</a:t>
            </a:r>
          </a:p>
        </p:txBody>
      </p:sp>
      <p:sp>
        <p:nvSpPr>
          <p:cNvPr id="11" name="Rounded Rectangle 10"/>
          <p:cNvSpPr/>
          <p:nvPr/>
        </p:nvSpPr>
        <p:spPr>
          <a:xfrm>
            <a:off x="3810000" y="3200400"/>
            <a:ext cx="1524000" cy="7620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Construct</a:t>
            </a:r>
          </a:p>
        </p:txBody>
      </p:sp>
      <p:sp>
        <p:nvSpPr>
          <p:cNvPr id="12" name="Rounded Rectangle 11"/>
          <p:cNvSpPr/>
          <p:nvPr/>
        </p:nvSpPr>
        <p:spPr>
          <a:xfrm>
            <a:off x="5943600" y="5029200"/>
            <a:ext cx="1524000" cy="7620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Deploy</a:t>
            </a:r>
          </a:p>
        </p:txBody>
      </p:sp>
      <p:sp>
        <p:nvSpPr>
          <p:cNvPr id="13" name="Rounded Rectangle 12"/>
          <p:cNvSpPr/>
          <p:nvPr/>
        </p:nvSpPr>
        <p:spPr>
          <a:xfrm>
            <a:off x="4876800" y="4114800"/>
            <a:ext cx="1524000" cy="7620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Validate</a:t>
            </a:r>
            <a:endParaRPr lang="en-US" sz="1200" b="1" dirty="0"/>
          </a:p>
        </p:txBody>
      </p:sp>
      <p:sp>
        <p:nvSpPr>
          <p:cNvPr id="14" name="Rounded Rectangle 13"/>
          <p:cNvSpPr/>
          <p:nvPr/>
        </p:nvSpPr>
        <p:spPr>
          <a:xfrm>
            <a:off x="6858000" y="5943600"/>
            <a:ext cx="1295400" cy="60960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t>Transition</a:t>
            </a:r>
          </a:p>
        </p:txBody>
      </p:sp>
      <p:cxnSp>
        <p:nvCxnSpPr>
          <p:cNvPr id="15" name="Shape 11"/>
          <p:cNvCxnSpPr>
            <a:cxnSpLocks noChangeShapeType="1"/>
          </p:cNvCxnSpPr>
          <p:nvPr/>
        </p:nvCxnSpPr>
        <p:spPr bwMode="auto">
          <a:xfrm>
            <a:off x="3200400" y="1752600"/>
            <a:ext cx="228600" cy="533400"/>
          </a:xfrm>
          <a:prstGeom prst="bentConnector2">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6" name="Shape 13"/>
          <p:cNvCxnSpPr>
            <a:cxnSpLocks noChangeShapeType="1"/>
          </p:cNvCxnSpPr>
          <p:nvPr/>
        </p:nvCxnSpPr>
        <p:spPr bwMode="auto">
          <a:xfrm>
            <a:off x="4191000" y="2667000"/>
            <a:ext cx="381000" cy="533400"/>
          </a:xfrm>
          <a:prstGeom prst="bentConnector2">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7" name="Shape 15"/>
          <p:cNvCxnSpPr>
            <a:cxnSpLocks noChangeShapeType="1"/>
          </p:cNvCxnSpPr>
          <p:nvPr/>
        </p:nvCxnSpPr>
        <p:spPr bwMode="auto">
          <a:xfrm>
            <a:off x="5334000" y="3581400"/>
            <a:ext cx="304800" cy="533400"/>
          </a:xfrm>
          <a:prstGeom prst="bentConnector2">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8" name="Shape 17"/>
          <p:cNvCxnSpPr>
            <a:cxnSpLocks noChangeShapeType="1"/>
          </p:cNvCxnSpPr>
          <p:nvPr/>
        </p:nvCxnSpPr>
        <p:spPr bwMode="auto">
          <a:xfrm>
            <a:off x="6400800" y="4495800"/>
            <a:ext cx="304800" cy="533400"/>
          </a:xfrm>
          <a:prstGeom prst="bentConnector2">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9" name="Shape 19"/>
          <p:cNvCxnSpPr>
            <a:cxnSpLocks noChangeShapeType="1"/>
          </p:cNvCxnSpPr>
          <p:nvPr/>
        </p:nvCxnSpPr>
        <p:spPr bwMode="auto">
          <a:xfrm>
            <a:off x="7467600" y="5410200"/>
            <a:ext cx="381000" cy="533400"/>
          </a:xfrm>
          <a:prstGeom prst="bentConnector2">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 name="Shape 23"/>
          <p:cNvCxnSpPr>
            <a:cxnSpLocks noChangeShapeType="1"/>
          </p:cNvCxnSpPr>
          <p:nvPr/>
        </p:nvCxnSpPr>
        <p:spPr bwMode="auto">
          <a:xfrm flipH="1" flipV="1">
            <a:off x="4572000" y="3200400"/>
            <a:ext cx="2895600" cy="2209800"/>
          </a:xfrm>
          <a:prstGeom prst="bentConnector4">
            <a:avLst>
              <a:gd name="adj1" fmla="val -7894"/>
              <a:gd name="adj2" fmla="val 110347"/>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pic>
        <p:nvPicPr>
          <p:cNvPr id="21" name="Picture 2" descr="C:\Documents and Settings\AFredric\Local Settings\Temporary Internet Files\Content.IE5\P23SIX6H\MC900411254[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9000" y="3352801"/>
            <a:ext cx="954088"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Arrow Connector 26"/>
          <p:cNvCxnSpPr>
            <a:cxnSpLocks noChangeShapeType="1"/>
          </p:cNvCxnSpPr>
          <p:nvPr/>
        </p:nvCxnSpPr>
        <p:spPr bwMode="auto">
          <a:xfrm>
            <a:off x="1752600" y="2667000"/>
            <a:ext cx="5105400" cy="3886200"/>
          </a:xfrm>
          <a:prstGeom prst="straightConnector1">
            <a:avLst/>
          </a:prstGeom>
          <a:noFill/>
          <a:ln w="28575" algn="ctr">
            <a:solidFill>
              <a:schemeClr val="tx1"/>
            </a:solidFill>
            <a:round/>
            <a:headEnd type="arrow" w="med" len="med"/>
            <a:tailEnd type="arrow" w="med" len="med"/>
          </a:ln>
          <a:extLst>
            <a:ext uri="{909E8E84-426E-40DD-AFC4-6F175D3DCCD1}">
              <a14:hiddenFill xmlns:a14="http://schemas.microsoft.com/office/drawing/2010/main">
                <a:noFill/>
              </a14:hiddenFill>
            </a:ext>
          </a:extLst>
        </p:spPr>
      </p:cxnSp>
      <p:sp>
        <p:nvSpPr>
          <p:cNvPr id="23" name="TextBox 27"/>
          <p:cNvSpPr txBox="1">
            <a:spLocks noChangeArrowheads="1"/>
          </p:cNvSpPr>
          <p:nvPr/>
        </p:nvSpPr>
        <p:spPr bwMode="auto">
          <a:xfrm>
            <a:off x="1828800" y="5040314"/>
            <a:ext cx="2895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Arial Narrow" pitchFamily="34" charset="0"/>
              </a:rPr>
              <a:t>Traditional (Waterfall)  Approach</a:t>
            </a:r>
          </a:p>
        </p:txBody>
      </p:sp>
      <p:sp>
        <p:nvSpPr>
          <p:cNvPr id="24" name="TextBox 23"/>
          <p:cNvSpPr txBox="1">
            <a:spLocks noChangeArrowheads="1"/>
          </p:cNvSpPr>
          <p:nvPr/>
        </p:nvSpPr>
        <p:spPr bwMode="auto">
          <a:xfrm>
            <a:off x="6781800" y="2362200"/>
            <a:ext cx="3429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Arial Narrow" pitchFamily="34" charset="0"/>
              </a:rPr>
              <a:t>Business Release (Spiral) Approach</a:t>
            </a:r>
          </a:p>
        </p:txBody>
      </p:sp>
    </p:spTree>
    <p:extLst>
      <p:ext uri="{BB962C8B-B14F-4D97-AF65-F5344CB8AC3E}">
        <p14:creationId xmlns:p14="http://schemas.microsoft.com/office/powerpoint/2010/main" val="126019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Beyond Design</a:t>
            </a:r>
          </a:p>
        </p:txBody>
      </p:sp>
      <p:sp>
        <p:nvSpPr>
          <p:cNvPr id="2" name="Text Placeholder 1"/>
          <p:cNvSpPr>
            <a:spLocks noGrp="1"/>
          </p:cNvSpPr>
          <p:nvPr>
            <p:ph type="body" idx="1"/>
          </p:nvPr>
        </p:nvSpPr>
        <p:spPr/>
        <p:txBody>
          <a:bodyPr/>
          <a:lstStyle/>
          <a:p>
            <a:pPr>
              <a:lnSpc>
                <a:spcPct val="150000"/>
              </a:lnSpc>
            </a:pPr>
            <a:r>
              <a:rPr lang="en-US" dirty="0"/>
              <a:t>Tasks, Responsibilities, &amp; Dates</a:t>
            </a:r>
          </a:p>
        </p:txBody>
      </p:sp>
      <p:sp>
        <p:nvSpPr>
          <p:cNvPr id="9" name="Content Placeholder 8"/>
          <p:cNvSpPr>
            <a:spLocks noGrp="1"/>
          </p:cNvSpPr>
          <p:nvPr>
            <p:ph sz="half" idx="2"/>
          </p:nvPr>
        </p:nvSpPr>
        <p:spPr/>
        <p:txBody>
          <a:bodyPr/>
          <a:lstStyle/>
          <a:p>
            <a:pPr>
              <a:lnSpc>
                <a:spcPct val="150000"/>
              </a:lnSpc>
            </a:pPr>
            <a:r>
              <a:rPr lang="en-US" sz="2400" dirty="0"/>
              <a:t>Construct</a:t>
            </a:r>
          </a:p>
          <a:p>
            <a:pPr>
              <a:lnSpc>
                <a:spcPct val="150000"/>
              </a:lnSpc>
            </a:pPr>
            <a:r>
              <a:rPr lang="en-US" sz="2400" dirty="0"/>
              <a:t>User Acceptance Testing (UAT)</a:t>
            </a:r>
          </a:p>
          <a:p>
            <a:pPr>
              <a:lnSpc>
                <a:spcPct val="150000"/>
              </a:lnSpc>
            </a:pPr>
            <a:r>
              <a:rPr lang="en-US" sz="2400" dirty="0"/>
              <a:t>End User Training</a:t>
            </a:r>
          </a:p>
          <a:p>
            <a:pPr>
              <a:lnSpc>
                <a:spcPct val="150000"/>
              </a:lnSpc>
            </a:pPr>
            <a:r>
              <a:rPr lang="en-US" sz="2400" dirty="0"/>
              <a:t>Go-Live</a:t>
            </a:r>
          </a:p>
        </p:txBody>
      </p:sp>
      <p:grpSp>
        <p:nvGrpSpPr>
          <p:cNvPr id="8" name="Group 7"/>
          <p:cNvGrpSpPr>
            <a:grpSpLocks noChangeAspect="1"/>
          </p:cNvGrpSpPr>
          <p:nvPr/>
        </p:nvGrpSpPr>
        <p:grpSpPr>
          <a:xfrm>
            <a:off x="7359665" y="1875791"/>
            <a:ext cx="2125664" cy="2080276"/>
            <a:chOff x="8385176" y="4341813"/>
            <a:chExt cx="446088" cy="436563"/>
          </a:xfrm>
          <a:solidFill>
            <a:srgbClr val="8F1A95"/>
          </a:solidFill>
        </p:grpSpPr>
        <p:sp>
          <p:nvSpPr>
            <p:cNvPr id="10" name="Freeform 604"/>
            <p:cNvSpPr>
              <a:spLocks/>
            </p:cNvSpPr>
            <p:nvPr/>
          </p:nvSpPr>
          <p:spPr bwMode="auto">
            <a:xfrm>
              <a:off x="8437563" y="4394200"/>
              <a:ext cx="127000" cy="38100"/>
            </a:xfrm>
            <a:custGeom>
              <a:avLst/>
              <a:gdLst>
                <a:gd name="T0" fmla="*/ 80 w 80"/>
                <a:gd name="T1" fmla="*/ 24 h 24"/>
                <a:gd name="T2" fmla="*/ 80 w 80"/>
                <a:gd name="T3" fmla="*/ 10 h 24"/>
                <a:gd name="T4" fmla="*/ 80 w 80"/>
                <a:gd name="T5" fmla="*/ 10 h 24"/>
                <a:gd name="T6" fmla="*/ 68 w 80"/>
                <a:gd name="T7" fmla="*/ 4 h 24"/>
                <a:gd name="T8" fmla="*/ 57 w 80"/>
                <a:gd name="T9" fmla="*/ 2 h 24"/>
                <a:gd name="T10" fmla="*/ 45 w 80"/>
                <a:gd name="T11" fmla="*/ 0 h 24"/>
                <a:gd name="T12" fmla="*/ 35 w 80"/>
                <a:gd name="T13" fmla="*/ 0 h 24"/>
                <a:gd name="T14" fmla="*/ 14 w 80"/>
                <a:gd name="T15" fmla="*/ 4 h 24"/>
                <a:gd name="T16" fmla="*/ 0 w 80"/>
                <a:gd name="T17" fmla="*/ 8 h 24"/>
                <a:gd name="T18" fmla="*/ 0 w 80"/>
                <a:gd name="T19" fmla="*/ 24 h 24"/>
                <a:gd name="T20" fmla="*/ 0 w 80"/>
                <a:gd name="T21" fmla="*/ 24 h 24"/>
                <a:gd name="T22" fmla="*/ 12 w 80"/>
                <a:gd name="T23" fmla="*/ 20 h 24"/>
                <a:gd name="T24" fmla="*/ 31 w 80"/>
                <a:gd name="T25" fmla="*/ 14 h 24"/>
                <a:gd name="T26" fmla="*/ 43 w 80"/>
                <a:gd name="T27" fmla="*/ 14 h 24"/>
                <a:gd name="T28" fmla="*/ 55 w 80"/>
                <a:gd name="T29" fmla="*/ 16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10"/>
                  </a:ln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6"/>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1" name="Freeform 605"/>
            <p:cNvSpPr>
              <a:spLocks/>
            </p:cNvSpPr>
            <p:nvPr/>
          </p:nvSpPr>
          <p:spPr bwMode="auto">
            <a:xfrm>
              <a:off x="8437563" y="4462463"/>
              <a:ext cx="127000" cy="38100"/>
            </a:xfrm>
            <a:custGeom>
              <a:avLst/>
              <a:gdLst>
                <a:gd name="T0" fmla="*/ 80 w 80"/>
                <a:gd name="T1" fmla="*/ 24 h 24"/>
                <a:gd name="T2" fmla="*/ 80 w 80"/>
                <a:gd name="T3" fmla="*/ 8 h 24"/>
                <a:gd name="T4" fmla="*/ 80 w 80"/>
                <a:gd name="T5" fmla="*/ 8 h 24"/>
                <a:gd name="T6" fmla="*/ 68 w 80"/>
                <a:gd name="T7" fmla="*/ 4 h 24"/>
                <a:gd name="T8" fmla="*/ 57 w 80"/>
                <a:gd name="T9" fmla="*/ 0 h 24"/>
                <a:gd name="T10" fmla="*/ 45 w 80"/>
                <a:gd name="T11" fmla="*/ 0 h 24"/>
                <a:gd name="T12" fmla="*/ 35 w 80"/>
                <a:gd name="T13" fmla="*/ 0 h 24"/>
                <a:gd name="T14" fmla="*/ 14 w 80"/>
                <a:gd name="T15" fmla="*/ 4 h 24"/>
                <a:gd name="T16" fmla="*/ 0 w 80"/>
                <a:gd name="T17" fmla="*/ 8 h 24"/>
                <a:gd name="T18" fmla="*/ 0 w 80"/>
                <a:gd name="T19" fmla="*/ 22 h 24"/>
                <a:gd name="T20" fmla="*/ 0 w 80"/>
                <a:gd name="T21" fmla="*/ 22 h 24"/>
                <a:gd name="T22" fmla="*/ 12 w 80"/>
                <a:gd name="T23" fmla="*/ 18 h 24"/>
                <a:gd name="T24" fmla="*/ 31 w 80"/>
                <a:gd name="T25" fmla="*/ 14 h 24"/>
                <a:gd name="T26" fmla="*/ 43 w 80"/>
                <a:gd name="T27" fmla="*/ 14 h 24"/>
                <a:gd name="T28" fmla="*/ 55 w 80"/>
                <a:gd name="T29" fmla="*/ 14 h 24"/>
                <a:gd name="T30" fmla="*/ 68 w 80"/>
                <a:gd name="T31" fmla="*/ 18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8" y="4"/>
                  </a:lnTo>
                  <a:lnTo>
                    <a:pt x="57" y="0"/>
                  </a:lnTo>
                  <a:lnTo>
                    <a:pt x="45" y="0"/>
                  </a:lnTo>
                  <a:lnTo>
                    <a:pt x="35" y="0"/>
                  </a:lnTo>
                  <a:lnTo>
                    <a:pt x="14" y="4"/>
                  </a:lnTo>
                  <a:lnTo>
                    <a:pt x="0" y="8"/>
                  </a:lnTo>
                  <a:lnTo>
                    <a:pt x="0" y="22"/>
                  </a:lnTo>
                  <a:lnTo>
                    <a:pt x="0" y="22"/>
                  </a:lnTo>
                  <a:lnTo>
                    <a:pt x="12" y="18"/>
                  </a:lnTo>
                  <a:lnTo>
                    <a:pt x="31" y="14"/>
                  </a:lnTo>
                  <a:lnTo>
                    <a:pt x="43" y="14"/>
                  </a:lnTo>
                  <a:lnTo>
                    <a:pt x="55" y="14"/>
                  </a:lnTo>
                  <a:lnTo>
                    <a:pt x="68" y="18"/>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2" name="Freeform 606"/>
            <p:cNvSpPr>
              <a:spLocks/>
            </p:cNvSpPr>
            <p:nvPr/>
          </p:nvSpPr>
          <p:spPr bwMode="auto">
            <a:xfrm>
              <a:off x="8437563" y="4527550"/>
              <a:ext cx="127000" cy="41275"/>
            </a:xfrm>
            <a:custGeom>
              <a:avLst/>
              <a:gdLst>
                <a:gd name="T0" fmla="*/ 80 w 80"/>
                <a:gd name="T1" fmla="*/ 26 h 26"/>
                <a:gd name="T2" fmla="*/ 80 w 80"/>
                <a:gd name="T3" fmla="*/ 10 h 26"/>
                <a:gd name="T4" fmla="*/ 80 w 80"/>
                <a:gd name="T5" fmla="*/ 10 h 26"/>
                <a:gd name="T6" fmla="*/ 68 w 80"/>
                <a:gd name="T7" fmla="*/ 4 h 26"/>
                <a:gd name="T8" fmla="*/ 57 w 80"/>
                <a:gd name="T9" fmla="*/ 2 h 26"/>
                <a:gd name="T10" fmla="*/ 45 w 80"/>
                <a:gd name="T11" fmla="*/ 0 h 26"/>
                <a:gd name="T12" fmla="*/ 35 w 80"/>
                <a:gd name="T13" fmla="*/ 2 h 26"/>
                <a:gd name="T14" fmla="*/ 14 w 80"/>
                <a:gd name="T15" fmla="*/ 4 h 26"/>
                <a:gd name="T16" fmla="*/ 0 w 80"/>
                <a:gd name="T17" fmla="*/ 10 h 26"/>
                <a:gd name="T18" fmla="*/ 0 w 80"/>
                <a:gd name="T19" fmla="*/ 24 h 26"/>
                <a:gd name="T20" fmla="*/ 0 w 80"/>
                <a:gd name="T21" fmla="*/ 24 h 26"/>
                <a:gd name="T22" fmla="*/ 12 w 80"/>
                <a:gd name="T23" fmla="*/ 20 h 26"/>
                <a:gd name="T24" fmla="*/ 31 w 80"/>
                <a:gd name="T25" fmla="*/ 16 h 26"/>
                <a:gd name="T26" fmla="*/ 43 w 80"/>
                <a:gd name="T27" fmla="*/ 14 h 26"/>
                <a:gd name="T28" fmla="*/ 55 w 80"/>
                <a:gd name="T29" fmla="*/ 16 h 26"/>
                <a:gd name="T30" fmla="*/ 68 w 80"/>
                <a:gd name="T31" fmla="*/ 20 h 26"/>
                <a:gd name="T32" fmla="*/ 80 w 80"/>
                <a:gd name="T33" fmla="*/ 26 h 26"/>
                <a:gd name="T34" fmla="*/ 80 w 80"/>
                <a:gd name="T3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6"/>
                  </a:moveTo>
                  <a:lnTo>
                    <a:pt x="80" y="10"/>
                  </a:lnTo>
                  <a:lnTo>
                    <a:pt x="80" y="10"/>
                  </a:lnTo>
                  <a:lnTo>
                    <a:pt x="68" y="4"/>
                  </a:lnTo>
                  <a:lnTo>
                    <a:pt x="57" y="2"/>
                  </a:lnTo>
                  <a:lnTo>
                    <a:pt x="45" y="0"/>
                  </a:lnTo>
                  <a:lnTo>
                    <a:pt x="35" y="2"/>
                  </a:lnTo>
                  <a:lnTo>
                    <a:pt x="14" y="4"/>
                  </a:lnTo>
                  <a:lnTo>
                    <a:pt x="0" y="10"/>
                  </a:lnTo>
                  <a:lnTo>
                    <a:pt x="0" y="24"/>
                  </a:lnTo>
                  <a:lnTo>
                    <a:pt x="0" y="24"/>
                  </a:lnTo>
                  <a:lnTo>
                    <a:pt x="12" y="20"/>
                  </a:lnTo>
                  <a:lnTo>
                    <a:pt x="31" y="16"/>
                  </a:lnTo>
                  <a:lnTo>
                    <a:pt x="43" y="14"/>
                  </a:lnTo>
                  <a:lnTo>
                    <a:pt x="55" y="16"/>
                  </a:lnTo>
                  <a:lnTo>
                    <a:pt x="68" y="20"/>
                  </a:lnTo>
                  <a:lnTo>
                    <a:pt x="80" y="26"/>
                  </a:lnTo>
                  <a:lnTo>
                    <a:pt x="8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3" name="Freeform 607"/>
            <p:cNvSpPr>
              <a:spLocks/>
            </p:cNvSpPr>
            <p:nvPr/>
          </p:nvSpPr>
          <p:spPr bwMode="auto">
            <a:xfrm>
              <a:off x="8437563" y="4595813"/>
              <a:ext cx="127000" cy="38100"/>
            </a:xfrm>
            <a:custGeom>
              <a:avLst/>
              <a:gdLst>
                <a:gd name="T0" fmla="*/ 80 w 80"/>
                <a:gd name="T1" fmla="*/ 10 h 24"/>
                <a:gd name="T2" fmla="*/ 80 w 80"/>
                <a:gd name="T3" fmla="*/ 10 h 24"/>
                <a:gd name="T4" fmla="*/ 68 w 80"/>
                <a:gd name="T5" fmla="*/ 4 h 24"/>
                <a:gd name="T6" fmla="*/ 57 w 80"/>
                <a:gd name="T7" fmla="*/ 2 h 24"/>
                <a:gd name="T8" fmla="*/ 45 w 80"/>
                <a:gd name="T9" fmla="*/ 0 h 24"/>
                <a:gd name="T10" fmla="*/ 35 w 80"/>
                <a:gd name="T11" fmla="*/ 0 h 24"/>
                <a:gd name="T12" fmla="*/ 14 w 80"/>
                <a:gd name="T13" fmla="*/ 4 h 24"/>
                <a:gd name="T14" fmla="*/ 0 w 80"/>
                <a:gd name="T15" fmla="*/ 8 h 24"/>
                <a:gd name="T16" fmla="*/ 0 w 80"/>
                <a:gd name="T17" fmla="*/ 24 h 24"/>
                <a:gd name="T18" fmla="*/ 0 w 80"/>
                <a:gd name="T19" fmla="*/ 24 h 24"/>
                <a:gd name="T20" fmla="*/ 12 w 80"/>
                <a:gd name="T21" fmla="*/ 20 h 24"/>
                <a:gd name="T22" fmla="*/ 31 w 80"/>
                <a:gd name="T23" fmla="*/ 14 h 24"/>
                <a:gd name="T24" fmla="*/ 43 w 80"/>
                <a:gd name="T25" fmla="*/ 14 h 24"/>
                <a:gd name="T26" fmla="*/ 55 w 80"/>
                <a:gd name="T27" fmla="*/ 14 h 24"/>
                <a:gd name="T28" fmla="*/ 68 w 80"/>
                <a:gd name="T29" fmla="*/ 18 h 24"/>
                <a:gd name="T30" fmla="*/ 80 w 80"/>
                <a:gd name="T31" fmla="*/ 24 h 24"/>
                <a:gd name="T32" fmla="*/ 80 w 80"/>
                <a:gd name="T3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4">
                  <a:moveTo>
                    <a:pt x="80" y="10"/>
                  </a:moveTo>
                  <a:lnTo>
                    <a:pt x="80" y="10"/>
                  </a:lnTo>
                  <a:lnTo>
                    <a:pt x="68" y="4"/>
                  </a:lnTo>
                  <a:lnTo>
                    <a:pt x="57" y="2"/>
                  </a:lnTo>
                  <a:lnTo>
                    <a:pt x="45" y="0"/>
                  </a:lnTo>
                  <a:lnTo>
                    <a:pt x="35" y="0"/>
                  </a:lnTo>
                  <a:lnTo>
                    <a:pt x="14" y="4"/>
                  </a:lnTo>
                  <a:lnTo>
                    <a:pt x="0" y="8"/>
                  </a:lnTo>
                  <a:lnTo>
                    <a:pt x="0" y="24"/>
                  </a:lnTo>
                  <a:lnTo>
                    <a:pt x="0" y="24"/>
                  </a:lnTo>
                  <a:lnTo>
                    <a:pt x="12" y="20"/>
                  </a:lnTo>
                  <a:lnTo>
                    <a:pt x="31" y="14"/>
                  </a:lnTo>
                  <a:lnTo>
                    <a:pt x="43" y="14"/>
                  </a:lnTo>
                  <a:lnTo>
                    <a:pt x="55" y="14"/>
                  </a:lnTo>
                  <a:lnTo>
                    <a:pt x="68" y="18"/>
                  </a:lnTo>
                  <a:lnTo>
                    <a:pt x="80" y="24"/>
                  </a:lnTo>
                  <a:lnTo>
                    <a:pt x="8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4" name="Freeform 608"/>
            <p:cNvSpPr>
              <a:spLocks/>
            </p:cNvSpPr>
            <p:nvPr/>
          </p:nvSpPr>
          <p:spPr bwMode="auto">
            <a:xfrm>
              <a:off x="8648701" y="4394200"/>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6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6"/>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5" name="Freeform 609"/>
            <p:cNvSpPr>
              <a:spLocks/>
            </p:cNvSpPr>
            <p:nvPr/>
          </p:nvSpPr>
          <p:spPr bwMode="auto">
            <a:xfrm>
              <a:off x="8648701" y="4462463"/>
              <a:ext cx="127000" cy="38100"/>
            </a:xfrm>
            <a:custGeom>
              <a:avLst/>
              <a:gdLst>
                <a:gd name="T0" fmla="*/ 80 w 80"/>
                <a:gd name="T1" fmla="*/ 22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0 h 24"/>
                <a:gd name="T14" fmla="*/ 11 w 80"/>
                <a:gd name="T15" fmla="*/ 4 h 24"/>
                <a:gd name="T16" fmla="*/ 0 w 80"/>
                <a:gd name="T17" fmla="*/ 8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18 h 24"/>
                <a:gd name="T32" fmla="*/ 80 w 80"/>
                <a:gd name="T33" fmla="*/ 22 h 24"/>
                <a:gd name="T34" fmla="*/ 80 w 80"/>
                <a:gd name="T3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2"/>
                  </a:moveTo>
                  <a:lnTo>
                    <a:pt x="80" y="8"/>
                  </a:lnTo>
                  <a:lnTo>
                    <a:pt x="80" y="8"/>
                  </a:lnTo>
                  <a:lnTo>
                    <a:pt x="66" y="4"/>
                  </a:lnTo>
                  <a:lnTo>
                    <a:pt x="47" y="0"/>
                  </a:lnTo>
                  <a:lnTo>
                    <a:pt x="35" y="0"/>
                  </a:lnTo>
                  <a:lnTo>
                    <a:pt x="23" y="0"/>
                  </a:lnTo>
                  <a:lnTo>
                    <a:pt x="11" y="4"/>
                  </a:lnTo>
                  <a:lnTo>
                    <a:pt x="0" y="8"/>
                  </a:lnTo>
                  <a:lnTo>
                    <a:pt x="0" y="24"/>
                  </a:lnTo>
                  <a:lnTo>
                    <a:pt x="0" y="24"/>
                  </a:lnTo>
                  <a:lnTo>
                    <a:pt x="13" y="18"/>
                  </a:lnTo>
                  <a:lnTo>
                    <a:pt x="25" y="14"/>
                  </a:lnTo>
                  <a:lnTo>
                    <a:pt x="39" y="14"/>
                  </a:lnTo>
                  <a:lnTo>
                    <a:pt x="50" y="14"/>
                  </a:lnTo>
                  <a:lnTo>
                    <a:pt x="70" y="18"/>
                  </a:lnTo>
                  <a:lnTo>
                    <a:pt x="80" y="22"/>
                  </a:lnTo>
                  <a:lnTo>
                    <a:pt x="8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6" name="Freeform 610"/>
            <p:cNvSpPr>
              <a:spLocks/>
            </p:cNvSpPr>
            <p:nvPr/>
          </p:nvSpPr>
          <p:spPr bwMode="auto">
            <a:xfrm>
              <a:off x="8648701" y="4527550"/>
              <a:ext cx="127000" cy="41275"/>
            </a:xfrm>
            <a:custGeom>
              <a:avLst/>
              <a:gdLst>
                <a:gd name="T0" fmla="*/ 80 w 80"/>
                <a:gd name="T1" fmla="*/ 24 h 26"/>
                <a:gd name="T2" fmla="*/ 80 w 80"/>
                <a:gd name="T3" fmla="*/ 10 h 26"/>
                <a:gd name="T4" fmla="*/ 80 w 80"/>
                <a:gd name="T5" fmla="*/ 10 h 26"/>
                <a:gd name="T6" fmla="*/ 66 w 80"/>
                <a:gd name="T7" fmla="*/ 4 h 26"/>
                <a:gd name="T8" fmla="*/ 47 w 80"/>
                <a:gd name="T9" fmla="*/ 2 h 26"/>
                <a:gd name="T10" fmla="*/ 35 w 80"/>
                <a:gd name="T11" fmla="*/ 0 h 26"/>
                <a:gd name="T12" fmla="*/ 23 w 80"/>
                <a:gd name="T13" fmla="*/ 2 h 26"/>
                <a:gd name="T14" fmla="*/ 11 w 80"/>
                <a:gd name="T15" fmla="*/ 4 h 26"/>
                <a:gd name="T16" fmla="*/ 0 w 80"/>
                <a:gd name="T17" fmla="*/ 10 h 26"/>
                <a:gd name="T18" fmla="*/ 0 w 80"/>
                <a:gd name="T19" fmla="*/ 26 h 26"/>
                <a:gd name="T20" fmla="*/ 0 w 80"/>
                <a:gd name="T21" fmla="*/ 26 h 26"/>
                <a:gd name="T22" fmla="*/ 13 w 80"/>
                <a:gd name="T23" fmla="*/ 20 h 26"/>
                <a:gd name="T24" fmla="*/ 25 w 80"/>
                <a:gd name="T25" fmla="*/ 16 h 26"/>
                <a:gd name="T26" fmla="*/ 39 w 80"/>
                <a:gd name="T27" fmla="*/ 14 h 26"/>
                <a:gd name="T28" fmla="*/ 50 w 80"/>
                <a:gd name="T29" fmla="*/ 16 h 26"/>
                <a:gd name="T30" fmla="*/ 70 w 80"/>
                <a:gd name="T31" fmla="*/ 20 h 26"/>
                <a:gd name="T32" fmla="*/ 80 w 80"/>
                <a:gd name="T33" fmla="*/ 24 h 26"/>
                <a:gd name="T34" fmla="*/ 80 w 80"/>
                <a:gd name="T3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6">
                  <a:moveTo>
                    <a:pt x="80" y="24"/>
                  </a:moveTo>
                  <a:lnTo>
                    <a:pt x="80" y="10"/>
                  </a:lnTo>
                  <a:lnTo>
                    <a:pt x="80" y="10"/>
                  </a:lnTo>
                  <a:lnTo>
                    <a:pt x="66" y="4"/>
                  </a:lnTo>
                  <a:lnTo>
                    <a:pt x="47" y="2"/>
                  </a:lnTo>
                  <a:lnTo>
                    <a:pt x="35" y="0"/>
                  </a:lnTo>
                  <a:lnTo>
                    <a:pt x="23" y="2"/>
                  </a:lnTo>
                  <a:lnTo>
                    <a:pt x="11" y="4"/>
                  </a:lnTo>
                  <a:lnTo>
                    <a:pt x="0" y="10"/>
                  </a:lnTo>
                  <a:lnTo>
                    <a:pt x="0" y="26"/>
                  </a:lnTo>
                  <a:lnTo>
                    <a:pt x="0" y="26"/>
                  </a:lnTo>
                  <a:lnTo>
                    <a:pt x="13" y="20"/>
                  </a:lnTo>
                  <a:lnTo>
                    <a:pt x="25" y="16"/>
                  </a:lnTo>
                  <a:lnTo>
                    <a:pt x="39" y="14"/>
                  </a:lnTo>
                  <a:lnTo>
                    <a:pt x="50" y="16"/>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7" name="Freeform 611"/>
            <p:cNvSpPr>
              <a:spLocks/>
            </p:cNvSpPr>
            <p:nvPr/>
          </p:nvSpPr>
          <p:spPr bwMode="auto">
            <a:xfrm>
              <a:off x="8648701" y="4595813"/>
              <a:ext cx="127000" cy="38100"/>
            </a:xfrm>
            <a:custGeom>
              <a:avLst/>
              <a:gdLst>
                <a:gd name="T0" fmla="*/ 80 w 80"/>
                <a:gd name="T1" fmla="*/ 24 h 24"/>
                <a:gd name="T2" fmla="*/ 80 w 80"/>
                <a:gd name="T3" fmla="*/ 8 h 24"/>
                <a:gd name="T4" fmla="*/ 80 w 80"/>
                <a:gd name="T5" fmla="*/ 8 h 24"/>
                <a:gd name="T6" fmla="*/ 66 w 80"/>
                <a:gd name="T7" fmla="*/ 4 h 24"/>
                <a:gd name="T8" fmla="*/ 47 w 80"/>
                <a:gd name="T9" fmla="*/ 0 h 24"/>
                <a:gd name="T10" fmla="*/ 35 w 80"/>
                <a:gd name="T11" fmla="*/ 0 h 24"/>
                <a:gd name="T12" fmla="*/ 23 w 80"/>
                <a:gd name="T13" fmla="*/ 2 h 24"/>
                <a:gd name="T14" fmla="*/ 11 w 80"/>
                <a:gd name="T15" fmla="*/ 4 h 24"/>
                <a:gd name="T16" fmla="*/ 0 w 80"/>
                <a:gd name="T17" fmla="*/ 10 h 24"/>
                <a:gd name="T18" fmla="*/ 0 w 80"/>
                <a:gd name="T19" fmla="*/ 24 h 24"/>
                <a:gd name="T20" fmla="*/ 0 w 80"/>
                <a:gd name="T21" fmla="*/ 24 h 24"/>
                <a:gd name="T22" fmla="*/ 13 w 80"/>
                <a:gd name="T23" fmla="*/ 18 h 24"/>
                <a:gd name="T24" fmla="*/ 25 w 80"/>
                <a:gd name="T25" fmla="*/ 14 h 24"/>
                <a:gd name="T26" fmla="*/ 39 w 80"/>
                <a:gd name="T27" fmla="*/ 14 h 24"/>
                <a:gd name="T28" fmla="*/ 50 w 80"/>
                <a:gd name="T29" fmla="*/ 14 h 24"/>
                <a:gd name="T30" fmla="*/ 70 w 80"/>
                <a:gd name="T31" fmla="*/ 20 h 24"/>
                <a:gd name="T32" fmla="*/ 80 w 80"/>
                <a:gd name="T33" fmla="*/ 24 h 24"/>
                <a:gd name="T34" fmla="*/ 80 w 8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4">
                  <a:moveTo>
                    <a:pt x="80" y="24"/>
                  </a:moveTo>
                  <a:lnTo>
                    <a:pt x="80" y="8"/>
                  </a:lnTo>
                  <a:lnTo>
                    <a:pt x="80" y="8"/>
                  </a:lnTo>
                  <a:lnTo>
                    <a:pt x="66" y="4"/>
                  </a:lnTo>
                  <a:lnTo>
                    <a:pt x="47" y="0"/>
                  </a:lnTo>
                  <a:lnTo>
                    <a:pt x="35" y="0"/>
                  </a:lnTo>
                  <a:lnTo>
                    <a:pt x="23" y="2"/>
                  </a:lnTo>
                  <a:lnTo>
                    <a:pt x="11" y="4"/>
                  </a:lnTo>
                  <a:lnTo>
                    <a:pt x="0" y="10"/>
                  </a:lnTo>
                  <a:lnTo>
                    <a:pt x="0" y="24"/>
                  </a:lnTo>
                  <a:lnTo>
                    <a:pt x="0" y="24"/>
                  </a:lnTo>
                  <a:lnTo>
                    <a:pt x="13" y="18"/>
                  </a:lnTo>
                  <a:lnTo>
                    <a:pt x="25" y="14"/>
                  </a:lnTo>
                  <a:lnTo>
                    <a:pt x="39" y="14"/>
                  </a:lnTo>
                  <a:lnTo>
                    <a:pt x="50" y="14"/>
                  </a:lnTo>
                  <a:lnTo>
                    <a:pt x="70" y="20"/>
                  </a:lnTo>
                  <a:lnTo>
                    <a:pt x="80" y="24"/>
                  </a:lnTo>
                  <a:lnTo>
                    <a:pt x="8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8" name="Freeform 612"/>
            <p:cNvSpPr>
              <a:spLocks/>
            </p:cNvSpPr>
            <p:nvPr/>
          </p:nvSpPr>
          <p:spPr bwMode="auto">
            <a:xfrm>
              <a:off x="8385176" y="4757738"/>
              <a:ext cx="446088" cy="20638"/>
            </a:xfrm>
            <a:custGeom>
              <a:avLst/>
              <a:gdLst>
                <a:gd name="T0" fmla="*/ 0 w 281"/>
                <a:gd name="T1" fmla="*/ 0 h 13"/>
                <a:gd name="T2" fmla="*/ 0 w 281"/>
                <a:gd name="T3" fmla="*/ 0 h 13"/>
                <a:gd name="T4" fmla="*/ 14 w 281"/>
                <a:gd name="T5" fmla="*/ 13 h 13"/>
                <a:gd name="T6" fmla="*/ 265 w 281"/>
                <a:gd name="T7" fmla="*/ 13 h 13"/>
                <a:gd name="T8" fmla="*/ 281 w 281"/>
                <a:gd name="T9" fmla="*/ 0 h 13"/>
                <a:gd name="T10" fmla="*/ 0 w 281"/>
                <a:gd name="T11" fmla="*/ 0 h 13"/>
              </a:gdLst>
              <a:ahLst/>
              <a:cxnLst>
                <a:cxn ang="0">
                  <a:pos x="T0" y="T1"/>
                </a:cxn>
                <a:cxn ang="0">
                  <a:pos x="T2" y="T3"/>
                </a:cxn>
                <a:cxn ang="0">
                  <a:pos x="T4" y="T5"/>
                </a:cxn>
                <a:cxn ang="0">
                  <a:pos x="T6" y="T7"/>
                </a:cxn>
                <a:cxn ang="0">
                  <a:pos x="T8" y="T9"/>
                </a:cxn>
                <a:cxn ang="0">
                  <a:pos x="T10" y="T11"/>
                </a:cxn>
              </a:cxnLst>
              <a:rect l="0" t="0" r="r" b="b"/>
              <a:pathLst>
                <a:path w="281" h="13">
                  <a:moveTo>
                    <a:pt x="0" y="0"/>
                  </a:moveTo>
                  <a:lnTo>
                    <a:pt x="0" y="0"/>
                  </a:lnTo>
                  <a:lnTo>
                    <a:pt x="14" y="13"/>
                  </a:lnTo>
                  <a:lnTo>
                    <a:pt x="265" y="13"/>
                  </a:lnTo>
                  <a:lnTo>
                    <a:pt x="28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sp>
          <p:nvSpPr>
            <p:cNvPr id="19" name="Freeform 613"/>
            <p:cNvSpPr>
              <a:spLocks noEditPoints="1"/>
            </p:cNvSpPr>
            <p:nvPr/>
          </p:nvSpPr>
          <p:spPr bwMode="auto">
            <a:xfrm>
              <a:off x="8385176" y="4341813"/>
              <a:ext cx="442913" cy="393700"/>
            </a:xfrm>
            <a:custGeom>
              <a:avLst/>
              <a:gdLst>
                <a:gd name="T0" fmla="*/ 12 w 279"/>
                <a:gd name="T1" fmla="*/ 242 h 248"/>
                <a:gd name="T2" fmla="*/ 31 w 279"/>
                <a:gd name="T3" fmla="*/ 232 h 248"/>
                <a:gd name="T4" fmla="*/ 62 w 279"/>
                <a:gd name="T5" fmla="*/ 225 h 248"/>
                <a:gd name="T6" fmla="*/ 76 w 279"/>
                <a:gd name="T7" fmla="*/ 225 h 248"/>
                <a:gd name="T8" fmla="*/ 105 w 279"/>
                <a:gd name="T9" fmla="*/ 229 h 248"/>
                <a:gd name="T10" fmla="*/ 133 w 279"/>
                <a:gd name="T11" fmla="*/ 240 h 248"/>
                <a:gd name="T12" fmla="*/ 136 w 279"/>
                <a:gd name="T13" fmla="*/ 242 h 248"/>
                <a:gd name="T14" fmla="*/ 144 w 279"/>
                <a:gd name="T15" fmla="*/ 242 h 248"/>
                <a:gd name="T16" fmla="*/ 148 w 279"/>
                <a:gd name="T17" fmla="*/ 240 h 248"/>
                <a:gd name="T18" fmla="*/ 150 w 279"/>
                <a:gd name="T19" fmla="*/ 238 h 248"/>
                <a:gd name="T20" fmla="*/ 152 w 279"/>
                <a:gd name="T21" fmla="*/ 236 h 248"/>
                <a:gd name="T22" fmla="*/ 156 w 279"/>
                <a:gd name="T23" fmla="*/ 234 h 248"/>
                <a:gd name="T24" fmla="*/ 160 w 279"/>
                <a:gd name="T25" fmla="*/ 234 h 248"/>
                <a:gd name="T26" fmla="*/ 162 w 279"/>
                <a:gd name="T27" fmla="*/ 232 h 248"/>
                <a:gd name="T28" fmla="*/ 166 w 279"/>
                <a:gd name="T29" fmla="*/ 230 h 248"/>
                <a:gd name="T30" fmla="*/ 168 w 279"/>
                <a:gd name="T31" fmla="*/ 230 h 248"/>
                <a:gd name="T32" fmla="*/ 185 w 279"/>
                <a:gd name="T33" fmla="*/ 227 h 248"/>
                <a:gd name="T34" fmla="*/ 205 w 279"/>
                <a:gd name="T35" fmla="*/ 225 h 248"/>
                <a:gd name="T36" fmla="*/ 246 w 279"/>
                <a:gd name="T37" fmla="*/ 232 h 248"/>
                <a:gd name="T38" fmla="*/ 267 w 279"/>
                <a:gd name="T39" fmla="*/ 240 h 248"/>
                <a:gd name="T40" fmla="*/ 267 w 279"/>
                <a:gd name="T41" fmla="*/ 240 h 248"/>
                <a:gd name="T42" fmla="*/ 269 w 279"/>
                <a:gd name="T43" fmla="*/ 240 h 248"/>
                <a:gd name="T44" fmla="*/ 269 w 279"/>
                <a:gd name="T45" fmla="*/ 242 h 248"/>
                <a:gd name="T46" fmla="*/ 279 w 279"/>
                <a:gd name="T47" fmla="*/ 248 h 248"/>
                <a:gd name="T48" fmla="*/ 275 w 279"/>
                <a:gd name="T49" fmla="*/ 16 h 248"/>
                <a:gd name="T50" fmla="*/ 257 w 279"/>
                <a:gd name="T51" fmla="*/ 10 h 248"/>
                <a:gd name="T52" fmla="*/ 222 w 279"/>
                <a:gd name="T53" fmla="*/ 2 h 248"/>
                <a:gd name="T54" fmla="*/ 207 w 279"/>
                <a:gd name="T55" fmla="*/ 0 h 248"/>
                <a:gd name="T56" fmla="*/ 164 w 279"/>
                <a:gd name="T57" fmla="*/ 8 h 248"/>
                <a:gd name="T58" fmla="*/ 140 w 279"/>
                <a:gd name="T59" fmla="*/ 20 h 248"/>
                <a:gd name="T60" fmla="*/ 131 w 279"/>
                <a:gd name="T61" fmla="*/ 14 h 248"/>
                <a:gd name="T62" fmla="*/ 97 w 279"/>
                <a:gd name="T63" fmla="*/ 2 h 248"/>
                <a:gd name="T64" fmla="*/ 74 w 279"/>
                <a:gd name="T65" fmla="*/ 0 h 248"/>
                <a:gd name="T66" fmla="*/ 41 w 279"/>
                <a:gd name="T67" fmla="*/ 4 h 248"/>
                <a:gd name="T68" fmla="*/ 6 w 279"/>
                <a:gd name="T69" fmla="*/ 16 h 248"/>
                <a:gd name="T70" fmla="*/ 0 w 279"/>
                <a:gd name="T71" fmla="*/ 248 h 248"/>
                <a:gd name="T72" fmla="*/ 148 w 279"/>
                <a:gd name="T73" fmla="*/ 225 h 248"/>
                <a:gd name="T74" fmla="*/ 148 w 279"/>
                <a:gd name="T75" fmla="*/ 33 h 248"/>
                <a:gd name="T76" fmla="*/ 168 w 279"/>
                <a:gd name="T77" fmla="*/ 22 h 248"/>
                <a:gd name="T78" fmla="*/ 207 w 279"/>
                <a:gd name="T79" fmla="*/ 14 h 248"/>
                <a:gd name="T80" fmla="*/ 220 w 279"/>
                <a:gd name="T81" fmla="*/ 16 h 248"/>
                <a:gd name="T82" fmla="*/ 250 w 279"/>
                <a:gd name="T83" fmla="*/ 22 h 248"/>
                <a:gd name="T84" fmla="*/ 265 w 279"/>
                <a:gd name="T85" fmla="*/ 223 h 248"/>
                <a:gd name="T86" fmla="*/ 265 w 279"/>
                <a:gd name="T87" fmla="*/ 223 h 248"/>
                <a:gd name="T88" fmla="*/ 240 w 279"/>
                <a:gd name="T89" fmla="*/ 215 h 248"/>
                <a:gd name="T90" fmla="*/ 205 w 279"/>
                <a:gd name="T91" fmla="*/ 211 h 248"/>
                <a:gd name="T92" fmla="*/ 181 w 279"/>
                <a:gd name="T93" fmla="*/ 213 h 248"/>
                <a:gd name="T94" fmla="*/ 160 w 279"/>
                <a:gd name="T95" fmla="*/ 219 h 248"/>
                <a:gd name="T96" fmla="*/ 160 w 279"/>
                <a:gd name="T97" fmla="*/ 219 h 248"/>
                <a:gd name="T98" fmla="*/ 154 w 279"/>
                <a:gd name="T99" fmla="*/ 221 h 248"/>
                <a:gd name="T100" fmla="*/ 154 w 279"/>
                <a:gd name="T101" fmla="*/ 221 h 248"/>
                <a:gd name="T102" fmla="*/ 148 w 279"/>
                <a:gd name="T103" fmla="*/ 225 h 248"/>
                <a:gd name="T104" fmla="*/ 15 w 279"/>
                <a:gd name="T105" fmla="*/ 28 h 248"/>
                <a:gd name="T106" fmla="*/ 45 w 279"/>
                <a:gd name="T107" fmla="*/ 18 h 248"/>
                <a:gd name="T108" fmla="*/ 74 w 279"/>
                <a:gd name="T109" fmla="*/ 14 h 248"/>
                <a:gd name="T110" fmla="*/ 95 w 279"/>
                <a:gd name="T111" fmla="*/ 16 h 248"/>
                <a:gd name="T112" fmla="*/ 125 w 279"/>
                <a:gd name="T113" fmla="*/ 28 h 248"/>
                <a:gd name="T114" fmla="*/ 133 w 279"/>
                <a:gd name="T115" fmla="*/ 225 h 248"/>
                <a:gd name="T116" fmla="*/ 119 w 279"/>
                <a:gd name="T117" fmla="*/ 219 h 248"/>
                <a:gd name="T118" fmla="*/ 92 w 279"/>
                <a:gd name="T119" fmla="*/ 211 h 248"/>
                <a:gd name="T120" fmla="*/ 76 w 279"/>
                <a:gd name="T121" fmla="*/ 211 h 248"/>
                <a:gd name="T122" fmla="*/ 41 w 279"/>
                <a:gd name="T123" fmla="*/ 215 h 248"/>
                <a:gd name="T124" fmla="*/ 15 w 279"/>
                <a:gd name="T125"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 h="248">
                  <a:moveTo>
                    <a:pt x="12" y="242"/>
                  </a:moveTo>
                  <a:lnTo>
                    <a:pt x="12" y="242"/>
                  </a:lnTo>
                  <a:lnTo>
                    <a:pt x="17" y="238"/>
                  </a:lnTo>
                  <a:lnTo>
                    <a:pt x="31" y="232"/>
                  </a:lnTo>
                  <a:lnTo>
                    <a:pt x="51" y="227"/>
                  </a:lnTo>
                  <a:lnTo>
                    <a:pt x="62" y="225"/>
                  </a:lnTo>
                  <a:lnTo>
                    <a:pt x="76" y="225"/>
                  </a:lnTo>
                  <a:lnTo>
                    <a:pt x="76" y="225"/>
                  </a:lnTo>
                  <a:lnTo>
                    <a:pt x="92" y="225"/>
                  </a:lnTo>
                  <a:lnTo>
                    <a:pt x="105" y="229"/>
                  </a:lnTo>
                  <a:lnTo>
                    <a:pt x="119" y="232"/>
                  </a:lnTo>
                  <a:lnTo>
                    <a:pt x="133" y="240"/>
                  </a:lnTo>
                  <a:lnTo>
                    <a:pt x="133" y="240"/>
                  </a:lnTo>
                  <a:lnTo>
                    <a:pt x="136" y="242"/>
                  </a:lnTo>
                  <a:lnTo>
                    <a:pt x="140" y="244"/>
                  </a:lnTo>
                  <a:lnTo>
                    <a:pt x="144" y="242"/>
                  </a:lnTo>
                  <a:lnTo>
                    <a:pt x="144" y="242"/>
                  </a:lnTo>
                  <a:lnTo>
                    <a:pt x="148" y="240"/>
                  </a:lnTo>
                  <a:lnTo>
                    <a:pt x="148" y="240"/>
                  </a:lnTo>
                  <a:lnTo>
                    <a:pt x="150" y="238"/>
                  </a:lnTo>
                  <a:lnTo>
                    <a:pt x="150" y="238"/>
                  </a:lnTo>
                  <a:lnTo>
                    <a:pt x="152" y="236"/>
                  </a:lnTo>
                  <a:lnTo>
                    <a:pt x="152" y="236"/>
                  </a:lnTo>
                  <a:lnTo>
                    <a:pt x="156" y="234"/>
                  </a:lnTo>
                  <a:lnTo>
                    <a:pt x="156" y="234"/>
                  </a:lnTo>
                  <a:lnTo>
                    <a:pt x="160" y="234"/>
                  </a:lnTo>
                  <a:lnTo>
                    <a:pt x="160" y="234"/>
                  </a:lnTo>
                  <a:lnTo>
                    <a:pt x="162" y="232"/>
                  </a:lnTo>
                  <a:lnTo>
                    <a:pt x="162" y="232"/>
                  </a:lnTo>
                  <a:lnTo>
                    <a:pt x="166" y="230"/>
                  </a:lnTo>
                  <a:lnTo>
                    <a:pt x="166" y="230"/>
                  </a:lnTo>
                  <a:lnTo>
                    <a:pt x="168" y="230"/>
                  </a:lnTo>
                  <a:lnTo>
                    <a:pt x="168" y="230"/>
                  </a:lnTo>
                  <a:lnTo>
                    <a:pt x="185" y="227"/>
                  </a:lnTo>
                  <a:lnTo>
                    <a:pt x="205" y="225"/>
                  </a:lnTo>
                  <a:lnTo>
                    <a:pt x="205" y="225"/>
                  </a:lnTo>
                  <a:lnTo>
                    <a:pt x="226" y="227"/>
                  </a:lnTo>
                  <a:lnTo>
                    <a:pt x="246" y="232"/>
                  </a:lnTo>
                  <a:lnTo>
                    <a:pt x="259" y="236"/>
                  </a:lnTo>
                  <a:lnTo>
                    <a:pt x="267" y="240"/>
                  </a:lnTo>
                  <a:lnTo>
                    <a:pt x="267" y="240"/>
                  </a:lnTo>
                  <a:lnTo>
                    <a:pt x="267" y="240"/>
                  </a:lnTo>
                  <a:lnTo>
                    <a:pt x="267" y="240"/>
                  </a:lnTo>
                  <a:lnTo>
                    <a:pt x="269" y="240"/>
                  </a:lnTo>
                  <a:lnTo>
                    <a:pt x="269" y="240"/>
                  </a:lnTo>
                  <a:lnTo>
                    <a:pt x="269" y="242"/>
                  </a:lnTo>
                  <a:lnTo>
                    <a:pt x="269" y="242"/>
                  </a:lnTo>
                  <a:lnTo>
                    <a:pt x="279" y="248"/>
                  </a:lnTo>
                  <a:lnTo>
                    <a:pt x="279" y="18"/>
                  </a:lnTo>
                  <a:lnTo>
                    <a:pt x="275" y="16"/>
                  </a:lnTo>
                  <a:lnTo>
                    <a:pt x="275" y="16"/>
                  </a:lnTo>
                  <a:lnTo>
                    <a:pt x="257" y="10"/>
                  </a:lnTo>
                  <a:lnTo>
                    <a:pt x="240" y="4"/>
                  </a:lnTo>
                  <a:lnTo>
                    <a:pt x="222" y="2"/>
                  </a:lnTo>
                  <a:lnTo>
                    <a:pt x="207" y="0"/>
                  </a:lnTo>
                  <a:lnTo>
                    <a:pt x="207" y="0"/>
                  </a:lnTo>
                  <a:lnTo>
                    <a:pt x="183" y="2"/>
                  </a:lnTo>
                  <a:lnTo>
                    <a:pt x="164" y="8"/>
                  </a:lnTo>
                  <a:lnTo>
                    <a:pt x="150" y="14"/>
                  </a:lnTo>
                  <a:lnTo>
                    <a:pt x="140" y="20"/>
                  </a:lnTo>
                  <a:lnTo>
                    <a:pt x="140" y="20"/>
                  </a:lnTo>
                  <a:lnTo>
                    <a:pt x="131" y="14"/>
                  </a:lnTo>
                  <a:lnTo>
                    <a:pt x="117" y="8"/>
                  </a:lnTo>
                  <a:lnTo>
                    <a:pt x="97" y="2"/>
                  </a:lnTo>
                  <a:lnTo>
                    <a:pt x="74" y="0"/>
                  </a:lnTo>
                  <a:lnTo>
                    <a:pt x="74" y="0"/>
                  </a:lnTo>
                  <a:lnTo>
                    <a:pt x="58" y="2"/>
                  </a:lnTo>
                  <a:lnTo>
                    <a:pt x="41" y="4"/>
                  </a:lnTo>
                  <a:lnTo>
                    <a:pt x="23" y="10"/>
                  </a:lnTo>
                  <a:lnTo>
                    <a:pt x="6" y="16"/>
                  </a:lnTo>
                  <a:lnTo>
                    <a:pt x="0" y="18"/>
                  </a:lnTo>
                  <a:lnTo>
                    <a:pt x="0" y="248"/>
                  </a:lnTo>
                  <a:lnTo>
                    <a:pt x="12" y="242"/>
                  </a:lnTo>
                  <a:close/>
                  <a:moveTo>
                    <a:pt x="148" y="225"/>
                  </a:moveTo>
                  <a:lnTo>
                    <a:pt x="148" y="33"/>
                  </a:lnTo>
                  <a:lnTo>
                    <a:pt x="148" y="33"/>
                  </a:lnTo>
                  <a:lnTo>
                    <a:pt x="154" y="28"/>
                  </a:lnTo>
                  <a:lnTo>
                    <a:pt x="168" y="22"/>
                  </a:lnTo>
                  <a:lnTo>
                    <a:pt x="183" y="16"/>
                  </a:lnTo>
                  <a:lnTo>
                    <a:pt x="207" y="14"/>
                  </a:lnTo>
                  <a:lnTo>
                    <a:pt x="207" y="14"/>
                  </a:lnTo>
                  <a:lnTo>
                    <a:pt x="220" y="16"/>
                  </a:lnTo>
                  <a:lnTo>
                    <a:pt x="234" y="18"/>
                  </a:lnTo>
                  <a:lnTo>
                    <a:pt x="250" y="22"/>
                  </a:lnTo>
                  <a:lnTo>
                    <a:pt x="265" y="28"/>
                  </a:lnTo>
                  <a:lnTo>
                    <a:pt x="265" y="223"/>
                  </a:lnTo>
                  <a:lnTo>
                    <a:pt x="265" y="223"/>
                  </a:lnTo>
                  <a:lnTo>
                    <a:pt x="265" y="223"/>
                  </a:lnTo>
                  <a:lnTo>
                    <a:pt x="254" y="219"/>
                  </a:lnTo>
                  <a:lnTo>
                    <a:pt x="240" y="215"/>
                  </a:lnTo>
                  <a:lnTo>
                    <a:pt x="222" y="211"/>
                  </a:lnTo>
                  <a:lnTo>
                    <a:pt x="205" y="211"/>
                  </a:lnTo>
                  <a:lnTo>
                    <a:pt x="205" y="211"/>
                  </a:lnTo>
                  <a:lnTo>
                    <a:pt x="181" y="213"/>
                  </a:lnTo>
                  <a:lnTo>
                    <a:pt x="160" y="219"/>
                  </a:lnTo>
                  <a:lnTo>
                    <a:pt x="160" y="219"/>
                  </a:lnTo>
                  <a:lnTo>
                    <a:pt x="160" y="219"/>
                  </a:lnTo>
                  <a:lnTo>
                    <a:pt x="160" y="219"/>
                  </a:lnTo>
                  <a:lnTo>
                    <a:pt x="154" y="221"/>
                  </a:lnTo>
                  <a:lnTo>
                    <a:pt x="154" y="221"/>
                  </a:lnTo>
                  <a:lnTo>
                    <a:pt x="154" y="221"/>
                  </a:lnTo>
                  <a:lnTo>
                    <a:pt x="154" y="221"/>
                  </a:lnTo>
                  <a:lnTo>
                    <a:pt x="148" y="225"/>
                  </a:lnTo>
                  <a:lnTo>
                    <a:pt x="148" y="225"/>
                  </a:lnTo>
                  <a:close/>
                  <a:moveTo>
                    <a:pt x="15" y="28"/>
                  </a:moveTo>
                  <a:lnTo>
                    <a:pt x="15" y="28"/>
                  </a:lnTo>
                  <a:lnTo>
                    <a:pt x="31" y="22"/>
                  </a:lnTo>
                  <a:lnTo>
                    <a:pt x="45" y="18"/>
                  </a:lnTo>
                  <a:lnTo>
                    <a:pt x="60" y="16"/>
                  </a:lnTo>
                  <a:lnTo>
                    <a:pt x="74" y="14"/>
                  </a:lnTo>
                  <a:lnTo>
                    <a:pt x="74" y="14"/>
                  </a:lnTo>
                  <a:lnTo>
                    <a:pt x="95" y="16"/>
                  </a:lnTo>
                  <a:lnTo>
                    <a:pt x="113" y="22"/>
                  </a:lnTo>
                  <a:lnTo>
                    <a:pt x="125" y="28"/>
                  </a:lnTo>
                  <a:lnTo>
                    <a:pt x="133" y="33"/>
                  </a:lnTo>
                  <a:lnTo>
                    <a:pt x="133" y="225"/>
                  </a:lnTo>
                  <a:lnTo>
                    <a:pt x="133" y="225"/>
                  </a:lnTo>
                  <a:lnTo>
                    <a:pt x="119" y="219"/>
                  </a:lnTo>
                  <a:lnTo>
                    <a:pt x="105" y="213"/>
                  </a:lnTo>
                  <a:lnTo>
                    <a:pt x="92" y="211"/>
                  </a:lnTo>
                  <a:lnTo>
                    <a:pt x="76" y="211"/>
                  </a:lnTo>
                  <a:lnTo>
                    <a:pt x="76" y="211"/>
                  </a:lnTo>
                  <a:lnTo>
                    <a:pt x="56" y="211"/>
                  </a:lnTo>
                  <a:lnTo>
                    <a:pt x="41" y="215"/>
                  </a:lnTo>
                  <a:lnTo>
                    <a:pt x="25" y="219"/>
                  </a:lnTo>
                  <a:lnTo>
                    <a:pt x="15" y="223"/>
                  </a:lnTo>
                  <a:lnTo>
                    <a:pt x="15"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prstClr val="black"/>
                </a:solidFill>
              </a:endParaRPr>
            </a:p>
          </p:txBody>
        </p:sp>
      </p:grpSp>
    </p:spTree>
    <p:extLst>
      <p:ext uri="{BB962C8B-B14F-4D97-AF65-F5344CB8AC3E}">
        <p14:creationId xmlns:p14="http://schemas.microsoft.com/office/powerpoint/2010/main" val="2957942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141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en-US"/>
              <a:t>Company Profile</a:t>
            </a:r>
          </a:p>
        </p:txBody>
      </p:sp>
      <p:sp>
        <p:nvSpPr>
          <p:cNvPr id="26627" name="Rectangle 3"/>
          <p:cNvSpPr>
            <a:spLocks noGrp="1" noChangeArrowheads="1"/>
          </p:cNvSpPr>
          <p:nvPr>
            <p:ph type="body" idx="1"/>
          </p:nvPr>
        </p:nvSpPr>
        <p:spPr>
          <a:xfrm>
            <a:off x="1562100" y="1397001"/>
            <a:ext cx="8686800" cy="4678363"/>
          </a:xfrm>
          <a:noFill/>
          <a:ln/>
        </p:spPr>
        <p:txBody>
          <a:bodyPr/>
          <a:lstStyle/>
          <a:p>
            <a:pPr lvl="1">
              <a:buFont typeface="Wingdings" pitchFamily="2" charset="2"/>
              <a:buChar char="Ø"/>
            </a:pPr>
            <a:r>
              <a:rPr lang="en-US" sz="2400">
                <a:solidFill>
                  <a:schemeClr val="accent2"/>
                </a:solidFill>
              </a:rPr>
              <a:t>Project Goals and Objectives</a:t>
            </a:r>
          </a:p>
          <a:p>
            <a:pPr lvl="1">
              <a:buFont typeface="Wingdings" pitchFamily="2" charset="2"/>
              <a:buChar char="Ø"/>
            </a:pPr>
            <a:endParaRPr lang="en-US" sz="2400">
              <a:solidFill>
                <a:schemeClr val="accent2"/>
              </a:solidFill>
            </a:endParaRPr>
          </a:p>
          <a:p>
            <a:pPr lvl="1">
              <a:buFont typeface="Wingdings" pitchFamily="2" charset="2"/>
              <a:buChar char="Ø"/>
            </a:pPr>
            <a:r>
              <a:rPr lang="en-US" sz="2400">
                <a:solidFill>
                  <a:schemeClr val="accent2"/>
                </a:solidFill>
              </a:rPr>
              <a:t>Key Success Factors</a:t>
            </a:r>
          </a:p>
          <a:p>
            <a:pPr lvl="1">
              <a:buFont typeface="Wingdings" pitchFamily="2" charset="2"/>
              <a:buChar char="Ø"/>
            </a:pPr>
            <a:endParaRPr lang="en-US" sz="2400">
              <a:solidFill>
                <a:schemeClr val="accent2"/>
              </a:solidFill>
            </a:endParaRPr>
          </a:p>
          <a:p>
            <a:pPr lvl="1">
              <a:buFont typeface="Wingdings" pitchFamily="2" charset="2"/>
              <a:buChar char="Ø"/>
            </a:pPr>
            <a:r>
              <a:rPr lang="en-US" sz="2400">
                <a:solidFill>
                  <a:schemeClr val="accent2"/>
                </a:solidFill>
              </a:rPr>
              <a:t>Barriers to Success</a:t>
            </a:r>
          </a:p>
          <a:p>
            <a:pPr lvl="1">
              <a:buFont typeface="Wingdings" pitchFamily="2" charset="2"/>
              <a:buChar char="Ø"/>
            </a:pPr>
            <a:endParaRPr lang="en-US" sz="2400">
              <a:solidFill>
                <a:schemeClr val="accent2"/>
              </a:solidFill>
            </a:endParaRPr>
          </a:p>
          <a:p>
            <a:pPr lvl="1">
              <a:buFont typeface="Wingdings" pitchFamily="2" charset="2"/>
              <a:buChar char="Ø"/>
            </a:pPr>
            <a:r>
              <a:rPr lang="en-US" sz="2400">
                <a:solidFill>
                  <a:schemeClr val="accent2"/>
                </a:solidFill>
              </a:rPr>
              <a:t>Desired Future State</a:t>
            </a:r>
          </a:p>
        </p:txBody>
      </p:sp>
    </p:spTree>
    <p:extLst>
      <p:ext uri="{BB962C8B-B14F-4D97-AF65-F5344CB8AC3E}">
        <p14:creationId xmlns:p14="http://schemas.microsoft.com/office/powerpoint/2010/main" val="184992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a:t>Project Goals and Objectives</a:t>
            </a:r>
          </a:p>
        </p:txBody>
      </p:sp>
      <p:sp>
        <p:nvSpPr>
          <p:cNvPr id="29699" name="Rectangle 3"/>
          <p:cNvSpPr>
            <a:spLocks noGrp="1" noChangeArrowheads="1"/>
          </p:cNvSpPr>
          <p:nvPr>
            <p:ph type="body" idx="1"/>
          </p:nvPr>
        </p:nvSpPr>
        <p:spPr>
          <a:xfrm>
            <a:off x="1524000" y="1371601"/>
            <a:ext cx="8686800" cy="4754563"/>
          </a:xfrm>
        </p:spPr>
        <p:txBody>
          <a:bodyPr/>
          <a:lstStyle/>
          <a:p>
            <a:pPr lvl="1">
              <a:lnSpc>
                <a:spcPct val="80000"/>
              </a:lnSpc>
              <a:buFont typeface="Wingdings" pitchFamily="2" charset="2"/>
              <a:buChar char="Ø"/>
            </a:pPr>
            <a:r>
              <a:rPr lang="en-US" sz="2400">
                <a:solidFill>
                  <a:schemeClr val="accent2"/>
                </a:solidFill>
              </a:rPr>
              <a:t>Implemented within acceptable budget and time variance.</a:t>
            </a:r>
          </a:p>
          <a:p>
            <a:pPr lvl="1">
              <a:lnSpc>
                <a:spcPct val="80000"/>
              </a:lnSpc>
              <a:buFont typeface="Wingdings" pitchFamily="2" charset="2"/>
              <a:buChar char="Ø"/>
            </a:pPr>
            <a:r>
              <a:rPr lang="en-US" sz="2400">
                <a:solidFill>
                  <a:schemeClr val="accent2"/>
                </a:solidFill>
              </a:rPr>
              <a:t>Implemented to meet all agreed upon requirements.</a:t>
            </a:r>
          </a:p>
          <a:p>
            <a:pPr lvl="1">
              <a:lnSpc>
                <a:spcPct val="80000"/>
              </a:lnSpc>
              <a:buFont typeface="Wingdings" pitchFamily="2" charset="2"/>
              <a:buChar char="Ø"/>
            </a:pPr>
            <a:r>
              <a:rPr lang="en-US" sz="2400">
                <a:solidFill>
                  <a:schemeClr val="accent2"/>
                </a:solidFill>
              </a:rPr>
              <a:t>Improved workflow.</a:t>
            </a:r>
          </a:p>
          <a:p>
            <a:pPr lvl="1">
              <a:lnSpc>
                <a:spcPct val="80000"/>
              </a:lnSpc>
              <a:buFont typeface="Wingdings" pitchFamily="2" charset="2"/>
              <a:buChar char="Ø"/>
            </a:pPr>
            <a:r>
              <a:rPr lang="en-US" sz="2400">
                <a:solidFill>
                  <a:schemeClr val="accent2"/>
                </a:solidFill>
              </a:rPr>
              <a:t>Successful operation of the day to day business using the new systems and processes.</a:t>
            </a:r>
          </a:p>
          <a:p>
            <a:pPr lvl="1">
              <a:lnSpc>
                <a:spcPct val="80000"/>
              </a:lnSpc>
              <a:buFont typeface="Wingdings" pitchFamily="2" charset="2"/>
              <a:buChar char="Ø"/>
            </a:pPr>
            <a:r>
              <a:rPr lang="en-US" sz="2400">
                <a:solidFill>
                  <a:schemeClr val="accent2"/>
                </a:solidFill>
              </a:rPr>
              <a:t>No unintentional loss of functionality.</a:t>
            </a:r>
          </a:p>
          <a:p>
            <a:pPr lvl="1">
              <a:lnSpc>
                <a:spcPct val="80000"/>
              </a:lnSpc>
              <a:buFont typeface="Wingdings" pitchFamily="2" charset="2"/>
              <a:buChar char="Ø"/>
            </a:pPr>
            <a:r>
              <a:rPr lang="en-US" sz="2400">
                <a:solidFill>
                  <a:schemeClr val="accent2"/>
                </a:solidFill>
              </a:rPr>
              <a:t>System performance within established performance (non-functional) requirements.</a:t>
            </a:r>
          </a:p>
          <a:p>
            <a:pPr lvl="1">
              <a:lnSpc>
                <a:spcPct val="80000"/>
              </a:lnSpc>
              <a:buFont typeface="Wingdings" pitchFamily="2" charset="2"/>
              <a:buChar char="Ø"/>
            </a:pPr>
            <a:r>
              <a:rPr lang="en-US" sz="2400">
                <a:solidFill>
                  <a:schemeClr val="accent2"/>
                </a:solidFill>
              </a:rPr>
              <a:t>Ability to use clustering and assortment to inform space planning.</a:t>
            </a:r>
          </a:p>
          <a:p>
            <a:pPr lvl="1">
              <a:lnSpc>
                <a:spcPct val="80000"/>
              </a:lnSpc>
              <a:buFont typeface="Wingdings" pitchFamily="2" charset="2"/>
              <a:buChar char="Ø"/>
            </a:pPr>
            <a:r>
              <a:rPr lang="en-US" sz="2400">
                <a:solidFill>
                  <a:schemeClr val="accent2"/>
                </a:solidFill>
              </a:rPr>
              <a:t>Ability to optimize planograms.</a:t>
            </a:r>
          </a:p>
          <a:p>
            <a:pPr lvl="1">
              <a:lnSpc>
                <a:spcPct val="80000"/>
              </a:lnSpc>
              <a:buFont typeface="Wingdings" pitchFamily="2" charset="2"/>
              <a:buChar char="Ø"/>
            </a:pPr>
            <a:r>
              <a:rPr lang="en-US" sz="2400">
                <a:solidFill>
                  <a:schemeClr val="accent2"/>
                </a:solidFill>
              </a:rPr>
              <a:t>Efficient planogram delivery to the stores.</a:t>
            </a:r>
          </a:p>
        </p:txBody>
      </p:sp>
    </p:spTree>
    <p:extLst>
      <p:ext uri="{BB962C8B-B14F-4D97-AF65-F5344CB8AC3E}">
        <p14:creationId xmlns:p14="http://schemas.microsoft.com/office/powerpoint/2010/main" val="14003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a:t>Key Success Factors</a:t>
            </a:r>
          </a:p>
        </p:txBody>
      </p:sp>
      <p:sp>
        <p:nvSpPr>
          <p:cNvPr id="30723" name="Rectangle 3"/>
          <p:cNvSpPr>
            <a:spLocks noGrp="1" noChangeArrowheads="1"/>
          </p:cNvSpPr>
          <p:nvPr>
            <p:ph type="body" idx="1"/>
          </p:nvPr>
        </p:nvSpPr>
        <p:spPr>
          <a:xfrm>
            <a:off x="1524000" y="1371601"/>
            <a:ext cx="8686800" cy="4729163"/>
          </a:xfrm>
          <a:noFill/>
          <a:ln/>
        </p:spPr>
        <p:txBody>
          <a:bodyPr/>
          <a:lstStyle/>
          <a:p>
            <a:pPr lvl="1">
              <a:buFont typeface="Wingdings" pitchFamily="2" charset="2"/>
              <a:buChar char="Ø"/>
            </a:pPr>
            <a:r>
              <a:rPr lang="en-US" dirty="0">
                <a:solidFill>
                  <a:schemeClr val="accent2"/>
                </a:solidFill>
              </a:rPr>
              <a:t>Sponsorship</a:t>
            </a:r>
          </a:p>
          <a:p>
            <a:pPr lvl="2">
              <a:buFont typeface="Wingdings" pitchFamily="2" charset="2"/>
              <a:buChar char="§"/>
            </a:pPr>
            <a:r>
              <a:rPr lang="en-US" sz="1600" dirty="0">
                <a:solidFill>
                  <a:schemeClr val="accent2"/>
                </a:solidFill>
              </a:rPr>
              <a:t>Executive and business area senior management sponsorship.</a:t>
            </a:r>
          </a:p>
          <a:p>
            <a:pPr lvl="2">
              <a:buFont typeface="Wingdings" pitchFamily="2" charset="2"/>
              <a:buChar char="§"/>
            </a:pPr>
            <a:r>
              <a:rPr lang="en-US" sz="1600" dirty="0">
                <a:solidFill>
                  <a:schemeClr val="accent2"/>
                </a:solidFill>
              </a:rPr>
              <a:t>Participation of managers and directors as agreed.</a:t>
            </a:r>
          </a:p>
          <a:p>
            <a:pPr lvl="2">
              <a:buFont typeface="Wingdings" pitchFamily="2" charset="2"/>
              <a:buChar char="§"/>
            </a:pPr>
            <a:r>
              <a:rPr lang="en-US" sz="1600" dirty="0">
                <a:solidFill>
                  <a:schemeClr val="accent2"/>
                </a:solidFill>
              </a:rPr>
              <a:t>Timely responses from managers and directors to requested input.</a:t>
            </a:r>
          </a:p>
          <a:p>
            <a:pPr lvl="1">
              <a:buFont typeface="Wingdings" pitchFamily="2" charset="2"/>
              <a:buChar char="Ø"/>
            </a:pPr>
            <a:r>
              <a:rPr lang="en-US" dirty="0">
                <a:solidFill>
                  <a:schemeClr val="accent2"/>
                </a:solidFill>
              </a:rPr>
              <a:t>Company Coordination</a:t>
            </a:r>
          </a:p>
          <a:p>
            <a:pPr lvl="2">
              <a:buFont typeface="Wingdings" pitchFamily="2" charset="2"/>
              <a:buChar char="§"/>
            </a:pPr>
            <a:r>
              <a:rPr lang="en-US" sz="1600" dirty="0">
                <a:solidFill>
                  <a:schemeClr val="accent2"/>
                </a:solidFill>
              </a:rPr>
              <a:t>Effective coordination and communication between XYZ, IT, BY, Sales and Marketing, Layout and business areas.</a:t>
            </a:r>
          </a:p>
          <a:p>
            <a:pPr lvl="2">
              <a:buFont typeface="Wingdings" pitchFamily="2" charset="2"/>
              <a:buChar char="§"/>
            </a:pPr>
            <a:r>
              <a:rPr lang="en-US" sz="1600" dirty="0">
                <a:solidFill>
                  <a:schemeClr val="accent2"/>
                </a:solidFill>
              </a:rPr>
              <a:t>Consistent participation from key business participants throughout the life of the project.</a:t>
            </a:r>
          </a:p>
          <a:p>
            <a:pPr lvl="2">
              <a:buFont typeface="Wingdings" pitchFamily="2" charset="2"/>
              <a:buChar char="§"/>
            </a:pPr>
            <a:r>
              <a:rPr lang="en-US" sz="1600" dirty="0">
                <a:solidFill>
                  <a:schemeClr val="accent2"/>
                </a:solidFill>
              </a:rPr>
              <a:t>Development of resource capabilities to manage new processes.</a:t>
            </a:r>
          </a:p>
          <a:p>
            <a:pPr lvl="2">
              <a:buFont typeface="Wingdings" pitchFamily="2" charset="2"/>
              <a:buChar char="§"/>
            </a:pPr>
            <a:r>
              <a:rPr lang="en-US" sz="1600" dirty="0">
                <a:solidFill>
                  <a:schemeClr val="accent2"/>
                </a:solidFill>
              </a:rPr>
              <a:t>Staffing and development of a Data Coordination team.</a:t>
            </a:r>
          </a:p>
          <a:p>
            <a:pPr lvl="2">
              <a:buFont typeface="Wingdings" pitchFamily="2" charset="2"/>
              <a:buChar char="§"/>
            </a:pPr>
            <a:r>
              <a:rPr lang="en-US" sz="1600" dirty="0">
                <a:solidFill>
                  <a:schemeClr val="accent2"/>
                </a:solidFill>
              </a:rPr>
              <a:t>Use of new processes in the organization so that all business area teams are using the new tools and processes to operate the day to day business functions.</a:t>
            </a:r>
          </a:p>
          <a:p>
            <a:pPr lvl="2">
              <a:buFont typeface="Wingdings" pitchFamily="2" charset="2"/>
              <a:buChar char="§"/>
            </a:pPr>
            <a:r>
              <a:rPr lang="en-US" sz="1600" dirty="0">
                <a:solidFill>
                  <a:schemeClr val="accent2"/>
                </a:solidFill>
              </a:rPr>
              <a:t>Successful training of associates on how to use the new system and updated business procedures to support the change in business.</a:t>
            </a:r>
          </a:p>
        </p:txBody>
      </p:sp>
    </p:spTree>
    <p:extLst>
      <p:ext uri="{BB962C8B-B14F-4D97-AF65-F5344CB8AC3E}">
        <p14:creationId xmlns:p14="http://schemas.microsoft.com/office/powerpoint/2010/main" val="320639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cf0gZ0TQ3ia_LDkLhIT5Q"/>
</p:tagLst>
</file>

<file path=ppt/theme/theme1.xml><?xml version="1.0" encoding="utf-8"?>
<a:theme xmlns:a="http://schemas.openxmlformats.org/drawingml/2006/main" name="BlueYonder">
  <a:themeElements>
    <a:clrScheme name="jda-BlueYonder">
      <a:dk1>
        <a:srgbClr val="231F20"/>
      </a:dk1>
      <a:lt1>
        <a:srgbClr val="FFFFFF"/>
      </a:lt1>
      <a:dk2>
        <a:srgbClr val="28B6E9"/>
      </a:dk2>
      <a:lt2>
        <a:srgbClr val="F1F1F2"/>
      </a:lt2>
      <a:accent1>
        <a:srgbClr val="28B6E9"/>
      </a:accent1>
      <a:accent2>
        <a:srgbClr val="011647"/>
      </a:accent2>
      <a:accent3>
        <a:srgbClr val="81BB41"/>
      </a:accent3>
      <a:accent4>
        <a:srgbClr val="E75424"/>
      </a:accent4>
      <a:accent5>
        <a:srgbClr val="993399"/>
      </a:accent5>
      <a:accent6>
        <a:srgbClr val="E6E7E8"/>
      </a:accent6>
      <a:hlink>
        <a:srgbClr val="28B6E9"/>
      </a:hlink>
      <a:folHlink>
        <a:srgbClr val="011647"/>
      </a:folHlink>
    </a:clrScheme>
    <a:fontScheme name="jda">
      <a:majorFont>
        <a:latin typeface="Constant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38F5F55-8CB0-478C-80E2-F116199B3581}" vid="{B99B7A94-9095-4753-9485-1FA2204B75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6523CD6206C714F8EB3637F6656C8FB" ma:contentTypeVersion="12" ma:contentTypeDescription="Create a new document." ma:contentTypeScope="" ma:versionID="23afacb8323257228a8de7e28da831c5">
  <xsd:schema xmlns:xsd="http://www.w3.org/2001/XMLSchema" xmlns:xs="http://www.w3.org/2001/XMLSchema" xmlns:p="http://schemas.microsoft.com/office/2006/metadata/properties" xmlns:ns2="1c5da9c6-a256-4974-8d1d-565b695bd86a" xmlns:ns3="85efe163-6679-4eed-99a2-211342a4b1f7" targetNamespace="http://schemas.microsoft.com/office/2006/metadata/properties" ma:root="true" ma:fieldsID="a38bc5858df2e813340d214ea6a3f9da" ns2:_="" ns3:_="">
    <xsd:import namespace="1c5da9c6-a256-4974-8d1d-565b695bd86a"/>
    <xsd:import namespace="85efe163-6679-4eed-99a2-211342a4b1f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5da9c6-a256-4974-8d1d-565b695bd8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efe163-6679-4eed-99a2-211342a4b1f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394D2B-6B5A-44B6-A1E5-03A646ED9B0D}">
  <ds:schemaRefs>
    <ds:schemaRef ds:uri="http://schemas.microsoft.com/sharepoint/v3/contenttype/forms"/>
  </ds:schemaRefs>
</ds:datastoreItem>
</file>

<file path=customXml/itemProps2.xml><?xml version="1.0" encoding="utf-8"?>
<ds:datastoreItem xmlns:ds="http://schemas.openxmlformats.org/officeDocument/2006/customXml" ds:itemID="{0D550378-D068-40C8-A2C1-49B71C05AED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D777867-BB2B-49D2-B6E0-9F7C368FD085}"/>
</file>

<file path=docProps/app.xml><?xml version="1.0" encoding="utf-8"?>
<Properties xmlns="http://schemas.openxmlformats.org/officeDocument/2006/extended-properties" xmlns:vt="http://schemas.openxmlformats.org/officeDocument/2006/docPropsVTypes">
  <Template>Blue Yonder PPT Template V6 (1)</Template>
  <TotalTime>74</TotalTime>
  <Words>4364</Words>
  <Application>Microsoft Office PowerPoint</Application>
  <PresentationFormat>Widescreen</PresentationFormat>
  <Paragraphs>764</Paragraphs>
  <Slides>68</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80" baseType="lpstr">
      <vt:lpstr>Arial Unicode MS</vt:lpstr>
      <vt:lpstr>Arial</vt:lpstr>
      <vt:lpstr>Arial Narrow</vt:lpstr>
      <vt:lpstr>Calibri</vt:lpstr>
      <vt:lpstr>Constantia</vt:lpstr>
      <vt:lpstr>Lucida Grande</vt:lpstr>
      <vt:lpstr>Myriad Pro</vt:lpstr>
      <vt:lpstr>System Font Regular</vt:lpstr>
      <vt:lpstr>Times New Roman</vt:lpstr>
      <vt:lpstr>Wingdings</vt:lpstr>
      <vt:lpstr>BlueYonder</vt:lpstr>
      <vt:lpstr>think-cell Slide</vt:lpstr>
      <vt:lpstr>The Digital Fulfillment Company</vt:lpstr>
      <vt:lpstr>Blue Yonder Category Management</vt:lpstr>
      <vt:lpstr>Agenda </vt:lpstr>
      <vt:lpstr>Company X Profile </vt:lpstr>
      <vt:lpstr>XYZ Company Profile</vt:lpstr>
      <vt:lpstr>XYZ Company Profile</vt:lpstr>
      <vt:lpstr>Company Profile</vt:lpstr>
      <vt:lpstr>Project Goals and Objectives</vt:lpstr>
      <vt:lpstr>Key Success Factors</vt:lpstr>
      <vt:lpstr>Key Success Factors</vt:lpstr>
      <vt:lpstr>Desired Future State</vt:lpstr>
      <vt:lpstr>Merchandising Standards &amp; Guidelines</vt:lpstr>
      <vt:lpstr>Merchandising Standards &amp; Guidelines</vt:lpstr>
      <vt:lpstr>Category Management Process Cycle</vt:lpstr>
      <vt:lpstr>PowerPoint Presentation</vt:lpstr>
      <vt:lpstr>PowerPoint Presentation</vt:lpstr>
      <vt:lpstr>PowerPoint Presentation</vt:lpstr>
      <vt:lpstr>Category Management Best Practice</vt:lpstr>
      <vt:lpstr>Merchandising Calendar</vt:lpstr>
      <vt:lpstr>Defining Merchandising Standards &amp; Guidelines</vt:lpstr>
      <vt:lpstr>Defining Merchandising Standards &amp; Guidelines</vt:lpstr>
      <vt:lpstr>Merchandising Drivers</vt:lpstr>
      <vt:lpstr>Merchandising Drivers</vt:lpstr>
      <vt:lpstr>PowerPoint Presentation</vt:lpstr>
      <vt:lpstr>Optimize shelf space productivity </vt:lpstr>
      <vt:lpstr>Merchandised Items</vt:lpstr>
      <vt:lpstr>Example</vt:lpstr>
      <vt:lpstr>Example</vt:lpstr>
      <vt:lpstr>Homework</vt:lpstr>
      <vt:lpstr>BY Space Planning</vt:lpstr>
      <vt:lpstr>BY Space Planning</vt:lpstr>
      <vt:lpstr>Space Planning Overview</vt:lpstr>
      <vt:lpstr>Planogram Standards</vt:lpstr>
      <vt:lpstr>Space Planning Overview</vt:lpstr>
      <vt:lpstr>Space Planning Demo</vt:lpstr>
      <vt:lpstr>Process Triggers</vt:lpstr>
      <vt:lpstr>Process Triggers</vt:lpstr>
      <vt:lpstr>Consumer Driven Triggers</vt:lpstr>
      <vt:lpstr>Process Triggers Scope</vt:lpstr>
      <vt:lpstr>Process Map</vt:lpstr>
      <vt:lpstr>Category Review Process</vt:lpstr>
      <vt:lpstr>Space Planning Process</vt:lpstr>
      <vt:lpstr>Space Planning Processes Pre Merchandising </vt:lpstr>
      <vt:lpstr>Selection to Shelf</vt:lpstr>
      <vt:lpstr>Space Planning Processes</vt:lpstr>
      <vt:lpstr>Lifecycle Management</vt:lpstr>
      <vt:lpstr>Life Cycles</vt:lpstr>
      <vt:lpstr>Space Planning Configuration</vt:lpstr>
      <vt:lpstr>Space Planning Configuration</vt:lpstr>
      <vt:lpstr>Space Planning Configuration</vt:lpstr>
      <vt:lpstr>Space Planning Roadblocks</vt:lpstr>
      <vt:lpstr>Data Inputs / Outputs</vt:lpstr>
      <vt:lpstr>Data Best Practice</vt:lpstr>
      <vt:lpstr>Data Inputs</vt:lpstr>
      <vt:lpstr>Data Best Practice</vt:lpstr>
      <vt:lpstr>Syndicated Data</vt:lpstr>
      <vt:lpstr>Data Outputs</vt:lpstr>
      <vt:lpstr>Planogram Analysis</vt:lpstr>
      <vt:lpstr>Planogram Analysis</vt:lpstr>
      <vt:lpstr>Planogram Analysis Best Practice</vt:lpstr>
      <vt:lpstr>Financial Data</vt:lpstr>
      <vt:lpstr>Highlighting Best Practice</vt:lpstr>
      <vt:lpstr>Next Steps </vt:lpstr>
      <vt:lpstr>Product Specific Presentations</vt:lpstr>
      <vt:lpstr>Design Documentation</vt:lpstr>
      <vt:lpstr>JEM Implementation Phases </vt:lpstr>
      <vt:lpstr>Beyond Desig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Y Category Management</dc:title>
  <dc:creator>Karen Bronis</dc:creator>
  <cp:lastModifiedBy>Karen Bronis</cp:lastModifiedBy>
  <cp:revision>5</cp:revision>
  <dcterms:created xsi:type="dcterms:W3CDTF">2020-06-26T20:06:27Z</dcterms:created>
  <dcterms:modified xsi:type="dcterms:W3CDTF">2021-01-28T21:5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523CD6206C714F8EB3637F6656C8FB</vt:lpwstr>
  </property>
</Properties>
</file>